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7.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2.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notesSlides/notesSlide3.xml" ContentType="application/vnd.openxmlformats-officedocument.presentationml.notesSlide+xml"/>
  <Override PartName="/ppt/notesSlides/notesSlide1.xml" ContentType="application/vnd.openxmlformats-officedocument.presentationml.notesSlide+xml"/>
  <Override PartName="/ppt/slideLayouts/slideLayout3.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2.xml" ContentType="application/vnd.openxmlformats-officedocument.presentationml.slideLayout+xml"/>
  <Override PartName="/ppt/slideLayouts/slideLayout16.xml" ContentType="application/vnd.openxmlformats-officedocument.presentationml.slideLayout+xml"/>
  <Override PartName="/ppt/slideLayouts/slideLayout18.xml" ContentType="application/vnd.openxmlformats-officedocument.presentationml.slideLayout+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slideLayouts/slideLayout17.xml" ContentType="application/vnd.openxmlformats-officedocument.presentationml.slideLayout+xml"/>
  <Override PartName="/ppt/slideLayouts/slideLayout19.xml" ContentType="application/vnd.openxmlformats-officedocument.presentationml.slideLayout+xml"/>
  <Override PartName="/ppt/slideLayouts/slideLayout1.xml" ContentType="application/vnd.openxmlformats-officedocument.presentationml.slideLayout+xml"/>
  <Override PartName="/ppt/slideLayouts/slideLayout20.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docProps/core.xml" ContentType="application/vnd.openxmlformats-package.core-properties+xml"/>
  <Override PartName="/ppt/tags/tag6.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2.xml" ContentType="application/vnd.openxmlformats-officedocument.presentationml.tags+xml"/>
  <Override PartName="/ppt/tags/tag55.xml" ContentType="application/vnd.openxmlformats-officedocument.presentationml.tags+xml"/>
  <Override PartName="/ppt/tags/tag5.xml" ContentType="application/vnd.openxmlformats-officedocument.presentationml.tags+xml"/>
  <Override PartName="/ppt/tags/tag10.xml" ContentType="application/vnd.openxmlformats-officedocument.presentationml.tags+xml"/>
  <Override PartName="/ppt/tags/tag41.xml" ContentType="application/vnd.openxmlformats-officedocument.presentationml.tags+xml"/>
  <Override PartName="/ppt/tags/tag33.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51.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11.xml" ContentType="application/vnd.openxmlformats-officedocument.presentationml.tags+xml"/>
  <Override PartName="/ppt/tags/tag47.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54.xml" ContentType="application/vnd.openxmlformats-officedocument.presentationml.tags+xml"/>
  <Override PartName="/ppt/tags/tag4.xml" ContentType="application/vnd.openxmlformats-officedocument.presentationml.tags+xml"/>
  <Override PartName="/ppt/tags/tag36.xml" ContentType="application/vnd.openxmlformats-officedocument.presentationml.tags+xml"/>
  <Override PartName="/ppt/tags/tag28.xml" ContentType="application/vnd.openxmlformats-officedocument.presentationml.tags+xml"/>
  <Override PartName="/ppt/tags/tag24.xml" ContentType="application/vnd.openxmlformats-officedocument.presentationml.tags+xml"/>
  <Override PartName="/ppt/tags/tag29.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25.xml" ContentType="application/vnd.openxmlformats-officedocument.presentationml.tags+xml"/>
  <Override PartName="/ppt/tags/tag39.xml" ContentType="application/vnd.openxmlformats-officedocument.presentationml.tags+xml"/>
  <Override PartName="/ppt/tags/tag60.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61.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57.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56.xml" ContentType="application/vnd.openxmlformats-officedocument.presentationml.tags+xml"/>
  <Override PartName="/ppt/tags/tag31.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37.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38.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40.xml" ContentType="application/vnd.openxmlformats-officedocument.presentationml.tags+xml"/>
  <Override PartName="/ppt/tags/tag30.xml" ContentType="application/vnd.openxmlformats-officedocument.presentationml.tags+xml"/>
  <Override PartName="/ppt/tags/tag3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1"/>
  </p:sldMasterIdLst>
  <p:notesMasterIdLst>
    <p:notesMasterId r:id="rId16"/>
  </p:notesMasterIdLst>
  <p:handoutMasterIdLst>
    <p:handoutMasterId r:id="rId17"/>
  </p:handoutMasterIdLst>
  <p:sldIdLst>
    <p:sldId id="414" r:id="rId2"/>
    <p:sldId id="403" r:id="rId3"/>
    <p:sldId id="361" r:id="rId4"/>
    <p:sldId id="362" r:id="rId5"/>
    <p:sldId id="364" r:id="rId6"/>
    <p:sldId id="365" r:id="rId7"/>
    <p:sldId id="410" r:id="rId8"/>
    <p:sldId id="366" r:id="rId9"/>
    <p:sldId id="408" r:id="rId10"/>
    <p:sldId id="406" r:id="rId11"/>
    <p:sldId id="411" r:id="rId12"/>
    <p:sldId id="412" r:id="rId13"/>
    <p:sldId id="413" r:id="rId14"/>
    <p:sldId id="405" r:id="rId15"/>
  </p:sldIdLst>
  <p:sldSz cx="9144000" cy="6858000" type="screen4x3"/>
  <p:notesSz cx="6797675" cy="9926638"/>
  <p:embeddedFontLst>
    <p:embeddedFont>
      <p:font typeface="Delivery" panose="020F0503020204020204" pitchFamily="34" charset="0"/>
      <p:regular r:id="rId18"/>
      <p:bold r:id="rId19"/>
      <p:italic r:id="rId20"/>
      <p:boldItalic r:id="rId21"/>
    </p:embeddedFont>
    <p:embeddedFont>
      <p:font typeface="Calibri" panose="020F0502020204030204" pitchFamily="34" charset="0"/>
      <p:regular r:id="rId22"/>
      <p:bold r:id="rId23"/>
      <p:italic r:id="rId24"/>
      <p:boldItalic r:id="rId25"/>
    </p:embeddedFont>
  </p:embeddedFontLst>
  <p:custDataLst>
    <p:tags r:id="rId2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63">
          <p15:clr>
            <a:srgbClr val="A4A3A4"/>
          </p15:clr>
        </p15:guide>
        <p15:guide id="2" orient="horz" pos="3783">
          <p15:clr>
            <a:srgbClr val="A4A3A4"/>
          </p15:clr>
        </p15:guide>
        <p15:guide id="3" orient="horz" pos="647">
          <p15:clr>
            <a:srgbClr val="A4A3A4"/>
          </p15:clr>
        </p15:guide>
        <p15:guide id="4" orient="horz" pos="540">
          <p15:clr>
            <a:srgbClr val="A4A3A4"/>
          </p15:clr>
        </p15:guide>
        <p15:guide id="5" orient="horz" pos="353">
          <p15:clr>
            <a:srgbClr val="A4A3A4"/>
          </p15:clr>
        </p15:guide>
        <p15:guide id="6" orient="horz" pos="239">
          <p15:clr>
            <a:srgbClr val="A4A3A4"/>
          </p15:clr>
        </p15:guide>
        <p15:guide id="7" orient="horz" pos="791">
          <p15:clr>
            <a:srgbClr val="A4A3A4"/>
          </p15:clr>
        </p15:guide>
        <p15:guide id="8" orient="horz" pos="3546">
          <p15:clr>
            <a:srgbClr val="A4A3A4"/>
          </p15:clr>
        </p15:guide>
        <p15:guide id="9" orient="horz" pos="4203">
          <p15:clr>
            <a:srgbClr val="A4A3A4"/>
          </p15:clr>
        </p15:guide>
        <p15:guide id="10" pos="260">
          <p15:clr>
            <a:srgbClr val="A4A3A4"/>
          </p15:clr>
        </p15:guide>
        <p15:guide id="11" pos="5079">
          <p15:clr>
            <a:srgbClr val="A4A3A4"/>
          </p15:clr>
        </p15:guide>
        <p15:guide id="12" pos="2947">
          <p15:clr>
            <a:srgbClr val="A4A3A4"/>
          </p15:clr>
        </p15:guide>
        <p15:guide id="13" pos="2813">
          <p15:clr>
            <a:srgbClr val="A4A3A4"/>
          </p15:clr>
        </p15:guide>
        <p15:guide id="14" pos="114">
          <p15:clr>
            <a:srgbClr val="A4A3A4"/>
          </p15:clr>
        </p15:guide>
        <p15:guide id="15" pos="5500">
          <p15:clr>
            <a:srgbClr val="A4A3A4"/>
          </p15:clr>
        </p15:guide>
        <p15:guide id="16" pos="564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E969EC77-1B40-4C77-A995-AF05D22D4D0E}" styleName="DPDHL Table White BG">
    <a:tblBg>
      <a:fill>
        <a:noFill/>
      </a:fill>
    </a:tblBg>
    <a:wholeTbl>
      <a:tcTxStyle>
        <a:fontRef idx="minor"/>
        <a:schemeClr val="accent2"/>
      </a:tcTxStyle>
      <a:tcStyle>
        <a:tcBdr>
          <a:left>
            <a:ln>
              <a:noFill/>
            </a:ln>
          </a:left>
          <a:right>
            <a:ln>
              <a:noFill/>
            </a:ln>
          </a:right>
          <a:top>
            <a:ln>
              <a:noFill/>
            </a:ln>
          </a:top>
          <a:bottom>
            <a:ln>
              <a:noFill/>
            </a:ln>
          </a:bottom>
          <a:insideH>
            <a:ln w="12700" cmpd="sng">
              <a:solidFill>
                <a:schemeClr val="accent2"/>
              </a:solidFill>
            </a:ln>
          </a:insideH>
          <a:insideV>
            <a:ln>
              <a:noFill/>
            </a:ln>
          </a:insideV>
        </a:tcBdr>
        <a:fill>
          <a:solidFill>
            <a:schemeClr val="bg1">
              <a:tint val="100000"/>
            </a:schemeClr>
          </a:solidFill>
        </a:fill>
      </a:tcStyle>
    </a:wholeTbl>
    <a:band1H>
      <a:tcStyle>
        <a:tcBdr/>
        <a:fill>
          <a:solidFill>
            <a:schemeClr val="accent5">
              <a:tint val="100000"/>
            </a:schemeClr>
          </a:solidFill>
        </a:fill>
      </a:tcStyle>
    </a:band1H>
    <a:band2H>
      <a:tcStyle>
        <a:tcBdr/>
      </a:tcStyle>
    </a:band2H>
    <a:band1V>
      <a:tcStyle>
        <a:tcBdr/>
        <a:fill>
          <a:solidFill>
            <a:schemeClr val="accent3">
              <a:lumMod val="20000"/>
              <a:lumOff val="80000"/>
            </a:schemeClr>
          </a:solidFill>
        </a:fill>
      </a:tcStyle>
    </a:band1V>
    <a:band2V>
      <a:tcStyle>
        <a:tcBdr/>
      </a:tcStyle>
    </a:band2V>
    <a:lastCol>
      <a:tcTxStyle b="on"/>
      <a:tcStyle>
        <a:tcBdr/>
      </a:tcStyle>
    </a:lastCol>
    <a:firstCol>
      <a:tcTxStyle/>
      <a:tcStyle>
        <a:tcBdr/>
      </a:tcStyle>
    </a:firstCol>
    <a:lastRow>
      <a:tcTxStyle b="on"/>
      <a:tcStyle>
        <a:tcBdr/>
        <a:fill>
          <a:solidFill>
            <a:schemeClr val="bg1"/>
          </a:solidFill>
        </a:fill>
      </a:tcStyle>
    </a:lastRow>
    <a:firstRow>
      <a:tcTxStyle b="on"/>
      <a:tcStyle>
        <a:tcBdr>
          <a:bottom>
            <a:ln w="12700" cmpd="sng">
              <a:solidFill>
                <a:schemeClr val="accent2"/>
              </a:solidFill>
            </a:ln>
          </a:bottom>
        </a:tcBdr>
        <a:fill>
          <a:solidFill>
            <a:schemeClr val="bg1"/>
          </a:solidFill>
        </a:fill>
      </a:tcStyle>
    </a:firstRow>
  </a:tblStyle>
  <a:tblStyle styleId="{09810C2D-2C2F-4581-8AFF-CD78C2D722A2}" styleName="DPDHL Table No BG">
    <a:tblBg>
      <a:fill>
        <a:noFill/>
      </a:fill>
    </a:tblBg>
    <a:wholeTbl>
      <a:tcTxStyle>
        <a:fontRef idx="minor"/>
        <a:schemeClr val="accent2"/>
      </a:tcTxStyle>
      <a:tcStyle>
        <a:tcBdr>
          <a:left>
            <a:ln>
              <a:noFill/>
            </a:ln>
          </a:left>
          <a:right>
            <a:ln>
              <a:noFill/>
            </a:ln>
          </a:right>
          <a:top>
            <a:ln>
              <a:noFill/>
            </a:ln>
          </a:top>
          <a:bottom>
            <a:ln>
              <a:noFill/>
            </a:ln>
          </a:bottom>
          <a:insideH>
            <a:ln w="12700" cmpd="sng">
              <a:solidFill>
                <a:schemeClr val="accent2"/>
              </a:solidFill>
            </a:ln>
          </a:insideH>
          <a:insideV>
            <a:ln>
              <a:noFill/>
            </a:ln>
          </a:insideV>
        </a:tcBdr>
        <a:fill>
          <a:noFill/>
        </a:fill>
      </a:tcStyle>
    </a:wholeTbl>
    <a:band1H>
      <a:tcStyle>
        <a:tcBdr/>
        <a:fill>
          <a:solidFill>
            <a:schemeClr val="accent5">
              <a:tint val="100000"/>
            </a:schemeClr>
          </a:solidFill>
        </a:fill>
      </a:tcStyle>
    </a:band1H>
    <a:band2H>
      <a:tcStyle>
        <a:tcBdr/>
      </a:tcStyle>
    </a:band2H>
    <a:band1V>
      <a:tcStyle>
        <a:tcBdr/>
        <a:fill>
          <a:solidFill>
            <a:schemeClr val="accent3">
              <a:lumMod val="20000"/>
              <a:lumOff val="80000"/>
            </a:schemeClr>
          </a:solidFill>
        </a:fill>
      </a:tcStyle>
    </a:band1V>
    <a:band2V>
      <a:tcStyle>
        <a:tcBdr/>
      </a:tcStyle>
    </a:band2V>
    <a:lastCol>
      <a:tcTxStyle b="on"/>
      <a:tcStyle>
        <a:tcBdr/>
      </a:tcStyle>
    </a:lastCol>
    <a:firstCol>
      <a:tcTxStyle/>
      <a:tcStyle>
        <a:tcBdr/>
      </a:tcStyle>
    </a:firstCol>
    <a:lastRow>
      <a:tcTxStyle b="on"/>
      <a:tcStyle>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70" autoAdjust="0"/>
    <p:restoredTop sz="94595" autoAdjust="0"/>
  </p:normalViewPr>
  <p:slideViewPr>
    <p:cSldViewPr snapToGrid="0" snapToObjects="1">
      <p:cViewPr varScale="1">
        <p:scale>
          <a:sx n="116" d="100"/>
          <a:sy n="116" d="100"/>
        </p:scale>
        <p:origin x="1842" y="108"/>
      </p:cViewPr>
      <p:guideLst>
        <p:guide orient="horz" pos="4063"/>
        <p:guide orient="horz" pos="3783"/>
        <p:guide orient="horz" pos="647"/>
        <p:guide orient="horz" pos="540"/>
        <p:guide orient="horz" pos="353"/>
        <p:guide orient="horz" pos="239"/>
        <p:guide orient="horz" pos="791"/>
        <p:guide orient="horz" pos="3546"/>
        <p:guide orient="horz" pos="4203"/>
        <p:guide pos="260"/>
        <p:guide pos="5079"/>
        <p:guide pos="2947"/>
        <p:guide pos="2813"/>
        <p:guide pos="114"/>
        <p:guide pos="5500"/>
        <p:guide pos="5646"/>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87" d="100"/>
          <a:sy n="87" d="100"/>
        </p:scale>
        <p:origin x="-3204" y="-78"/>
      </p:cViewPr>
      <p:guideLst>
        <p:guide orient="horz" pos="2880"/>
        <p:guide pos="2160"/>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font" Target="fonts/font1.fntdata"/><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font" Target="fonts/font4.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7.fntdata"/><Relationship Id="rId32"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6.fntdata"/><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2.fntdata"/><Relationship Id="rId3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5.fntdata"/><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282867" cy="508056"/>
          </a:xfrm>
          <a:prstGeom prst="rect">
            <a:avLst/>
          </a:prstGeom>
        </p:spPr>
        <p:txBody>
          <a:bodyPr vert="horz" lIns="180000" tIns="180000" rIns="180000" bIns="0" rtlCol="0"/>
          <a:lstStyle>
            <a:lvl1pPr algn="l">
              <a:defRPr sz="1200"/>
            </a:lvl1pPr>
          </a:lstStyle>
          <a:p>
            <a:endParaRPr lang="en-US" dirty="0">
              <a:latin typeface="Arial" pitchFamily="34" charset="0"/>
              <a:cs typeface="Arial" pitchFamily="34" charset="0"/>
            </a:endParaRPr>
          </a:p>
        </p:txBody>
      </p:sp>
      <p:sp>
        <p:nvSpPr>
          <p:cNvPr id="3" name="Datumsplatzhalter 2"/>
          <p:cNvSpPr>
            <a:spLocks noGrp="1"/>
          </p:cNvSpPr>
          <p:nvPr>
            <p:ph type="dt" sz="quarter" idx="1"/>
          </p:nvPr>
        </p:nvSpPr>
        <p:spPr>
          <a:xfrm>
            <a:off x="3514808" y="0"/>
            <a:ext cx="3282867" cy="508056"/>
          </a:xfrm>
          <a:prstGeom prst="rect">
            <a:avLst/>
          </a:prstGeom>
        </p:spPr>
        <p:txBody>
          <a:bodyPr vert="horz" lIns="180000" tIns="180000" rIns="180000" bIns="0" rtlCol="0"/>
          <a:lstStyle>
            <a:lvl1pPr algn="r">
              <a:defRPr sz="1200"/>
            </a:lvl1pPr>
          </a:lstStyle>
          <a:p>
            <a:fld id="{19D11D04-14B6-471D-A1D6-B426EF7888B1}" type="datetimeFigureOut">
              <a:rPr lang="en-US" smtClean="0">
                <a:latin typeface="Arial" pitchFamily="34" charset="0"/>
                <a:cs typeface="Arial" pitchFamily="34" charset="0"/>
              </a:rPr>
              <a:pPr/>
              <a:t>10/1/2019</a:t>
            </a:fld>
            <a:endParaRPr lang="en-US" dirty="0">
              <a:latin typeface="Arial" pitchFamily="34" charset="0"/>
              <a:cs typeface="Arial" pitchFamily="34" charset="0"/>
            </a:endParaRPr>
          </a:p>
        </p:txBody>
      </p:sp>
      <p:sp>
        <p:nvSpPr>
          <p:cNvPr id="4" name="Fußzeilenplatzhalter 3"/>
          <p:cNvSpPr>
            <a:spLocks noGrp="1"/>
          </p:cNvSpPr>
          <p:nvPr>
            <p:ph type="ftr" sz="quarter" idx="2"/>
          </p:nvPr>
        </p:nvSpPr>
        <p:spPr>
          <a:xfrm>
            <a:off x="0" y="9340419"/>
            <a:ext cx="3282867" cy="586219"/>
          </a:xfrm>
          <a:prstGeom prst="rect">
            <a:avLst/>
          </a:prstGeom>
        </p:spPr>
        <p:txBody>
          <a:bodyPr vert="horz" lIns="180000" tIns="0" rIns="180000" bIns="180000" rtlCol="0" anchor="b"/>
          <a:lstStyle>
            <a:lvl1pPr algn="l">
              <a:defRPr sz="1200"/>
            </a:lvl1pPr>
          </a:lstStyle>
          <a:p>
            <a:endParaRPr lang="en-US" dirty="0">
              <a:latin typeface="Arial" pitchFamily="34" charset="0"/>
              <a:cs typeface="Arial" pitchFamily="34" charset="0"/>
            </a:endParaRPr>
          </a:p>
        </p:txBody>
      </p:sp>
      <p:sp>
        <p:nvSpPr>
          <p:cNvPr id="5" name="Foliennummernplatzhalter 4"/>
          <p:cNvSpPr>
            <a:spLocks noGrp="1"/>
          </p:cNvSpPr>
          <p:nvPr>
            <p:ph type="sldNum" sz="quarter" idx="3"/>
          </p:nvPr>
        </p:nvSpPr>
        <p:spPr>
          <a:xfrm>
            <a:off x="3514808" y="9340419"/>
            <a:ext cx="3282867" cy="586219"/>
          </a:xfrm>
          <a:prstGeom prst="rect">
            <a:avLst/>
          </a:prstGeom>
        </p:spPr>
        <p:txBody>
          <a:bodyPr vert="horz" lIns="180000" tIns="0" rIns="180000" bIns="180000" rtlCol="0" anchor="b"/>
          <a:lstStyle>
            <a:lvl1pPr algn="r">
              <a:defRPr sz="1200"/>
            </a:lvl1pPr>
          </a:lstStyle>
          <a:p>
            <a:r>
              <a:rPr lang="en-US" dirty="0">
                <a:latin typeface="Arial" pitchFamily="34" charset="0"/>
                <a:cs typeface="Arial" pitchFamily="34" charset="0"/>
              </a:rPr>
              <a:t>Hand out </a:t>
            </a:r>
            <a:fld id="{1987F2A0-9623-4C79-B830-6D590DA5FFFF}" type="slidenum">
              <a:rPr lang="en-US" smtClean="0">
                <a:latin typeface="Arial" pitchFamily="34" charset="0"/>
                <a:cs typeface="Arial" pitchFamily="34" charset="0"/>
              </a:rPr>
              <a:pPr/>
              <a:t>‹Nr.›</a:t>
            </a:fld>
            <a:endParaRPr lang="en-US" dirty="0">
              <a:latin typeface="Arial" pitchFamily="34" charset="0"/>
              <a:cs typeface="Arial" pitchFamily="34" charset="0"/>
            </a:endParaRPr>
          </a:p>
        </p:txBody>
      </p:sp>
    </p:spTree>
    <p:extLst>
      <p:ext uri="{BB962C8B-B14F-4D97-AF65-F5344CB8AC3E}">
        <p14:creationId xmlns:p14="http://schemas.microsoft.com/office/powerpoint/2010/main" val="40184542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282867" cy="586219"/>
          </a:xfrm>
          <a:prstGeom prst="rect">
            <a:avLst/>
          </a:prstGeom>
        </p:spPr>
        <p:txBody>
          <a:bodyPr vert="horz" lIns="180000" tIns="180000" rIns="180000" bIns="0" rtlCol="0"/>
          <a:lstStyle>
            <a:lvl1pPr algn="l">
              <a:defRPr sz="1200" b="0">
                <a:latin typeface="Delivery" panose="020F0503020204020204" pitchFamily="34" charset="0"/>
                <a:sym typeface="Delivery" panose="020F0503020204020204" pitchFamily="34" charset="0"/>
              </a:defRPr>
            </a:lvl1pPr>
          </a:lstStyle>
          <a:p>
            <a:endParaRPr lang="en-US" dirty="0"/>
          </a:p>
        </p:txBody>
      </p:sp>
      <p:sp>
        <p:nvSpPr>
          <p:cNvPr id="3" name="Datumsplatzhalter 2"/>
          <p:cNvSpPr>
            <a:spLocks noGrp="1"/>
          </p:cNvSpPr>
          <p:nvPr>
            <p:ph type="dt" idx="1"/>
          </p:nvPr>
        </p:nvSpPr>
        <p:spPr>
          <a:xfrm>
            <a:off x="3514808" y="0"/>
            <a:ext cx="3282867" cy="586219"/>
          </a:xfrm>
          <a:prstGeom prst="rect">
            <a:avLst/>
          </a:prstGeom>
        </p:spPr>
        <p:txBody>
          <a:bodyPr vert="horz" lIns="180000" tIns="180000" rIns="180000" bIns="0" rtlCol="0"/>
          <a:lstStyle>
            <a:lvl1pPr algn="r">
              <a:defRPr sz="1200">
                <a:latin typeface="Delivery" panose="020F0503020204020204" pitchFamily="34" charset="0"/>
                <a:sym typeface="Delivery" panose="020F0503020204020204" pitchFamily="34" charset="0"/>
              </a:defRPr>
            </a:lvl1pPr>
          </a:lstStyle>
          <a:p>
            <a:fld id="{2636F879-443D-410F-A2CF-15E984F48DC2}" type="datetimeFigureOut">
              <a:rPr lang="en-US" smtClean="0"/>
              <a:pPr/>
              <a:t>10/1/2019</a:t>
            </a:fld>
            <a:endParaRPr lang="en-US" dirty="0"/>
          </a:p>
        </p:txBody>
      </p:sp>
      <p:sp>
        <p:nvSpPr>
          <p:cNvPr id="4" name="Folienbildplatzhalter 3"/>
          <p:cNvSpPr>
            <a:spLocks noGrp="1" noRot="1" noChangeAspect="1"/>
          </p:cNvSpPr>
          <p:nvPr>
            <p:ph type="sldImg" idx="2"/>
          </p:nvPr>
        </p:nvSpPr>
        <p:spPr bwMode="gray">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bwMode="gray">
          <a:xfrm>
            <a:off x="679768" y="4715153"/>
            <a:ext cx="5438140" cy="4466987"/>
          </a:xfrm>
          <a:prstGeom prst="rect">
            <a:avLst/>
          </a:prstGeom>
        </p:spPr>
        <p:txBody>
          <a:bodyPr vert="horz" lIns="91440" tIns="45720" rIns="91440" bIns="45720" rtlCol="0">
            <a:normAutofit/>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6" name="Fußzeilenplatzhalter 5"/>
          <p:cNvSpPr>
            <a:spLocks noGrp="1"/>
          </p:cNvSpPr>
          <p:nvPr>
            <p:ph type="ftr" sz="quarter" idx="4"/>
          </p:nvPr>
        </p:nvSpPr>
        <p:spPr>
          <a:xfrm>
            <a:off x="0" y="9338696"/>
            <a:ext cx="3282867" cy="586219"/>
          </a:xfrm>
          <a:prstGeom prst="rect">
            <a:avLst/>
          </a:prstGeom>
        </p:spPr>
        <p:txBody>
          <a:bodyPr vert="horz" lIns="180000" tIns="0" rIns="180000" bIns="180000" rtlCol="0" anchor="b"/>
          <a:lstStyle>
            <a:lvl1pPr algn="l">
              <a:defRPr sz="1200" b="0">
                <a:latin typeface="Delivery" panose="020F0503020204020204" pitchFamily="34" charset="0"/>
                <a:sym typeface="Delivery" panose="020F0503020204020204" pitchFamily="34" charset="0"/>
              </a:defRPr>
            </a:lvl1pPr>
          </a:lstStyle>
          <a:p>
            <a:endParaRPr lang="en-US" dirty="0"/>
          </a:p>
        </p:txBody>
      </p:sp>
      <p:sp>
        <p:nvSpPr>
          <p:cNvPr id="7" name="Foliennummernplatzhalter 6"/>
          <p:cNvSpPr>
            <a:spLocks noGrp="1"/>
          </p:cNvSpPr>
          <p:nvPr>
            <p:ph type="sldNum" sz="quarter" idx="5"/>
          </p:nvPr>
        </p:nvSpPr>
        <p:spPr>
          <a:xfrm>
            <a:off x="3514808" y="9338696"/>
            <a:ext cx="3282867" cy="586219"/>
          </a:xfrm>
          <a:prstGeom prst="rect">
            <a:avLst/>
          </a:prstGeom>
        </p:spPr>
        <p:txBody>
          <a:bodyPr vert="horz" lIns="180000" tIns="0" rIns="180000" bIns="180000" rtlCol="0" anchor="b"/>
          <a:lstStyle>
            <a:lvl1pPr algn="r">
              <a:defRPr sz="1200" b="0">
                <a:latin typeface="Delivery" panose="020F0503020204020204" pitchFamily="34" charset="0"/>
                <a:sym typeface="Delivery" panose="020F0503020204020204" pitchFamily="34" charset="0"/>
              </a:defRPr>
            </a:lvl1pPr>
          </a:lstStyle>
          <a:p>
            <a:r>
              <a:rPr lang="en-US"/>
              <a:t>Notice </a:t>
            </a:r>
            <a:fld id="{AE19FBA5-BE7F-4824-B54D-C07EBA2A4967}" type="slidenum">
              <a:rPr lang="en-US" smtClean="0"/>
              <a:pPr/>
              <a:t>‹Nr.›</a:t>
            </a:fld>
            <a:endParaRPr lang="en-US" dirty="0"/>
          </a:p>
        </p:txBody>
      </p:sp>
    </p:spTree>
    <p:extLst>
      <p:ext uri="{BB962C8B-B14F-4D97-AF65-F5344CB8AC3E}">
        <p14:creationId xmlns:p14="http://schemas.microsoft.com/office/powerpoint/2010/main" val="2119054695"/>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200"/>
      </a:spcAft>
      <a:defRPr sz="1200" kern="1200">
        <a:solidFill>
          <a:schemeClr val="tx1"/>
        </a:solidFill>
        <a:latin typeface="Delivery" panose="020F0503020204020204" pitchFamily="34" charset="0"/>
        <a:ea typeface="+mn-ea"/>
        <a:cs typeface="+mn-cs"/>
        <a:sym typeface="Delivery" panose="020F0503020204020204" pitchFamily="34" charset="0"/>
      </a:defRPr>
    </a:lvl1pPr>
    <a:lvl2pPr marL="0" indent="0" algn="l" defTabSz="914400" rtl="0" eaLnBrk="1" latinLnBrk="0" hangingPunct="1">
      <a:spcAft>
        <a:spcPts val="400"/>
      </a:spcAft>
      <a:defRPr sz="1200" b="1" kern="1200">
        <a:solidFill>
          <a:schemeClr val="tx1"/>
        </a:solidFill>
        <a:latin typeface="Delivery" panose="020F0503020204020204" pitchFamily="34" charset="0"/>
        <a:ea typeface="+mn-ea"/>
        <a:cs typeface="+mn-cs"/>
        <a:sym typeface="Delivery" panose="020F0503020204020204" pitchFamily="34" charset="0"/>
      </a:defRPr>
    </a:lvl2pPr>
    <a:lvl3pPr marL="163513" indent="-163513" algn="l" defTabSz="914400" rtl="0" eaLnBrk="1" latinLnBrk="0" hangingPunct="1">
      <a:spcAft>
        <a:spcPts val="200"/>
      </a:spcAft>
      <a:buFont typeface="Arial" pitchFamily="34" charset="0"/>
      <a:buChar char="•"/>
      <a:defRPr sz="1200" kern="1200">
        <a:solidFill>
          <a:schemeClr val="tx1"/>
        </a:solidFill>
        <a:latin typeface="Delivery" panose="020F0503020204020204" pitchFamily="34" charset="0"/>
        <a:ea typeface="+mn-ea"/>
        <a:cs typeface="+mn-cs"/>
        <a:sym typeface="Delivery" panose="020F0503020204020204" pitchFamily="34" charset="0"/>
      </a:defRPr>
    </a:lvl3pPr>
    <a:lvl4pPr marL="363538" indent="-176213" algn="l" defTabSz="914400" rtl="0" eaLnBrk="1" latinLnBrk="0" hangingPunct="1">
      <a:spcAft>
        <a:spcPts val="200"/>
      </a:spcAft>
      <a:buFont typeface="Arial" pitchFamily="34" charset="0"/>
      <a:buChar char="–"/>
      <a:defRPr sz="1200" kern="1200">
        <a:solidFill>
          <a:schemeClr val="tx1"/>
        </a:solidFill>
        <a:latin typeface="Delivery" panose="020F0503020204020204" pitchFamily="34" charset="0"/>
        <a:ea typeface="+mn-ea"/>
        <a:cs typeface="+mn-cs"/>
        <a:sym typeface="Delivery" panose="020F0503020204020204" pitchFamily="34" charset="0"/>
      </a:defRPr>
    </a:lvl4pPr>
    <a:lvl5pPr marL="539750" indent="-176213" algn="l" defTabSz="309563" rtl="0" eaLnBrk="1" latinLnBrk="0" hangingPunct="1">
      <a:spcAft>
        <a:spcPts val="200"/>
      </a:spcAft>
      <a:buFont typeface="Arial" pitchFamily="34" charset="0"/>
      <a:buChar char="–"/>
      <a:defRPr sz="1200" kern="1200">
        <a:solidFill>
          <a:schemeClr val="tx1"/>
        </a:solidFill>
        <a:latin typeface="Delivery" panose="020F0503020204020204" pitchFamily="34" charset="0"/>
        <a:ea typeface="+mn-ea"/>
        <a:cs typeface="+mn-cs"/>
        <a:sym typeface="Delivery" panose="020F0503020204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Notice </a:t>
            </a:r>
            <a:fld id="{AE19FBA5-BE7F-4824-B54D-C07EBA2A4967}" type="slidenum">
              <a:rPr lang="en-US" smtClean="0"/>
              <a:pPr/>
              <a:t>3</a:t>
            </a:fld>
            <a:endParaRPr lang="en-US" dirty="0"/>
          </a:p>
        </p:txBody>
      </p:sp>
    </p:spTree>
    <p:extLst>
      <p:ext uri="{BB962C8B-B14F-4D97-AF65-F5344CB8AC3E}">
        <p14:creationId xmlns:p14="http://schemas.microsoft.com/office/powerpoint/2010/main" val="157457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17575" y="744538"/>
            <a:ext cx="4962525" cy="372268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en-US" smtClean="0"/>
              <a:t>Notice </a:t>
            </a:r>
            <a:fld id="{AE19FBA5-BE7F-4824-B54D-C07EBA2A4967}" type="slidenum">
              <a:rPr lang="en-US" smtClean="0"/>
              <a:pPr/>
              <a:t>5</a:t>
            </a:fld>
            <a:endParaRPr lang="en-US" dirty="0"/>
          </a:p>
        </p:txBody>
      </p:sp>
    </p:spTree>
    <p:extLst>
      <p:ext uri="{BB962C8B-B14F-4D97-AF65-F5344CB8AC3E}">
        <p14:creationId xmlns:p14="http://schemas.microsoft.com/office/powerpoint/2010/main" val="26363275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en-US" smtClean="0"/>
              <a:t>Notice </a:t>
            </a:r>
            <a:fld id="{AE19FBA5-BE7F-4824-B54D-C07EBA2A4967}" type="slidenum">
              <a:rPr lang="en-US" smtClean="0"/>
              <a:pPr/>
              <a:t>8</a:t>
            </a:fld>
            <a:endParaRPr lang="en-US" dirty="0"/>
          </a:p>
        </p:txBody>
      </p:sp>
    </p:spTree>
    <p:extLst>
      <p:ext uri="{BB962C8B-B14F-4D97-AF65-F5344CB8AC3E}">
        <p14:creationId xmlns:p14="http://schemas.microsoft.com/office/powerpoint/2010/main" val="2654753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4.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4.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4.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5.vml"/><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6.v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4.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4.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4.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4.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icture, gradient bottom">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FAC7B97B-C8EC-4B76-8B76-A879B926C5E4}"/>
              </a:ext>
            </a:extLst>
          </p:cNvPr>
          <p:cNvGraphicFramePr>
            <a:graphicFrameLocks noChangeAspect="1"/>
          </p:cNvGraphicFramePr>
          <p:nvPr>
            <p:custDataLst>
              <p:tags r:id="rId2"/>
            </p:custDataLst>
            <p:extLst>
              <p:ext uri="{D42A27DB-BD31-4B8C-83A1-F6EECF244321}">
                <p14:modId xmlns:p14="http://schemas.microsoft.com/office/powerpoint/2010/main" val="2638601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180"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CDE52DA6-2664-43E6-88CB-5242DEA8FA0A}"/>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8" name="Picture Placeholder 33"/>
          <p:cNvSpPr>
            <a:spLocks noGrp="1"/>
          </p:cNvSpPr>
          <p:nvPr>
            <p:ph type="pic" sz="quarter" idx="8"/>
          </p:nvPr>
        </p:nvSpPr>
        <p:spPr bwMode="white">
          <a:xfrm>
            <a:off x="0" y="0"/>
            <a:ext cx="9144000" cy="6858000"/>
          </a:xfrm>
          <a:prstGeom prst="rect">
            <a:avLst/>
          </a:prstGeom>
          <a:solidFill>
            <a:schemeClr val="tx2"/>
          </a:solidFill>
        </p:spPr>
        <p:txBody>
          <a:bodyPr tIns="540000" anchor="ctr" anchorCtr="0"/>
          <a:lstStyle>
            <a:lvl1pPr algn="ctr">
              <a:defRPr>
                <a:latin typeface="+mn-lt"/>
                <a:sym typeface="Delivery" panose="020F0503020204020204" pitchFamily="34" charset="0"/>
              </a:defRPr>
            </a:lvl1pPr>
          </a:lstStyle>
          <a:p>
            <a:r>
              <a:rPr lang="de-DE" smtClean="0"/>
              <a:t>Bild durch Klicken auf Symbol hinzufügen</a:t>
            </a:r>
            <a:endParaRPr lang="en-US" dirty="0"/>
          </a:p>
        </p:txBody>
      </p:sp>
      <p:sp>
        <p:nvSpPr>
          <p:cNvPr id="7" name="Text Placeholder 30"/>
          <p:cNvSpPr>
            <a:spLocks noGrp="1"/>
          </p:cNvSpPr>
          <p:nvPr>
            <p:ph type="body" sz="quarter" idx="7" hasCustomPrompt="1"/>
          </p:nvPr>
        </p:nvSpPr>
        <p:spPr bwMode="hidden">
          <a:xfrm>
            <a:off x="180000" y="5232400"/>
            <a:ext cx="8784000" cy="1441450"/>
          </a:xfrm>
          <a:prstGeom prst="rect">
            <a:avLst/>
          </a:prstGeom>
          <a:gradFill>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gradFill>
        </p:spPr>
        <p:txBody>
          <a:bodyPr anchor="b" anchorCtr="0"/>
          <a:lstStyle>
            <a:lvl1pPr>
              <a:defRPr sz="100">
                <a:solidFill>
                  <a:schemeClr val="accent3"/>
                </a:solidFill>
                <a:latin typeface="+mn-lt"/>
                <a:sym typeface="Delivery" panose="020F0503020204020204" pitchFamily="34" charset="0"/>
              </a:defRPr>
            </a:lvl1pPr>
          </a:lstStyle>
          <a:p>
            <a:pPr lvl="0"/>
            <a:r>
              <a:rPr lang="en-US" dirty="0" err="1"/>
              <a:t>Textmasterformat</a:t>
            </a:r>
            <a:r>
              <a:rPr lang="en-US" dirty="0"/>
              <a:t> </a:t>
            </a:r>
            <a:r>
              <a:rPr lang="en-US" dirty="0" err="1"/>
              <a:t>bearbeiten</a:t>
            </a:r>
            <a:endParaRPr lang="en-US" dirty="0"/>
          </a:p>
        </p:txBody>
      </p:sp>
      <p:sp>
        <p:nvSpPr>
          <p:cNvPr id="9" name="Title 36"/>
          <p:cNvSpPr>
            <a:spLocks noGrp="1"/>
          </p:cNvSpPr>
          <p:nvPr>
            <p:ph type="title" hasCustomPrompt="1"/>
          </p:nvPr>
        </p:nvSpPr>
        <p:spPr bwMode="invGray">
          <a:xfrm>
            <a:off x="413999" y="482400"/>
            <a:ext cx="8316000" cy="1548000"/>
          </a:xfrm>
          <a:prstGeom prst="rect">
            <a:avLst/>
          </a:prstGeom>
        </p:spPr>
        <p:txBody>
          <a:bodyPr wrap="square" lIns="0" tIns="0" rIns="0" bIns="0" anchor="b" anchorCtr="0"/>
          <a:lstStyle>
            <a:lvl1pPr>
              <a:lnSpc>
                <a:spcPct val="90000"/>
              </a:lnSpc>
              <a:defRPr sz="4200" cap="all" baseline="0">
                <a:solidFill>
                  <a:schemeClr val="tx1"/>
                </a:solidFill>
                <a:latin typeface="+mj-lt"/>
                <a:sym typeface="Delivery" panose="020F0503020204020204" pitchFamily="34" charset="0"/>
              </a:defRPr>
            </a:lvl1pPr>
          </a:lstStyle>
          <a:p>
            <a:r>
              <a:rPr lang="en-US" dirty="0"/>
              <a:t>SAMPLE TITLE ONE OR</a:t>
            </a:r>
            <a:br>
              <a:rPr lang="en-US" dirty="0"/>
            </a:br>
            <a:r>
              <a:rPr lang="en-US" dirty="0"/>
              <a:t>TWO LINES, Delivery, 42 </a:t>
            </a:r>
            <a:r>
              <a:rPr lang="en-US" dirty="0" err="1"/>
              <a:t>pt</a:t>
            </a:r>
            <a:endParaRPr lang="en-US" dirty="0"/>
          </a:p>
        </p:txBody>
      </p:sp>
      <p:sp>
        <p:nvSpPr>
          <p:cNvPr id="4" name="meta-identifier"/>
          <p:cNvSpPr>
            <a:spLocks noGrp="1"/>
          </p:cNvSpPr>
          <p:nvPr>
            <p:ph type="body" sz="quarter" idx="4" hasCustomPrompt="1"/>
          </p:nvPr>
        </p:nvSpPr>
        <p:spPr bwMode="gray">
          <a:xfrm>
            <a:off x="414000" y="6267600"/>
            <a:ext cx="6048000" cy="216000"/>
          </a:xfrm>
          <a:prstGeom prst="rect">
            <a:avLst/>
          </a:prstGeom>
        </p:spPr>
        <p:txBody>
          <a:bodyPr lIns="0" tIns="0" rIns="0" bIns="0" anchor="b" anchorCtr="0">
            <a:noAutofit/>
          </a:bodyPr>
          <a:lstStyle>
            <a:lvl1pPr>
              <a:defRPr sz="1200" b="1" baseline="0">
                <a:latin typeface="+mn-lt"/>
                <a:sym typeface="Delivery" panose="020F0503020204020204" pitchFamily="34" charset="0"/>
              </a:defRPr>
            </a:lvl1pPr>
          </a:lstStyle>
          <a:p>
            <a:pPr lvl="0"/>
            <a:r>
              <a:rPr lang="en-US" dirty="0"/>
              <a:t>Business identifier</a:t>
            </a:r>
          </a:p>
        </p:txBody>
      </p:sp>
      <p:sp>
        <p:nvSpPr>
          <p:cNvPr id="5" name="meta-subline"/>
          <p:cNvSpPr>
            <a:spLocks noGrp="1"/>
          </p:cNvSpPr>
          <p:nvPr>
            <p:ph type="body" sz="quarter" idx="5" hasCustomPrompt="1"/>
          </p:nvPr>
        </p:nvSpPr>
        <p:spPr>
          <a:xfrm>
            <a:off x="414000" y="2030400"/>
            <a:ext cx="8316000" cy="402291"/>
          </a:xfrm>
          <a:noFill/>
          <a:ln w="9525" cap="flat" cmpd="sng" algn="ctr">
            <a:noFill/>
            <a:prstDash val="solid"/>
            <a:round/>
            <a:headEnd type="none" w="med" len="med"/>
            <a:tailEnd type="none" w="med" len="med"/>
          </a:ln>
          <a:effectLst/>
        </p:spPr>
        <p:txBody>
          <a:bodyPr vert="horz" wrap="square" lIns="0" tIns="46800" rIns="0" bIns="468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2000">
                <a:latin typeface="+mn-lt"/>
                <a:sym typeface="Delivery" panose="020F0503020204020204" pitchFamily="34" charset="0"/>
              </a:defRPr>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dirty="0"/>
              <a:t>Subline in one or two lines, Delivery, 20 </a:t>
            </a:r>
            <a:r>
              <a:rPr lang="en-US" dirty="0" err="1"/>
              <a:t>pt</a:t>
            </a:r>
            <a:endParaRPr lang="en-US" dirty="0"/>
          </a:p>
        </p:txBody>
      </p:sp>
      <p:sp>
        <p:nvSpPr>
          <p:cNvPr id="2" name="meta-classification"/>
          <p:cNvSpPr>
            <a:spLocks noGrp="1"/>
          </p:cNvSpPr>
          <p:nvPr>
            <p:ph type="body" sz="quarter" idx="2" hasCustomPrompt="1"/>
          </p:nvPr>
        </p:nvSpPr>
        <p:spPr bwMode="gray">
          <a:xfrm>
            <a:off x="414000" y="0"/>
            <a:ext cx="2040623" cy="222108"/>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900" b="1" kern="0" cap="all" baseline="0" dirty="0" smtClean="0">
                <a:solidFill>
                  <a:schemeClr val="accent1"/>
                </a:solidFill>
                <a:latin typeface="+mn-lt"/>
                <a:ea typeface="+mn-ea"/>
                <a:cs typeface="Arial"/>
                <a:sym typeface="Delivery" panose="020F0503020204020204" pitchFamily="34" charset="0"/>
              </a:defRPr>
            </a:lvl1pPr>
          </a:lstStyle>
          <a:p>
            <a:r>
              <a:rPr lang="en-US" sz="900" b="1" dirty="0">
                <a:solidFill>
                  <a:schemeClr val="accent1"/>
                </a:solidFill>
              </a:rPr>
              <a:t>PLEASE INSERT CLASSIFICATION HERE</a:t>
            </a:r>
            <a:endParaRPr lang="en-US" sz="900" b="1" kern="0" cap="all" baseline="0" dirty="0">
              <a:solidFill>
                <a:schemeClr val="accent1"/>
              </a:solidFill>
              <a:cs typeface="Arial"/>
            </a:endParaRPr>
          </a:p>
        </p:txBody>
      </p:sp>
      <p:sp>
        <p:nvSpPr>
          <p:cNvPr id="3" name="meta-project"/>
          <p:cNvSpPr>
            <a:spLocks noGrp="1"/>
          </p:cNvSpPr>
          <p:nvPr>
            <p:ph type="body" sz="quarter" idx="3" hasCustomPrompt="1"/>
          </p:nvPr>
        </p:nvSpPr>
        <p:spPr>
          <a:xfrm>
            <a:off x="414000" y="2434818"/>
            <a:ext cx="8316000" cy="514738"/>
          </a:xfrm>
          <a:noFill/>
          <a:ln w="9525" cap="flat" cmpd="sng" algn="ctr">
            <a:noFill/>
            <a:prstDash val="solid"/>
            <a:round/>
            <a:headEnd type="none" w="med" len="med"/>
            <a:tailEnd type="none" w="med" len="med"/>
          </a:ln>
          <a:effectLst/>
        </p:spPr>
        <p:txBody>
          <a:bodyPr vert="horz" wrap="square" lIns="0" tIns="14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sym typeface="Delivery" panose="020F0503020204020204" pitchFamily="34" charset="0"/>
              </a:defRPr>
            </a:lvl1pPr>
            <a:lvl2pPr>
              <a:spcAft>
                <a:spcPts val="1600"/>
              </a:spcAft>
              <a:defRPr sz="2000" b="0" baseline="0"/>
            </a:lvl2pPr>
          </a:lstStyle>
          <a:p>
            <a:r>
              <a:rPr lang="en-US" dirty="0"/>
              <a:t>Name of the event or project or presenter, Delivery, 12 </a:t>
            </a:r>
            <a:r>
              <a:rPr lang="en-US" dirty="0" err="1"/>
              <a:t>pt</a:t>
            </a:r>
            <a:r>
              <a:rPr lang="en-US" dirty="0"/>
              <a:t/>
            </a:r>
            <a:br>
              <a:rPr lang="en-US" dirty="0"/>
            </a:br>
            <a:r>
              <a:rPr lang="en-US" dirty="0"/>
              <a:t>Location, ## Month ####</a:t>
            </a:r>
          </a:p>
        </p:txBody>
      </p:sp>
      <p:sp>
        <p:nvSpPr>
          <p:cNvPr id="6" name="Text Placeholder 27">
            <a:extLst>
              <a:ext uri="{FF2B5EF4-FFF2-40B4-BE49-F238E27FC236}">
                <a16:creationId xmlns:a16="http://schemas.microsoft.com/office/drawing/2014/main" xmlns:v="urn:schemas-microsoft-com:vml" xmlns:mc="http://schemas.openxmlformats.org/markup-compatibility/2006" xmlns:p14="http://schemas.microsoft.com/office/powerpoint/2010/main" xmlns="" id="{3A2DDBA9-9EA8-465C-8C65-C4BB71EE9713}"/>
              </a:ext>
            </a:extLst>
          </p:cNvPr>
          <p:cNvSpPr>
            <a:spLocks noGrp="1"/>
          </p:cNvSpPr>
          <p:nvPr>
            <p:ph type="body" sz="quarter" idx="6" hasCustomPrompt="1"/>
          </p:nvPr>
        </p:nvSpPr>
        <p:spPr>
          <a:xfrm>
            <a:off x="6954842" y="6091966"/>
            <a:ext cx="1807200" cy="453600"/>
          </a:xfrm>
          <a:blipFill>
            <a:blip r:embed="rId7"/>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14628635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7B0351C1-3462-4F55-9D8B-56E236E1A9D4}"/>
              </a:ext>
            </a:extLst>
          </p:cNvPr>
          <p:cNvGraphicFramePr>
            <a:graphicFrameLocks noChangeAspect="1"/>
          </p:cNvGraphicFramePr>
          <p:nvPr>
            <p:custDataLst>
              <p:tags r:id="rId2"/>
            </p:custDataLst>
            <p:extLst>
              <p:ext uri="{D42A27DB-BD31-4B8C-83A1-F6EECF244321}">
                <p14:modId xmlns:p14="http://schemas.microsoft.com/office/powerpoint/2010/main" val="3708271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73"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BBA8C0A0-ACB1-4C33-A6A3-06B8ECF27169}"/>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9" name="Rechteck 11"/>
          <p:cNvSpPr/>
          <p:nvPr/>
        </p:nvSpPr>
        <p:spPr bwMode="hidden">
          <a:xfrm>
            <a:off x="179388" y="5952326"/>
            <a:ext cx="8784000" cy="720000"/>
          </a:xfrm>
          <a:prstGeom prst="rect">
            <a:avLst/>
          </a:prstGeom>
          <a:gradFill flip="none" rotWithShape="1">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sym typeface="Delivery" panose="020F0503020204020204" pitchFamily="34" charset="0"/>
            </a:endParaRPr>
          </a:p>
        </p:txBody>
      </p:sp>
      <p:sp>
        <p:nvSpPr>
          <p:cNvPr id="29" name="Rechteck 8"/>
          <p:cNvSpPr/>
          <p:nvPr/>
        </p:nvSpPr>
        <p:spPr bwMode="gray">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
        <p:nvSpPr>
          <p:cNvPr id="30" name="Footer Placeholder 2"/>
          <p:cNvSpPr>
            <a:spLocks noGrp="1"/>
          </p:cNvSpPr>
          <p:nvPr>
            <p:ph type="ftr" sz="quarter" idx="31"/>
          </p:nvPr>
        </p:nvSpPr>
        <p:spPr bwMode="gray">
          <a:xfrm>
            <a:off x="2142000"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cxnSp>
        <p:nvCxnSpPr>
          <p:cNvPr id="12" name="Straight Connector 10"/>
          <p:cNvCxnSpPr/>
          <p:nvPr/>
        </p:nvCxnSpPr>
        <p:spPr bwMode="gray">
          <a:xfrm>
            <a:off x="414000" y="1015200"/>
            <a:ext cx="8316000"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itle 9"/>
          <p:cNvSpPr>
            <a:spLocks noGrp="1"/>
          </p:cNvSpPr>
          <p:nvPr>
            <p:ph type="title"/>
          </p:nvPr>
        </p:nvSpPr>
        <p:spPr/>
        <p:txBody>
          <a:bodyPr/>
          <a:lstStyle>
            <a:lvl1pPr>
              <a:defRPr>
                <a:latin typeface="+mj-lt"/>
                <a:sym typeface="Delivery" panose="020F0503020204020204" pitchFamily="34" charset="0"/>
              </a:defRPr>
            </a:lvl1pPr>
          </a:lstStyle>
          <a:p>
            <a:r>
              <a:rPr lang="de-DE" smtClean="0"/>
              <a:t>Titelmasterformat durch Klicken bearbeiten</a:t>
            </a:r>
            <a:endParaRPr lang="en-US" dirty="0"/>
          </a:p>
        </p:txBody>
      </p:sp>
      <p:pic>
        <p:nvPicPr>
          <p:cNvPr id="13" name="Grafik 12">
            <a:extLst>
              <a:ext uri="{FF2B5EF4-FFF2-40B4-BE49-F238E27FC236}">
                <a16:creationId xmlns:a16="http://schemas.microsoft.com/office/drawing/2014/main" xmlns:v="urn:schemas-microsoft-com:vml" xmlns:mc="http://schemas.openxmlformats.org/markup-compatibility/2006" xmlns:p14="http://schemas.microsoft.com/office/powerpoint/2010/main" xmlns="" id="{FE090002-BEE9-448C-AADB-741926760CF4}"/>
              </a:ext>
            </a:extLst>
          </p:cNvPr>
          <p:cNvPicPr>
            <a:picLocks noChangeAspect="1"/>
          </p:cNvPicPr>
          <p:nvPr/>
        </p:nvPicPr>
        <p:blipFill>
          <a:blip r:embed="rId7"/>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24001356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0345FB68-6E90-499B-9AAF-D28DA3B8D078}"/>
              </a:ext>
            </a:extLst>
          </p:cNvPr>
          <p:cNvGraphicFramePr>
            <a:graphicFrameLocks noChangeAspect="1"/>
          </p:cNvGraphicFramePr>
          <p:nvPr>
            <p:custDataLst>
              <p:tags r:id="rId2"/>
            </p:custDataLst>
            <p:extLst>
              <p:ext uri="{D42A27DB-BD31-4B8C-83A1-F6EECF244321}">
                <p14:modId xmlns:p14="http://schemas.microsoft.com/office/powerpoint/2010/main" val="2847088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398"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06252912-25E4-4DBF-8F0A-E470FFC84564}"/>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6" name="Textplatzhalter 15"/>
          <p:cNvSpPr>
            <a:spLocks noGrp="1"/>
          </p:cNvSpPr>
          <p:nvPr>
            <p:ph type="body" sz="quarter" idx="32"/>
          </p:nvPr>
        </p:nvSpPr>
        <p:spPr>
          <a:xfrm>
            <a:off x="414338" y="1249199"/>
            <a:ext cx="4050000" cy="4755600"/>
          </a:xfrm>
          <a:prstGeom prst="rect">
            <a:avLst/>
          </a:prstGeo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8" name="Textplatzhalter 17"/>
          <p:cNvSpPr>
            <a:spLocks noGrp="1"/>
          </p:cNvSpPr>
          <p:nvPr>
            <p:ph type="body" sz="quarter" idx="33"/>
          </p:nvPr>
        </p:nvSpPr>
        <p:spPr>
          <a:xfrm>
            <a:off x="4680000" y="1249199"/>
            <a:ext cx="4050000" cy="4755600"/>
          </a:xfrm>
          <a:prstGeom prst="rect">
            <a:avLst/>
          </a:prstGeo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1" name="Rechteck 11"/>
          <p:cNvSpPr/>
          <p:nvPr/>
        </p:nvSpPr>
        <p:spPr bwMode="hidden">
          <a:xfrm>
            <a:off x="179388" y="5952326"/>
            <a:ext cx="8784000" cy="720000"/>
          </a:xfrm>
          <a:prstGeom prst="rect">
            <a:avLst/>
          </a:prstGeom>
          <a:gradFill flip="none" rotWithShape="1">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sym typeface="Delivery" panose="020F0503020204020204" pitchFamily="34" charset="0"/>
            </a:endParaRPr>
          </a:p>
        </p:txBody>
      </p:sp>
      <p:sp>
        <p:nvSpPr>
          <p:cNvPr id="33" name="Rechteck 8"/>
          <p:cNvSpPr/>
          <p:nvPr/>
        </p:nvSpPr>
        <p:spPr bwMode="gray">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
        <p:nvSpPr>
          <p:cNvPr id="34" name="Footer Placeholder 2"/>
          <p:cNvSpPr>
            <a:spLocks noGrp="1"/>
          </p:cNvSpPr>
          <p:nvPr>
            <p:ph type="ftr" sz="quarter" idx="31"/>
          </p:nvPr>
        </p:nvSpPr>
        <p:spPr bwMode="gray">
          <a:xfrm>
            <a:off x="2142000"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cxnSp>
        <p:nvCxnSpPr>
          <p:cNvPr id="21" name="Straight Connector 10"/>
          <p:cNvCxnSpPr/>
          <p:nvPr/>
        </p:nvCxnSpPr>
        <p:spPr bwMode="gray">
          <a:xfrm>
            <a:off x="414000" y="1015200"/>
            <a:ext cx="8316000"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itle 11"/>
          <p:cNvSpPr>
            <a:spLocks noGrp="1"/>
          </p:cNvSpPr>
          <p:nvPr>
            <p:ph type="title"/>
          </p:nvPr>
        </p:nvSpPr>
        <p:spPr/>
        <p:txBody>
          <a:bodyPr/>
          <a:lstStyle>
            <a:lvl1pPr>
              <a:defRPr>
                <a:latin typeface="+mj-lt"/>
                <a:sym typeface="Delivery" panose="020F0503020204020204" pitchFamily="34" charset="0"/>
              </a:defRPr>
            </a:lvl1pPr>
          </a:lstStyle>
          <a:p>
            <a:r>
              <a:rPr lang="de-DE" smtClean="0"/>
              <a:t>Titelmasterformat durch Klicken bearbeiten</a:t>
            </a:r>
            <a:endParaRPr lang="en-US" dirty="0"/>
          </a:p>
        </p:txBody>
      </p:sp>
      <p:pic>
        <p:nvPicPr>
          <p:cNvPr id="13" name="Grafik 12">
            <a:extLst>
              <a:ext uri="{FF2B5EF4-FFF2-40B4-BE49-F238E27FC236}">
                <a16:creationId xmlns:a16="http://schemas.microsoft.com/office/drawing/2014/main" xmlns:v="urn:schemas-microsoft-com:vml" xmlns:mc="http://schemas.openxmlformats.org/markup-compatibility/2006" xmlns:p14="http://schemas.microsoft.com/office/powerpoint/2010/main" xmlns="" id="{9B0AC0FC-ECDA-45AD-B9DE-E50EF05DB1EF}"/>
              </a:ext>
            </a:extLst>
          </p:cNvPr>
          <p:cNvPicPr>
            <a:picLocks noChangeAspect="1"/>
          </p:cNvPicPr>
          <p:nvPr/>
        </p:nvPicPr>
        <p:blipFill>
          <a:blip r:embed="rId7"/>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26303456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4E55CE55-F499-4EFB-8E0F-C99DC8CE0519}"/>
              </a:ext>
            </a:extLst>
          </p:cNvPr>
          <p:cNvGraphicFramePr>
            <a:graphicFrameLocks noChangeAspect="1"/>
          </p:cNvGraphicFramePr>
          <p:nvPr>
            <p:custDataLst>
              <p:tags r:id="rId2"/>
            </p:custDataLst>
            <p:extLst>
              <p:ext uri="{D42A27DB-BD31-4B8C-83A1-F6EECF244321}">
                <p14:modId xmlns:p14="http://schemas.microsoft.com/office/powerpoint/2010/main" val="413485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421"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555A2137-4298-415A-BF09-361D9ADBA918}"/>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2" name="Picture Placeholder 11"/>
          <p:cNvSpPr>
            <a:spLocks noGrp="1"/>
          </p:cNvSpPr>
          <p:nvPr>
            <p:ph type="pic" sz="quarter" idx="11"/>
          </p:nvPr>
        </p:nvSpPr>
        <p:spPr bwMode="ltGray">
          <a:xfrm>
            <a:off x="4680000" y="1249200"/>
            <a:ext cx="4050000" cy="4698000"/>
          </a:xfrm>
          <a:prstGeom prst="rect">
            <a:avLst/>
          </a:prstGeom>
          <a:solidFill>
            <a:schemeClr val="tx2"/>
          </a:solidFill>
        </p:spPr>
        <p:txBody>
          <a:bodyPr tIns="540000" anchor="ctr" anchorCtr="0"/>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atin typeface="+mn-lt"/>
                <a:sym typeface="Delivery" panose="020F0503020204020204" pitchFamily="34" charset="0"/>
              </a:defRPr>
            </a:lvl1pPr>
          </a:lstStyle>
          <a:p>
            <a:r>
              <a:rPr lang="de-DE" smtClean="0"/>
              <a:t>Bild durch Klicken auf Symbol hinzufügen</a:t>
            </a:r>
            <a:endParaRPr lang="en-US" dirty="0"/>
          </a:p>
        </p:txBody>
      </p:sp>
      <p:sp>
        <p:nvSpPr>
          <p:cNvPr id="33" name="Rechteck 11"/>
          <p:cNvSpPr/>
          <p:nvPr/>
        </p:nvSpPr>
        <p:spPr bwMode="hidden">
          <a:xfrm>
            <a:off x="179388" y="5952326"/>
            <a:ext cx="8784000" cy="720000"/>
          </a:xfrm>
          <a:prstGeom prst="rect">
            <a:avLst/>
          </a:prstGeom>
          <a:gradFill flip="none" rotWithShape="1">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sym typeface="Delivery" panose="020F0503020204020204" pitchFamily="34" charset="0"/>
            </a:endParaRPr>
          </a:p>
        </p:txBody>
      </p:sp>
      <p:sp>
        <p:nvSpPr>
          <p:cNvPr id="7" name="Rechteck 8"/>
          <p:cNvSpPr/>
          <p:nvPr/>
        </p:nvSpPr>
        <p:spPr bwMode="gray">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
        <p:nvSpPr>
          <p:cNvPr id="31" name="Footer Placeholder 2"/>
          <p:cNvSpPr>
            <a:spLocks noGrp="1"/>
          </p:cNvSpPr>
          <p:nvPr>
            <p:ph type="ftr" sz="quarter" idx="31"/>
          </p:nvPr>
        </p:nvSpPr>
        <p:spPr bwMode="gray">
          <a:xfrm>
            <a:off x="2142000"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sp>
        <p:nvSpPr>
          <p:cNvPr id="14" name="Textplatzhalter 15"/>
          <p:cNvSpPr>
            <a:spLocks noGrp="1"/>
          </p:cNvSpPr>
          <p:nvPr>
            <p:ph type="body" sz="quarter" idx="32"/>
          </p:nvPr>
        </p:nvSpPr>
        <p:spPr>
          <a:xfrm>
            <a:off x="414338" y="1249199"/>
            <a:ext cx="4050000" cy="4755600"/>
          </a:xfrm>
          <a:prstGeom prst="rect">
            <a:avLst/>
          </a:prstGeo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cxnSp>
        <p:nvCxnSpPr>
          <p:cNvPr id="15" name="Straight Connector 10"/>
          <p:cNvCxnSpPr/>
          <p:nvPr/>
        </p:nvCxnSpPr>
        <p:spPr bwMode="gray">
          <a:xfrm>
            <a:off x="414000" y="1015200"/>
            <a:ext cx="8316000"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15"/>
          <p:cNvSpPr>
            <a:spLocks noGrp="1"/>
          </p:cNvSpPr>
          <p:nvPr>
            <p:ph type="title"/>
          </p:nvPr>
        </p:nvSpPr>
        <p:spPr/>
        <p:txBody>
          <a:bodyPr/>
          <a:lstStyle>
            <a:lvl1pPr>
              <a:defRPr>
                <a:latin typeface="+mj-lt"/>
                <a:sym typeface="Delivery" panose="020F0503020204020204" pitchFamily="34" charset="0"/>
              </a:defRPr>
            </a:lvl1pPr>
          </a:lstStyle>
          <a:p>
            <a:r>
              <a:rPr lang="de-DE" smtClean="0"/>
              <a:t>Titelmasterformat durch Klicken bearbeiten</a:t>
            </a:r>
            <a:endParaRPr lang="en-US" dirty="0"/>
          </a:p>
        </p:txBody>
      </p:sp>
      <p:pic>
        <p:nvPicPr>
          <p:cNvPr id="13" name="Grafik 12">
            <a:extLst>
              <a:ext uri="{FF2B5EF4-FFF2-40B4-BE49-F238E27FC236}">
                <a16:creationId xmlns:a16="http://schemas.microsoft.com/office/drawing/2014/main" xmlns:v="urn:schemas-microsoft-com:vml" xmlns:mc="http://schemas.openxmlformats.org/markup-compatibility/2006" xmlns:p14="http://schemas.microsoft.com/office/powerpoint/2010/main" xmlns="" id="{98E10640-1CF5-4174-9018-A80ECFBBB6D5}"/>
              </a:ext>
            </a:extLst>
          </p:cNvPr>
          <p:cNvPicPr>
            <a:picLocks noChangeAspect="1"/>
          </p:cNvPicPr>
          <p:nvPr/>
        </p:nvPicPr>
        <p:blipFill>
          <a:blip r:embed="rId7"/>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33340041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1 column, 3 picture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854973DC-AB57-4282-AC51-68533E08DBAD}"/>
              </a:ext>
            </a:extLst>
          </p:cNvPr>
          <p:cNvGraphicFramePr>
            <a:graphicFrameLocks noChangeAspect="1"/>
          </p:cNvGraphicFramePr>
          <p:nvPr>
            <p:custDataLst>
              <p:tags r:id="rId2"/>
            </p:custDataLst>
            <p:extLst>
              <p:ext uri="{D42A27DB-BD31-4B8C-83A1-F6EECF244321}">
                <p14:modId xmlns:p14="http://schemas.microsoft.com/office/powerpoint/2010/main" val="321487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4445"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D6B82981-075E-4E55-AD2D-10B7D47DA323}"/>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33" name="Rechteck 11"/>
          <p:cNvSpPr/>
          <p:nvPr/>
        </p:nvSpPr>
        <p:spPr bwMode="hidden">
          <a:xfrm>
            <a:off x="179388" y="5952326"/>
            <a:ext cx="8784000" cy="720000"/>
          </a:xfrm>
          <a:prstGeom prst="rect">
            <a:avLst/>
          </a:prstGeom>
          <a:gradFill flip="none" rotWithShape="1">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sym typeface="Delivery" panose="020F0503020204020204" pitchFamily="34" charset="0"/>
            </a:endParaRPr>
          </a:p>
        </p:txBody>
      </p:sp>
      <p:sp>
        <p:nvSpPr>
          <p:cNvPr id="12" name="Picture Placeholder 11"/>
          <p:cNvSpPr>
            <a:spLocks noGrp="1"/>
          </p:cNvSpPr>
          <p:nvPr>
            <p:ph type="pic" sz="quarter" idx="11"/>
          </p:nvPr>
        </p:nvSpPr>
        <p:spPr bwMode="ltGray">
          <a:xfrm>
            <a:off x="4678363" y="1249200"/>
            <a:ext cx="4050000" cy="3348000"/>
          </a:xfrm>
          <a:prstGeom prst="rect">
            <a:avLst/>
          </a:prstGeom>
          <a:solidFill>
            <a:schemeClr val="tx2"/>
          </a:solidFill>
        </p:spPr>
        <p:txBody>
          <a:bodyPr tIns="540000" anchor="ctr" anchorCtr="0"/>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atin typeface="+mn-lt"/>
                <a:sym typeface="Delivery" panose="020F0503020204020204" pitchFamily="34" charset="0"/>
              </a:defRPr>
            </a:lvl1pPr>
          </a:lstStyle>
          <a:p>
            <a:r>
              <a:rPr lang="de-DE" smtClean="0"/>
              <a:t>Bild durch Klicken auf Symbol hinzufügen</a:t>
            </a:r>
            <a:endParaRPr lang="en-US" dirty="0"/>
          </a:p>
        </p:txBody>
      </p:sp>
      <p:sp>
        <p:nvSpPr>
          <p:cNvPr id="7" name="Rechteck 8"/>
          <p:cNvSpPr/>
          <p:nvPr/>
        </p:nvSpPr>
        <p:spPr bwMode="gray">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
        <p:nvSpPr>
          <p:cNvPr id="31" name="Footer Placeholder 2"/>
          <p:cNvSpPr>
            <a:spLocks noGrp="1"/>
          </p:cNvSpPr>
          <p:nvPr>
            <p:ph type="ftr" sz="quarter" idx="31"/>
          </p:nvPr>
        </p:nvSpPr>
        <p:spPr bwMode="gray">
          <a:xfrm>
            <a:off x="2142000"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sp>
        <p:nvSpPr>
          <p:cNvPr id="11" name="Picture Placeholder 2"/>
          <p:cNvSpPr>
            <a:spLocks noGrp="1"/>
          </p:cNvSpPr>
          <p:nvPr>
            <p:ph type="pic" sz="quarter" idx="23"/>
          </p:nvPr>
        </p:nvSpPr>
        <p:spPr bwMode="ltGray">
          <a:xfrm>
            <a:off x="4678363" y="4723200"/>
            <a:ext cx="1962000" cy="1224000"/>
          </a:xfrm>
          <a:prstGeom prst="rect">
            <a:avLst/>
          </a:prstGeom>
          <a:solidFill>
            <a:schemeClr val="tx2"/>
          </a:solidFill>
        </p:spPr>
        <p:txBody>
          <a:bodyPr tIns="540000" anchor="ctr" anchorCtr="0"/>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atin typeface="+mn-lt"/>
                <a:sym typeface="Delivery" panose="020F0503020204020204" pitchFamily="34" charset="0"/>
              </a:defRPr>
            </a:lvl1pPr>
          </a:lstStyle>
          <a:p>
            <a:r>
              <a:rPr lang="de-DE" smtClean="0"/>
              <a:t>Bild durch Klicken auf Symbol hinzufügen</a:t>
            </a:r>
            <a:endParaRPr lang="en-US" dirty="0"/>
          </a:p>
        </p:txBody>
      </p:sp>
      <p:sp>
        <p:nvSpPr>
          <p:cNvPr id="13" name="Picture Placeholder 2"/>
          <p:cNvSpPr>
            <a:spLocks noGrp="1"/>
          </p:cNvSpPr>
          <p:nvPr>
            <p:ph type="pic" sz="quarter" idx="25"/>
          </p:nvPr>
        </p:nvSpPr>
        <p:spPr bwMode="ltGray">
          <a:xfrm>
            <a:off x="6768000" y="4723200"/>
            <a:ext cx="1962000" cy="1224000"/>
          </a:xfrm>
          <a:prstGeom prst="rect">
            <a:avLst/>
          </a:prstGeom>
          <a:solidFill>
            <a:schemeClr val="tx2"/>
          </a:solidFill>
        </p:spPr>
        <p:txBody>
          <a:bodyPr tIns="540000" anchor="ctr" anchorCtr="0"/>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atin typeface="+mn-lt"/>
                <a:sym typeface="Delivery" panose="020F0503020204020204" pitchFamily="34" charset="0"/>
              </a:defRPr>
            </a:lvl1pPr>
          </a:lstStyle>
          <a:p>
            <a:r>
              <a:rPr lang="de-DE" smtClean="0"/>
              <a:t>Bild durch Klicken auf Symbol hinzufügen</a:t>
            </a:r>
            <a:endParaRPr lang="en-US" dirty="0"/>
          </a:p>
        </p:txBody>
      </p:sp>
      <p:sp>
        <p:nvSpPr>
          <p:cNvPr id="15" name="Textplatzhalter 15"/>
          <p:cNvSpPr>
            <a:spLocks noGrp="1"/>
          </p:cNvSpPr>
          <p:nvPr>
            <p:ph type="body" sz="quarter" idx="32"/>
          </p:nvPr>
        </p:nvSpPr>
        <p:spPr>
          <a:xfrm>
            <a:off x="414338" y="1249199"/>
            <a:ext cx="4050000" cy="4755600"/>
          </a:xfrm>
          <a:prstGeom prst="rect">
            <a:avLst/>
          </a:prstGeo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cxnSp>
        <p:nvCxnSpPr>
          <p:cNvPr id="20" name="Straight Connector 10"/>
          <p:cNvCxnSpPr/>
          <p:nvPr/>
        </p:nvCxnSpPr>
        <p:spPr bwMode="gray">
          <a:xfrm>
            <a:off x="414000" y="1015200"/>
            <a:ext cx="8316000"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le 13"/>
          <p:cNvSpPr>
            <a:spLocks noGrp="1"/>
          </p:cNvSpPr>
          <p:nvPr>
            <p:ph type="title"/>
          </p:nvPr>
        </p:nvSpPr>
        <p:spPr/>
        <p:txBody>
          <a:bodyPr/>
          <a:lstStyle>
            <a:lvl1pPr>
              <a:defRPr>
                <a:latin typeface="+mj-lt"/>
                <a:sym typeface="Delivery" panose="020F0503020204020204" pitchFamily="34" charset="0"/>
              </a:defRPr>
            </a:lvl1pPr>
          </a:lstStyle>
          <a:p>
            <a:r>
              <a:rPr lang="de-DE" smtClean="0"/>
              <a:t>Titelmasterformat durch Klicken bearbeiten</a:t>
            </a:r>
            <a:endParaRPr lang="en-US" dirty="0"/>
          </a:p>
        </p:txBody>
      </p:sp>
      <p:pic>
        <p:nvPicPr>
          <p:cNvPr id="17" name="Grafik 16">
            <a:extLst>
              <a:ext uri="{FF2B5EF4-FFF2-40B4-BE49-F238E27FC236}">
                <a16:creationId xmlns:a16="http://schemas.microsoft.com/office/drawing/2014/main" xmlns:v="urn:schemas-microsoft-com:vml" xmlns:mc="http://schemas.openxmlformats.org/markup-compatibility/2006" xmlns:p14="http://schemas.microsoft.com/office/powerpoint/2010/main" xmlns="" id="{0B83E68D-6EAC-483F-918F-06D02E2C15B2}"/>
              </a:ext>
            </a:extLst>
          </p:cNvPr>
          <p:cNvPicPr>
            <a:picLocks noChangeAspect="1"/>
          </p:cNvPicPr>
          <p:nvPr/>
        </p:nvPicPr>
        <p:blipFill>
          <a:blip r:embed="rId7"/>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33340041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ntent: empty white backgroun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p14="http://schemas.microsoft.com/office/powerpoint/2010/main" xmlns:v="urn:schemas-microsoft-com:vml" xmlns:mc="http://schemas.openxmlformats.org/markup-compatibility/2006" xmlns="" id="{0A0A2A26-BC8D-4642-82D5-CB7489ABE251}"/>
              </a:ext>
            </a:extLst>
          </p:cNvPr>
          <p:cNvGraphicFramePr>
            <a:graphicFrameLocks noChangeAspect="1"/>
          </p:cNvGraphicFramePr>
          <p:nvPr>
            <p:custDataLst>
              <p:tags r:id="rId2"/>
            </p:custDataLst>
            <p:extLst/>
          </p:nvPr>
        </p:nvGraphicFramePr>
        <p:xfrm>
          <a:off x="1588" y="2118"/>
          <a:ext cx="1588" cy="2117"/>
        </p:xfrm>
        <a:graphic>
          <a:graphicData uri="http://schemas.openxmlformats.org/presentationml/2006/ole">
            <mc:AlternateContent xmlns:mc="http://schemas.openxmlformats.org/markup-compatibility/2006">
              <mc:Choice xmlns:v="urn:schemas-microsoft-com:vml" Requires="v">
                <p:oleObj spid="_x0000_s507994" name="think-cell Folie" r:id="rId4" imgW="353" imgH="353" progId="TCLayout.ActiveDocument.1">
                  <p:embed/>
                </p:oleObj>
              </mc:Choice>
              <mc:Fallback>
                <p:oleObj name="think-cell Folie" r:id="rId4" imgW="353" imgH="353" progId="TCLayout.ActiveDocument.1">
                  <p:embed/>
                  <p:pic>
                    <p:nvPicPr>
                      <p:cNvPr id="5" name="Objekt 4" hidden="1">
                        <a:extLst>
                          <a:ext uri="{FF2B5EF4-FFF2-40B4-BE49-F238E27FC236}">
                            <a16:creationId xmlns:a16="http://schemas.microsoft.com/office/drawing/2014/main" xmlns:p14="http://schemas.microsoft.com/office/powerpoint/2010/main" xmlns:v="urn:schemas-microsoft-com:vml" xmlns="" id="{0A0A2A26-BC8D-4642-82D5-CB7489ABE251}"/>
                          </a:ext>
                        </a:extLst>
                      </p:cNvPr>
                      <p:cNvPicPr/>
                      <p:nvPr/>
                    </p:nvPicPr>
                    <p:blipFill>
                      <a:blip r:embed="rId5"/>
                      <a:stretch>
                        <a:fillRect/>
                      </a:stretch>
                    </p:blipFill>
                    <p:spPr>
                      <a:xfrm>
                        <a:off x="1588" y="2118"/>
                        <a:ext cx="1588" cy="2117"/>
                      </a:xfrm>
                      <a:prstGeom prst="rect">
                        <a:avLst/>
                      </a:prstGeom>
                    </p:spPr>
                  </p:pic>
                </p:oleObj>
              </mc:Fallback>
            </mc:AlternateContent>
          </a:graphicData>
        </a:graphic>
      </p:graphicFrame>
      <p:sp>
        <p:nvSpPr>
          <p:cNvPr id="4" name="Titel 14">
            <a:extLst>
              <a:ext uri="{FF2B5EF4-FFF2-40B4-BE49-F238E27FC236}">
                <a16:creationId xmlns:a16="http://schemas.microsoft.com/office/drawing/2014/main" xmlns:p14="http://schemas.microsoft.com/office/powerpoint/2010/main" xmlns:v="urn:schemas-microsoft-com:vml" xmlns:mc="http://schemas.openxmlformats.org/markup-compatibility/2006" xmlns="" id="{ADCDDBCD-7689-964E-A0F9-4B6DB6405564}"/>
              </a:ext>
            </a:extLst>
          </p:cNvPr>
          <p:cNvSpPr>
            <a:spLocks noGrp="1"/>
          </p:cNvSpPr>
          <p:nvPr>
            <p:ph type="title"/>
          </p:nvPr>
        </p:nvSpPr>
        <p:spPr>
          <a:xfrm>
            <a:off x="414000" y="201600"/>
            <a:ext cx="8316000" cy="712800"/>
          </a:xfrm>
        </p:spPr>
        <p:txBody>
          <a:bodyPr vert="horz" lIns="0" tIns="0" rIns="0" bIns="0" rtlCol="0" anchor="b">
            <a:noAutofit/>
          </a:bodyPr>
          <a:lstStyle>
            <a:lvl1pPr>
              <a:defRPr lang="en-US" dirty="0">
                <a:latin typeface="+mj-lt"/>
              </a:defRPr>
            </a:lvl1pPr>
          </a:lstStyle>
          <a:p>
            <a:pPr lvl="0"/>
            <a:r>
              <a:rPr lang="de-DE" smtClean="0"/>
              <a:t>Titelmasterformat durch Klicken bearbeiten</a:t>
            </a:r>
            <a:endParaRPr lang="en-US" dirty="0"/>
          </a:p>
        </p:txBody>
      </p:sp>
      <p:sp>
        <p:nvSpPr>
          <p:cNvPr id="6" name="Bildplatzhalter 11">
            <a:extLst>
              <a:ext uri="{FF2B5EF4-FFF2-40B4-BE49-F238E27FC236}">
                <a16:creationId xmlns:a16="http://schemas.microsoft.com/office/drawing/2014/main" xmlns:p14="http://schemas.microsoft.com/office/powerpoint/2010/main" xmlns:v="urn:schemas-microsoft-com:vml" xmlns:mc="http://schemas.openxmlformats.org/markup-compatibility/2006" xmlns="" id="{22124A0A-F575-40C4-BD79-2D1A0E93D6FE}"/>
              </a:ext>
            </a:extLst>
          </p:cNvPr>
          <p:cNvSpPr>
            <a:spLocks noGrp="1"/>
          </p:cNvSpPr>
          <p:nvPr>
            <p:ph type="pic" sz="quarter" idx="13"/>
          </p:nvPr>
        </p:nvSpPr>
        <p:spPr bwMode="ltGray">
          <a:xfrm>
            <a:off x="4681537" y="1253182"/>
            <a:ext cx="4050000" cy="4750793"/>
          </a:xfrm>
          <a:prstGeom prst="rect">
            <a:avLst/>
          </a:prstGeom>
          <a:solidFill>
            <a:schemeClr val="tx2"/>
          </a:solidFill>
        </p:spPr>
        <p:txBody>
          <a:bodyPr lIns="0" tIns="540000" rIns="0" anchor="ctr" anchorCtr="0"/>
          <a:lstStyle>
            <a:lvl1pPr algn="ctr">
              <a:defRPr>
                <a:latin typeface="+mn-lt"/>
                <a:sym typeface="Delivery" panose="020F0503020204020204" pitchFamily="34" charset="0"/>
              </a:defRPr>
            </a:lvl1pPr>
          </a:lstStyle>
          <a:p>
            <a:r>
              <a:rPr lang="de-DE" smtClean="0"/>
              <a:t>Bild durch Klicken auf Symbol hinzufügen</a:t>
            </a:r>
            <a:endParaRPr lang="en-US" dirty="0"/>
          </a:p>
        </p:txBody>
      </p:sp>
      <p:sp>
        <p:nvSpPr>
          <p:cNvPr id="8" name="Bildplatzhalter 11">
            <a:extLst>
              <a:ext uri="{FF2B5EF4-FFF2-40B4-BE49-F238E27FC236}">
                <a16:creationId xmlns:a16="http://schemas.microsoft.com/office/drawing/2014/main" xmlns:p14="http://schemas.microsoft.com/office/powerpoint/2010/main" xmlns:v="urn:schemas-microsoft-com:vml" xmlns:mc="http://schemas.openxmlformats.org/markup-compatibility/2006" xmlns="" id="{6D7758A1-F895-4BFD-ACEB-EE8374FBC4A6}"/>
              </a:ext>
            </a:extLst>
          </p:cNvPr>
          <p:cNvSpPr>
            <a:spLocks noGrp="1"/>
          </p:cNvSpPr>
          <p:nvPr>
            <p:ph type="pic" sz="quarter" idx="22"/>
          </p:nvPr>
        </p:nvSpPr>
        <p:spPr bwMode="ltGray">
          <a:xfrm>
            <a:off x="414338" y="1253182"/>
            <a:ext cx="4050000" cy="4750793"/>
          </a:xfrm>
          <a:prstGeom prst="rect">
            <a:avLst/>
          </a:prstGeom>
          <a:solidFill>
            <a:schemeClr val="tx2"/>
          </a:solidFill>
        </p:spPr>
        <p:txBody>
          <a:bodyPr lIns="0" tIns="540000" rIns="0" anchor="ctr" anchorCtr="0"/>
          <a:lstStyle>
            <a:lvl1pPr algn="ctr">
              <a:defRPr>
                <a:latin typeface="+mn-lt"/>
                <a:sym typeface="Delivery" panose="020F0503020204020204" pitchFamily="34" charset="0"/>
              </a:defRPr>
            </a:lvl1pPr>
          </a:lstStyle>
          <a:p>
            <a:r>
              <a:rPr lang="de-DE" smtClean="0"/>
              <a:t>Bild durch Klicken auf Symbol hinzufügen</a:t>
            </a:r>
            <a:endParaRPr lang="en-US" dirty="0"/>
          </a:p>
        </p:txBody>
      </p:sp>
      <p:sp>
        <p:nvSpPr>
          <p:cNvPr id="49" name="meta-classification">
            <a:extLst>
              <a:ext uri="{FF2B5EF4-FFF2-40B4-BE49-F238E27FC236}">
                <a16:creationId xmlns:a16="http://schemas.microsoft.com/office/drawing/2014/main" xmlns:p14="http://schemas.microsoft.com/office/powerpoint/2010/main" xmlns:v="urn:schemas-microsoft-com:vml" xmlns:mc="http://schemas.openxmlformats.org/markup-compatibility/2006" xmlns="" id="{E9D43A0E-962B-4CF4-B07E-A4F431A12E40}"/>
              </a:ext>
            </a:extLst>
          </p:cNvPr>
          <p:cNvSpPr txBox="1"/>
          <p:nvPr/>
        </p:nvSpPr>
        <p:spPr bwMode="gray">
          <a:xfrm>
            <a:off x="414000" y="-1"/>
            <a:ext cx="2040623" cy="222108"/>
          </a:xfrm>
          <a:prstGeom prst="rect">
            <a:avLst/>
          </a:prstGeom>
          <a:noFill/>
        </p:spPr>
        <p:txBody>
          <a:bodyPr wrap="none" lIns="0" tIns="82800" rIns="0" bIns="0" rtlCol="0" anchor="t" anchorCtr="0">
            <a:spAutoFit/>
          </a:bodyPr>
          <a:lstStyle/>
          <a:p>
            <a:r>
              <a:rPr lang="en-US" sz="900" b="1" kern="0" cap="all" baseline="0" dirty="0">
                <a:solidFill>
                  <a:schemeClr val="accent1"/>
                </a:solidFill>
                <a:latin typeface="+mn-lt"/>
                <a:cs typeface="Arial"/>
                <a:sym typeface="Delivery" panose="020F0503020204020204" pitchFamily="34" charset="0"/>
              </a:rPr>
              <a:t>PLEASE INSERT CLASSIFICATION HERE</a:t>
            </a:r>
          </a:p>
        </p:txBody>
      </p:sp>
      <p:sp>
        <p:nvSpPr>
          <p:cNvPr id="11" name="Rechteck 8">
            <a:extLst>
              <a:ext uri="{FF2B5EF4-FFF2-40B4-BE49-F238E27FC236}">
                <a16:creationId xmlns:a16="http://schemas.microsoft.com/office/drawing/2014/main" xmlns:p14="http://schemas.microsoft.com/office/powerpoint/2010/main" xmlns:v="urn:schemas-microsoft-com:vml" xmlns:mc="http://schemas.openxmlformats.org/markup-compatibility/2006" xmlns="" id="{0071A500-EFF1-4C88-B290-CA1B8AC06F98}"/>
              </a:ext>
            </a:extLst>
          </p:cNvPr>
          <p:cNvSpPr/>
          <p:nvPr/>
        </p:nvSpPr>
        <p:spPr bwMode="gray">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Tree>
    <p:extLst>
      <p:ext uri="{BB962C8B-B14F-4D97-AF65-F5344CB8AC3E}">
        <p14:creationId xmlns:p14="http://schemas.microsoft.com/office/powerpoint/2010/main" val="13760252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light image full scree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p14="http://schemas.microsoft.com/office/powerpoint/2010/main" xmlns:v="urn:schemas-microsoft-com:vml" xmlns:mc="http://schemas.openxmlformats.org/markup-compatibility/2006" xmlns="" id="{E9AB9521-04C2-4F9B-99FD-3E4EA5BB73B6}"/>
              </a:ext>
            </a:extLst>
          </p:cNvPr>
          <p:cNvGraphicFramePr>
            <a:graphicFrameLocks noChangeAspect="1"/>
          </p:cNvGraphicFramePr>
          <p:nvPr>
            <p:custDataLst>
              <p:tags r:id="rId2"/>
            </p:custDataLst>
            <p:extLst/>
          </p:nvPr>
        </p:nvGraphicFramePr>
        <p:xfrm>
          <a:off x="1588" y="2118"/>
          <a:ext cx="1588" cy="2117"/>
        </p:xfrm>
        <a:graphic>
          <a:graphicData uri="http://schemas.openxmlformats.org/presentationml/2006/ole">
            <mc:AlternateContent xmlns:mc="http://schemas.openxmlformats.org/markup-compatibility/2006">
              <mc:Choice xmlns:v="urn:schemas-microsoft-com:vml" Requires="v">
                <p:oleObj spid="_x0000_s509019"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xmlns:p14="http://schemas.microsoft.com/office/powerpoint/2010/main" xmlns:v="urn:schemas-microsoft-com:vml" xmlns="" id="{E9AB9521-04C2-4F9B-99FD-3E4EA5BB73B6}"/>
                          </a:ext>
                        </a:extLst>
                      </p:cNvPr>
                      <p:cNvPicPr/>
                      <p:nvPr/>
                    </p:nvPicPr>
                    <p:blipFill>
                      <a:blip r:embed="rId5"/>
                      <a:stretch>
                        <a:fillRect/>
                      </a:stretch>
                    </p:blipFill>
                    <p:spPr>
                      <a:xfrm>
                        <a:off x="1588" y="2118"/>
                        <a:ext cx="1588" cy="2117"/>
                      </a:xfrm>
                      <a:prstGeom prst="rect">
                        <a:avLst/>
                      </a:prstGeom>
                    </p:spPr>
                  </p:pic>
                </p:oleObj>
              </mc:Fallback>
            </mc:AlternateContent>
          </a:graphicData>
        </a:graphic>
      </p:graphicFrame>
      <p:sp>
        <p:nvSpPr>
          <p:cNvPr id="6" name="Bildplatzhalter 5"/>
          <p:cNvSpPr>
            <a:spLocks noGrp="1"/>
          </p:cNvSpPr>
          <p:nvPr>
            <p:ph type="pic" sz="quarter" idx="10" hasCustomPrompt="1"/>
          </p:nvPr>
        </p:nvSpPr>
        <p:spPr>
          <a:xfrm>
            <a:off x="0" y="0"/>
            <a:ext cx="9144000" cy="6858000"/>
          </a:xfrm>
          <a:solidFill>
            <a:schemeClr val="bg1">
              <a:lumMod val="85000"/>
            </a:schemeClr>
          </a:solidFill>
        </p:spPr>
        <p:txBody>
          <a:bodyPr tIns="540000" anchor="ctr"/>
          <a:lstStyle>
            <a:lvl1pPr algn="ctr">
              <a:defRPr>
                <a:latin typeface="+mn-lt"/>
                <a:sym typeface="Delivery" panose="020F0503020204020204" pitchFamily="34" charset="0"/>
              </a:defRPr>
            </a:lvl1pPr>
          </a:lstStyle>
          <a:p>
            <a:r>
              <a:rPr lang="en-US" dirty="0"/>
              <a:t>Click icon to add light color picture</a:t>
            </a:r>
          </a:p>
        </p:txBody>
      </p:sp>
      <p:sp>
        <p:nvSpPr>
          <p:cNvPr id="4" name="Titel 14">
            <a:extLst>
              <a:ext uri="{FF2B5EF4-FFF2-40B4-BE49-F238E27FC236}">
                <a16:creationId xmlns:a16="http://schemas.microsoft.com/office/drawing/2014/main" xmlns:p14="http://schemas.microsoft.com/office/powerpoint/2010/main" xmlns:v="urn:schemas-microsoft-com:vml" xmlns:mc="http://schemas.openxmlformats.org/markup-compatibility/2006" xmlns="" id="{ADCDDBCD-7689-964E-A0F9-4B6DB6405564}"/>
              </a:ext>
            </a:extLst>
          </p:cNvPr>
          <p:cNvSpPr>
            <a:spLocks noGrp="1"/>
          </p:cNvSpPr>
          <p:nvPr>
            <p:ph type="title"/>
          </p:nvPr>
        </p:nvSpPr>
        <p:spPr>
          <a:xfrm>
            <a:off x="414000" y="201600"/>
            <a:ext cx="8316000" cy="712800"/>
          </a:xfrm>
        </p:spPr>
        <p:txBody>
          <a:bodyPr vert="horz" lIns="0" tIns="0" rIns="0" bIns="0" rtlCol="0" anchor="b">
            <a:noAutofit/>
          </a:bodyPr>
          <a:lstStyle>
            <a:lvl1pPr>
              <a:defRPr lang="en-US" dirty="0">
                <a:latin typeface="+mj-lt"/>
              </a:defRPr>
            </a:lvl1pPr>
          </a:lstStyle>
          <a:p>
            <a:pPr lvl="0"/>
            <a:r>
              <a:rPr lang="de-DE" smtClean="0"/>
              <a:t>Titelmasterformat durch Klicken bearbeiten</a:t>
            </a:r>
            <a:endParaRPr lang="en-US" dirty="0"/>
          </a:p>
        </p:txBody>
      </p:sp>
      <p:sp>
        <p:nvSpPr>
          <p:cNvPr id="7" name="Textplatzhalter 24">
            <a:extLst>
              <a:ext uri="{FF2B5EF4-FFF2-40B4-BE49-F238E27FC236}">
                <a16:creationId xmlns:a16="http://schemas.microsoft.com/office/drawing/2014/main" xmlns:p14="http://schemas.microsoft.com/office/powerpoint/2010/main" xmlns:v="urn:schemas-microsoft-com:vml" xmlns:mc="http://schemas.openxmlformats.org/markup-compatibility/2006" xmlns="" id="{1FD06E01-4A83-498D-AC1C-84939DF77C5C}"/>
              </a:ext>
            </a:extLst>
          </p:cNvPr>
          <p:cNvSpPr>
            <a:spLocks noGrp="1"/>
          </p:cNvSpPr>
          <p:nvPr>
            <p:ph type="body" sz="quarter" idx="11"/>
          </p:nvPr>
        </p:nvSpPr>
        <p:spPr>
          <a:xfrm>
            <a:off x="414337" y="1253182"/>
            <a:ext cx="4050000" cy="4752000"/>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buClrTx/>
              <a:defRPr>
                <a:latin typeface="+mn-lt"/>
                <a:sym typeface="Delivery" panose="020F0503020204020204" pitchFamily="34" charset="0"/>
              </a:defRPr>
            </a:lvl3pPr>
            <a:lvl4pPr>
              <a:buClrTx/>
              <a:defRPr>
                <a:latin typeface="+mn-lt"/>
                <a:sym typeface="Delivery" panose="020F0503020204020204" pitchFamily="34" charset="0"/>
              </a:defRPr>
            </a:lvl4pPr>
            <a:lvl5pPr>
              <a:defRPr>
                <a:latin typeface="+mn-lt"/>
                <a:sym typeface="Delivery" panose="020F0503020204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0" name="meta-classification">
            <a:extLst>
              <a:ext uri="{FF2B5EF4-FFF2-40B4-BE49-F238E27FC236}">
                <a16:creationId xmlns:a16="http://schemas.microsoft.com/office/drawing/2014/main" xmlns:p14="http://schemas.microsoft.com/office/powerpoint/2010/main" xmlns:v="urn:schemas-microsoft-com:vml" xmlns:mc="http://schemas.openxmlformats.org/markup-compatibility/2006" xmlns="" id="{72F85091-6B2F-4A21-A8EA-9FD840B96BC7}"/>
              </a:ext>
            </a:extLst>
          </p:cNvPr>
          <p:cNvSpPr>
            <a:spLocks noGrp="1"/>
          </p:cNvSpPr>
          <p:nvPr>
            <p:ph type="body" sz="quarter" idx="2" hasCustomPrompt="1"/>
          </p:nvPr>
        </p:nvSpPr>
        <p:spPr bwMode="gray">
          <a:xfrm>
            <a:off x="414001" y="0"/>
            <a:ext cx="2040623" cy="235958"/>
          </a:xfrm>
          <a:prstGeom prst="rect">
            <a:avLst/>
          </a:prstGeom>
          <a:noFill/>
        </p:spPr>
        <p:txBody>
          <a:bodyPr wrap="none" lIns="0" tIns="82800" rIns="0" bIns="0" rtlCol="0" anchor="t" anchorCtr="0">
            <a:spAutoFit/>
          </a:bodyPr>
          <a:lstStyle>
            <a:lvl1pPr>
              <a:defRPr lang="en-US" sz="900" b="1" kern="0" cap="all" dirty="0">
                <a:solidFill>
                  <a:schemeClr val="accent1"/>
                </a:solidFill>
                <a:latin typeface="+mn-lt"/>
                <a:cs typeface="Arial"/>
                <a:sym typeface="Delivery" panose="020F0503020204020204" pitchFamily="34" charset="0"/>
              </a:defRPr>
            </a:lvl1pPr>
          </a:lstStyle>
          <a:p>
            <a:pPr lvl="0"/>
            <a:r>
              <a:rPr lang="en-US" dirty="0"/>
              <a:t>PLEASE INSERT CLASSIFICATION HERE</a:t>
            </a:r>
          </a:p>
        </p:txBody>
      </p:sp>
      <p:sp>
        <p:nvSpPr>
          <p:cNvPr id="67" name="Foliennummernplatzhalter 23">
            <a:extLst>
              <a:ext uri="{FF2B5EF4-FFF2-40B4-BE49-F238E27FC236}">
                <a16:creationId xmlns:a16="http://schemas.microsoft.com/office/drawing/2014/main" xmlns:p14="http://schemas.microsoft.com/office/powerpoint/2010/main" xmlns:v="urn:schemas-microsoft-com:vml" xmlns:mc="http://schemas.openxmlformats.org/markup-compatibility/2006" xmlns="" id="{E0329999-C983-4576-9174-83B1C5103C48}"/>
              </a:ext>
            </a:extLst>
          </p:cNvPr>
          <p:cNvSpPr>
            <a:spLocks noGrp="1"/>
          </p:cNvSpPr>
          <p:nvPr>
            <p:ph type="sldNum" sz="quarter" idx="4"/>
          </p:nvPr>
        </p:nvSpPr>
        <p:spPr bwMode="gray">
          <a:xfrm>
            <a:off x="8369985"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lvl1pPr marL="0" marR="0" indent="0" algn="r" defTabSz="995363" rtl="0" eaLnBrk="0" fontAlgn="base" latinLnBrk="0" hangingPunct="0">
              <a:lnSpc>
                <a:spcPct val="100000"/>
              </a:lnSpc>
              <a:spcBef>
                <a:spcPct val="0"/>
              </a:spcBef>
              <a:spcAft>
                <a:spcPct val="0"/>
              </a:spcAft>
              <a:buClrTx/>
              <a:buSzTx/>
              <a:buFontTx/>
              <a:buNone/>
              <a:tabLst/>
              <a:defRPr kumimoji="0" lang="en-US" sz="1000" b="0" i="0" u="none" strike="noStrike" kern="1200" cap="none" normalizeH="0" baseline="0" smtClean="0">
                <a:ln>
                  <a:noFill/>
                </a:ln>
                <a:solidFill>
                  <a:schemeClr val="tx1"/>
                </a:solidFill>
                <a:effectLst/>
                <a:latin typeface="+mn-lt"/>
                <a:ea typeface="+mn-ea"/>
                <a:cs typeface="+mn-cs"/>
                <a:sym typeface="Delivery" panose="020F0503020204020204" pitchFamily="34" charset="0"/>
              </a:defRPr>
            </a:lvl1pPr>
          </a:lstStyle>
          <a:p>
            <a:fld id="{31BFEC3E-84CF-48ED-9C8C-36C748C4BEDF}" type="slidenum">
              <a:rPr lang="de-DE" smtClean="0"/>
              <a:pPr/>
              <a:t>‹Nr.›</a:t>
            </a:fld>
            <a:endParaRPr lang="de-DE" dirty="0"/>
          </a:p>
        </p:txBody>
      </p:sp>
    </p:spTree>
    <p:extLst>
      <p:ext uri="{BB962C8B-B14F-4D97-AF65-F5344CB8AC3E}">
        <p14:creationId xmlns:p14="http://schemas.microsoft.com/office/powerpoint/2010/main" val="39853473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ontent: dark image full scree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B32F9D72-D289-4D0E-B978-954A060016FD}"/>
              </a:ext>
            </a:extLst>
          </p:cNvPr>
          <p:cNvGraphicFramePr>
            <a:graphicFrameLocks noChangeAspect="1"/>
          </p:cNvGraphicFramePr>
          <p:nvPr>
            <p:custDataLst>
              <p:tags r:id="rId2"/>
            </p:custDataLst>
            <p:extLst>
              <p:ext uri="{D42A27DB-BD31-4B8C-83A1-F6EECF244321}">
                <p14:modId xmlns:p14="http://schemas.microsoft.com/office/powerpoint/2010/main" val="2310681637"/>
              </p:ext>
            </p:extLst>
          </p:nvPr>
        </p:nvGraphicFramePr>
        <p:xfrm>
          <a:off x="1588" y="2118"/>
          <a:ext cx="1588" cy="2117"/>
        </p:xfrm>
        <a:graphic>
          <a:graphicData uri="http://schemas.openxmlformats.org/presentationml/2006/ole">
            <mc:AlternateContent xmlns:mc="http://schemas.openxmlformats.org/markup-compatibility/2006">
              <mc:Choice xmlns:v="urn:schemas-microsoft-com:vml" Requires="v">
                <p:oleObj spid="_x0000_s510043"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xmlns:v="urn:schemas-microsoft-com:vml" xmlns:p14="http://schemas.microsoft.com/office/powerpoint/2010/main" xmlns="" id="{B32F9D72-D289-4D0E-B978-954A060016FD}"/>
                          </a:ext>
                        </a:extLst>
                      </p:cNvPr>
                      <p:cNvPicPr/>
                      <p:nvPr/>
                    </p:nvPicPr>
                    <p:blipFill>
                      <a:blip r:embed="rId6"/>
                      <a:stretch>
                        <a:fillRect/>
                      </a:stretch>
                    </p:blipFill>
                    <p:spPr>
                      <a:xfrm>
                        <a:off x="1588" y="2118"/>
                        <a:ext cx="1588"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1C7DDB33-F50E-4AC6-8C8D-E0A3E80A38A6}"/>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6" name="Bildplatzhalter 5"/>
          <p:cNvSpPr>
            <a:spLocks noGrp="1"/>
          </p:cNvSpPr>
          <p:nvPr>
            <p:ph type="pic" sz="quarter" idx="10" hasCustomPrompt="1"/>
          </p:nvPr>
        </p:nvSpPr>
        <p:spPr>
          <a:xfrm>
            <a:off x="0" y="0"/>
            <a:ext cx="9144000" cy="6858000"/>
          </a:xfrm>
          <a:solidFill>
            <a:schemeClr val="tx1">
              <a:lumMod val="75000"/>
              <a:lumOff val="25000"/>
            </a:schemeClr>
          </a:solidFill>
        </p:spPr>
        <p:txBody>
          <a:bodyPr tIns="540000" anchor="ctr"/>
          <a:lstStyle>
            <a:lvl1pPr algn="ctr">
              <a:defRPr>
                <a:solidFill>
                  <a:schemeClr val="bg1"/>
                </a:solidFill>
                <a:latin typeface="+mn-lt"/>
                <a:sym typeface="Delivery" panose="020F0503020204020204" pitchFamily="34" charset="0"/>
              </a:defRPr>
            </a:lvl1pPr>
          </a:lstStyle>
          <a:p>
            <a:r>
              <a:rPr lang="en-US" dirty="0"/>
              <a:t>Click icon to add dark color picture</a:t>
            </a:r>
          </a:p>
        </p:txBody>
      </p:sp>
      <p:sp>
        <p:nvSpPr>
          <p:cNvPr id="4" name="Titel 14">
            <a:extLst>
              <a:ext uri="{FF2B5EF4-FFF2-40B4-BE49-F238E27FC236}">
                <a16:creationId xmlns:a16="http://schemas.microsoft.com/office/drawing/2014/main" xmlns:v="urn:schemas-microsoft-com:vml" xmlns:mc="http://schemas.openxmlformats.org/markup-compatibility/2006" xmlns:p14="http://schemas.microsoft.com/office/powerpoint/2010/main" xmlns="" id="{ADCDDBCD-7689-964E-A0F9-4B6DB6405564}"/>
              </a:ext>
            </a:extLst>
          </p:cNvPr>
          <p:cNvSpPr>
            <a:spLocks noGrp="1"/>
          </p:cNvSpPr>
          <p:nvPr>
            <p:ph type="title"/>
          </p:nvPr>
        </p:nvSpPr>
        <p:spPr>
          <a:xfrm>
            <a:off x="414000" y="201600"/>
            <a:ext cx="8316000" cy="712800"/>
          </a:xfrm>
        </p:spPr>
        <p:txBody>
          <a:bodyPr vert="horz" lIns="0" tIns="0" rIns="0" bIns="0" rtlCol="0" anchor="b">
            <a:noAutofit/>
          </a:bodyPr>
          <a:lstStyle>
            <a:lvl1pPr>
              <a:defRPr lang="en-US" dirty="0">
                <a:solidFill>
                  <a:schemeClr val="bg1"/>
                </a:solidFill>
              </a:defRPr>
            </a:lvl1pPr>
          </a:lstStyle>
          <a:p>
            <a:pPr lvl="0"/>
            <a:r>
              <a:rPr lang="de-DE" smtClean="0"/>
              <a:t>Titelmasterformat durch Klicken bearbeiten</a:t>
            </a:r>
            <a:endParaRPr lang="en-US" dirty="0"/>
          </a:p>
        </p:txBody>
      </p:sp>
      <p:sp>
        <p:nvSpPr>
          <p:cNvPr id="7" name="Textplatzhalter 24">
            <a:extLst>
              <a:ext uri="{FF2B5EF4-FFF2-40B4-BE49-F238E27FC236}">
                <a16:creationId xmlns:a16="http://schemas.microsoft.com/office/drawing/2014/main" xmlns:v="urn:schemas-microsoft-com:vml" xmlns:mc="http://schemas.openxmlformats.org/markup-compatibility/2006" xmlns:p14="http://schemas.microsoft.com/office/powerpoint/2010/main" xmlns="" id="{CF17007B-78E2-405D-B3ED-D372B8E3B02C}"/>
              </a:ext>
            </a:extLst>
          </p:cNvPr>
          <p:cNvSpPr>
            <a:spLocks noGrp="1"/>
          </p:cNvSpPr>
          <p:nvPr>
            <p:ph type="body" sz="quarter" idx="11"/>
          </p:nvPr>
        </p:nvSpPr>
        <p:spPr>
          <a:xfrm>
            <a:off x="414337" y="1252800"/>
            <a:ext cx="4050000" cy="4752000"/>
          </a:xfrm>
        </p:spPr>
        <p:txBody>
          <a:bodyPr/>
          <a:lstStyle>
            <a:lvl1pPr>
              <a:buClrTx/>
              <a:defRPr>
                <a:solidFill>
                  <a:schemeClr val="bg1"/>
                </a:solidFill>
                <a:latin typeface="+mn-lt"/>
                <a:sym typeface="Delivery" panose="020F0503020204020204" pitchFamily="34" charset="0"/>
              </a:defRPr>
            </a:lvl1pPr>
            <a:lvl2pPr>
              <a:buClrTx/>
              <a:defRPr>
                <a:solidFill>
                  <a:schemeClr val="bg1"/>
                </a:solidFill>
                <a:latin typeface="+mn-lt"/>
                <a:sym typeface="Delivery" panose="020F0503020204020204" pitchFamily="34" charset="0"/>
              </a:defRPr>
            </a:lvl2pPr>
            <a:lvl3pPr>
              <a:buClrTx/>
              <a:defRPr>
                <a:solidFill>
                  <a:schemeClr val="bg1"/>
                </a:solidFill>
                <a:latin typeface="+mn-lt"/>
                <a:sym typeface="Delivery" panose="020F0503020204020204" pitchFamily="34" charset="0"/>
              </a:defRPr>
            </a:lvl3pPr>
            <a:lvl4pPr>
              <a:buClrTx/>
              <a:defRPr>
                <a:solidFill>
                  <a:schemeClr val="bg1"/>
                </a:solidFill>
                <a:latin typeface="+mn-lt"/>
                <a:sym typeface="Delivery" panose="020F0503020204020204" pitchFamily="34" charset="0"/>
              </a:defRPr>
            </a:lvl4pPr>
            <a:lvl5pPr>
              <a:buClrTx/>
              <a:defRPr>
                <a:solidFill>
                  <a:schemeClr val="bg1"/>
                </a:solidFill>
                <a:latin typeface="+mn-lt"/>
                <a:sym typeface="Delivery" panose="020F0503020204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meta-classification">
            <a:extLst>
              <a:ext uri="{FF2B5EF4-FFF2-40B4-BE49-F238E27FC236}">
                <a16:creationId xmlns:a16="http://schemas.microsoft.com/office/drawing/2014/main" xmlns:v="urn:schemas-microsoft-com:vml" xmlns:mc="http://schemas.openxmlformats.org/markup-compatibility/2006" xmlns:p14="http://schemas.microsoft.com/office/powerpoint/2010/main" xmlns="" id="{72F85091-6B2F-4A21-A8EA-9FD840B96BC7}"/>
              </a:ext>
            </a:extLst>
          </p:cNvPr>
          <p:cNvSpPr>
            <a:spLocks noGrp="1"/>
          </p:cNvSpPr>
          <p:nvPr>
            <p:ph type="body" sz="quarter" idx="2" hasCustomPrompt="1"/>
          </p:nvPr>
        </p:nvSpPr>
        <p:spPr bwMode="gray">
          <a:xfrm>
            <a:off x="414001" y="0"/>
            <a:ext cx="2040623" cy="235958"/>
          </a:xfrm>
          <a:prstGeom prst="rect">
            <a:avLst/>
          </a:prstGeom>
          <a:noFill/>
        </p:spPr>
        <p:txBody>
          <a:bodyPr wrap="none" lIns="0" tIns="82800" rIns="0" bIns="0" rtlCol="0" anchor="t" anchorCtr="0">
            <a:spAutoFit/>
          </a:bodyPr>
          <a:lstStyle>
            <a:lvl1pPr>
              <a:defRPr lang="en-US" sz="900" b="1" kern="0" cap="all" dirty="0">
                <a:solidFill>
                  <a:schemeClr val="accent1"/>
                </a:solidFill>
                <a:latin typeface="+mn-lt"/>
                <a:cs typeface="Arial"/>
                <a:sym typeface="Delivery" panose="020F0503020204020204" pitchFamily="34" charset="0"/>
              </a:defRPr>
            </a:lvl1pPr>
          </a:lstStyle>
          <a:p>
            <a:pPr lvl="0"/>
            <a:r>
              <a:rPr lang="en-US" dirty="0"/>
              <a:t>PLEASE INSERT CLASSIFICATION HERE</a:t>
            </a:r>
          </a:p>
        </p:txBody>
      </p:sp>
      <p:sp>
        <p:nvSpPr>
          <p:cNvPr id="11" name="Foliennummernplatzhalter 23">
            <a:extLst>
              <a:ext uri="{FF2B5EF4-FFF2-40B4-BE49-F238E27FC236}">
                <a16:creationId xmlns:a16="http://schemas.microsoft.com/office/drawing/2014/main" xmlns:v="urn:schemas-microsoft-com:vml" xmlns:mc="http://schemas.openxmlformats.org/markup-compatibility/2006" xmlns:p14="http://schemas.microsoft.com/office/powerpoint/2010/main" xmlns="" id="{E0329999-C983-4576-9174-83B1C5103C48}"/>
              </a:ext>
            </a:extLst>
          </p:cNvPr>
          <p:cNvSpPr>
            <a:spLocks noGrp="1"/>
          </p:cNvSpPr>
          <p:nvPr>
            <p:ph type="sldNum" sz="quarter" idx="4"/>
          </p:nvPr>
        </p:nvSpPr>
        <p:spPr bwMode="gray">
          <a:xfrm>
            <a:off x="8369985"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lvl1pPr marL="0" marR="0" indent="0" algn="r" defTabSz="995363" rtl="0" eaLnBrk="0" fontAlgn="base" latinLnBrk="0" hangingPunct="0">
              <a:lnSpc>
                <a:spcPct val="100000"/>
              </a:lnSpc>
              <a:spcBef>
                <a:spcPct val="0"/>
              </a:spcBef>
              <a:spcAft>
                <a:spcPct val="0"/>
              </a:spcAft>
              <a:buClrTx/>
              <a:buSzTx/>
              <a:buFontTx/>
              <a:buNone/>
              <a:tabLst/>
              <a:defRPr kumimoji="0" lang="en-US" sz="1000" b="0" i="0" u="none" strike="noStrike" kern="1200" cap="none" normalizeH="0" baseline="0" smtClean="0">
                <a:ln>
                  <a:noFill/>
                </a:ln>
                <a:solidFill>
                  <a:schemeClr val="bg1"/>
                </a:solidFill>
                <a:effectLst/>
                <a:latin typeface="+mn-lt"/>
                <a:ea typeface="+mn-ea"/>
                <a:cs typeface="+mn-cs"/>
                <a:sym typeface="Delivery" panose="020F0503020204020204" pitchFamily="34" charset="0"/>
              </a:defRPr>
            </a:lvl1pPr>
          </a:lstStyle>
          <a:p>
            <a:fld id="{31BFEC3E-84CF-48ED-9C8C-36C748C4BEDF}" type="slidenum">
              <a:rPr lang="de-DE" smtClean="0"/>
              <a:pPr/>
              <a:t>‹Nr.›</a:t>
            </a:fld>
            <a:endParaRPr lang="de-DE" dirty="0"/>
          </a:p>
        </p:txBody>
      </p:sp>
    </p:spTree>
    <p:extLst>
      <p:ext uri="{BB962C8B-B14F-4D97-AF65-F5344CB8AC3E}">
        <p14:creationId xmlns:p14="http://schemas.microsoft.com/office/powerpoint/2010/main" val="22083327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Quote: picture, gradient box">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2F4EEB84-E8E1-48AC-AF18-641F6D3A26FC}"/>
              </a:ext>
            </a:extLst>
          </p:cNvPr>
          <p:cNvGraphicFramePr>
            <a:graphicFrameLocks noChangeAspect="1"/>
          </p:cNvGraphicFramePr>
          <p:nvPr>
            <p:custDataLst>
              <p:tags r:id="rId2"/>
            </p:custDataLst>
            <p:extLst>
              <p:ext uri="{D42A27DB-BD31-4B8C-83A1-F6EECF244321}">
                <p14:modId xmlns:p14="http://schemas.microsoft.com/office/powerpoint/2010/main" val="314889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5467" name="think-cell Folie" r:id="rId4" imgW="352" imgH="353" progId="TCLayout.ActiveDocument.1">
                  <p:embed/>
                </p:oleObj>
              </mc:Choice>
              <mc:Fallback>
                <p:oleObj name="think-cell Folie" r:id="rId4" imgW="352"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33"/>
          <p:cNvSpPr>
            <a:spLocks noGrp="1"/>
          </p:cNvSpPr>
          <p:nvPr>
            <p:ph type="pic" sz="quarter" idx="12"/>
          </p:nvPr>
        </p:nvSpPr>
        <p:spPr bwMode="white">
          <a:xfrm>
            <a:off x="0" y="0"/>
            <a:ext cx="9144000" cy="6858000"/>
          </a:xfrm>
          <a:prstGeom prst="rect">
            <a:avLst/>
          </a:prstGeom>
          <a:solidFill>
            <a:schemeClr val="tx2"/>
          </a:solidFill>
        </p:spPr>
        <p:txBody>
          <a:bodyPr tIns="540000" anchor="ctr" anchorCtr="0"/>
          <a:lstStyle>
            <a:lvl1pPr algn="ctr">
              <a:defRPr>
                <a:latin typeface="+mn-lt"/>
                <a:sym typeface="Delivery" panose="020F0503020204020204" pitchFamily="34" charset="0"/>
              </a:defRPr>
            </a:lvl1pPr>
          </a:lstStyle>
          <a:p>
            <a:r>
              <a:rPr lang="de-DE" smtClean="0"/>
              <a:t>Bild durch Klicken auf Symbol hinzufügen</a:t>
            </a:r>
            <a:endParaRPr lang="en-US" dirty="0"/>
          </a:p>
        </p:txBody>
      </p:sp>
      <p:sp>
        <p:nvSpPr>
          <p:cNvPr id="9" name="Text Placeholder 30"/>
          <p:cNvSpPr>
            <a:spLocks noGrp="1"/>
          </p:cNvSpPr>
          <p:nvPr>
            <p:ph type="body" sz="quarter" idx="11" hasCustomPrompt="1"/>
          </p:nvPr>
        </p:nvSpPr>
        <p:spPr bwMode="hidden">
          <a:xfrm>
            <a:off x="414000" y="4368783"/>
            <a:ext cx="5302037" cy="1887555"/>
          </a:xfrm>
          <a:prstGeom prst="rect">
            <a:avLst/>
          </a:prstGeom>
          <a:gradFill>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gradFill>
        </p:spPr>
        <p:txBody>
          <a:bodyPr wrap="square" lIns="180000" tIns="432000" rIns="180000" bIns="180000" anchor="b" anchorCtr="0">
            <a:spAutoFit/>
          </a:bodyPr>
          <a:lstStyle>
            <a:lvl1pPr>
              <a:defRPr sz="2500" b="0" baseline="0">
                <a:solidFill>
                  <a:schemeClr val="tx1"/>
                </a:solidFill>
                <a:latin typeface="+mn-lt"/>
                <a:sym typeface="Delivery" panose="020F0503020204020204" pitchFamily="34" charset="0"/>
              </a:defRPr>
            </a:lvl1pPr>
          </a:lstStyle>
          <a:p>
            <a:r>
              <a:rPr lang="en-US" dirty="0"/>
              <a:t>“This space is reserved for quotes. The box adjusts itself to the inserted text. Delivery, 25 pt”</a:t>
            </a:r>
          </a:p>
        </p:txBody>
      </p:sp>
      <p:sp>
        <p:nvSpPr>
          <p:cNvPr id="7" name="meta-classification"/>
          <p:cNvSpPr>
            <a:spLocks noGrp="1"/>
          </p:cNvSpPr>
          <p:nvPr>
            <p:ph type="body" sz="quarter" idx="19" hasCustomPrompt="1"/>
          </p:nvPr>
        </p:nvSpPr>
        <p:spPr bwMode="gray">
          <a:xfrm>
            <a:off x="414000" y="0"/>
            <a:ext cx="2040623" cy="222108"/>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900" b="1" kern="0" cap="all" baseline="0" dirty="0" smtClean="0">
                <a:solidFill>
                  <a:schemeClr val="accent1"/>
                </a:solidFill>
                <a:latin typeface="+mn-lt"/>
                <a:ea typeface="+mn-ea"/>
                <a:cs typeface="Arial"/>
                <a:sym typeface="Delivery" panose="020F0503020204020204" pitchFamily="34" charset="0"/>
              </a:defRPr>
            </a:lvl1pPr>
          </a:lstStyle>
          <a:p>
            <a:r>
              <a:rPr lang="en-US" sz="900" b="1" dirty="0">
                <a:solidFill>
                  <a:schemeClr val="accent1"/>
                </a:solidFill>
              </a:rPr>
              <a:t>PLEASE INSERT CLASSIFICATION HERE</a:t>
            </a:r>
            <a:endParaRPr lang="en-US" sz="900" b="1" kern="0" cap="all" baseline="0" dirty="0">
              <a:solidFill>
                <a:schemeClr val="accent1"/>
              </a:solidFill>
              <a:cs typeface="Arial"/>
            </a:endParaRPr>
          </a:p>
        </p:txBody>
      </p:sp>
    </p:spTree>
    <p:extLst>
      <p:ext uri="{BB962C8B-B14F-4D97-AF65-F5344CB8AC3E}">
        <p14:creationId xmlns:p14="http://schemas.microsoft.com/office/powerpoint/2010/main" val="15021111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0">
              <a:schemeClr val="accent3">
                <a:alpha val="30000"/>
              </a:schemeClr>
            </a:gs>
            <a:gs pos="87000">
              <a:schemeClr val="accent3"/>
            </a:gs>
          </a:gsLst>
          <a:lin ang="5400000" scaled="0"/>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D5BFCB4E-9074-4B01-A1FA-246C1B80C812}"/>
              </a:ext>
            </a:extLst>
          </p:cNvPr>
          <p:cNvGraphicFramePr>
            <a:graphicFrameLocks noChangeAspect="1"/>
          </p:cNvGraphicFramePr>
          <p:nvPr>
            <p:custDataLst>
              <p:tags r:id="rId2"/>
            </p:custDataLst>
            <p:extLst>
              <p:ext uri="{D42A27DB-BD31-4B8C-83A1-F6EECF244321}">
                <p14:modId xmlns:p14="http://schemas.microsoft.com/office/powerpoint/2010/main" val="73163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6493" name="think-cell Folie" r:id="rId4" imgW="352" imgH="353" progId="TCLayout.ActiveDocument.1">
                  <p:embed/>
                </p:oleObj>
              </mc:Choice>
              <mc:Fallback>
                <p:oleObj name="think-cell Folie" r:id="rId4" imgW="352"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 Placeholder 2"/>
          <p:cNvSpPr>
            <a:spLocks noGrp="1"/>
          </p:cNvSpPr>
          <p:nvPr>
            <p:ph type="body" sz="quarter" idx="11" hasCustomPrompt="1"/>
          </p:nvPr>
        </p:nvSpPr>
        <p:spPr bwMode="gray">
          <a:xfrm>
            <a:off x="414000" y="1379538"/>
            <a:ext cx="8316000" cy="3408362"/>
          </a:xfrm>
          <a:prstGeom prst="rect">
            <a:avLst/>
          </a:prstGeom>
        </p:spPr>
        <p:txBody>
          <a:bodyPr lIns="900000" tIns="0" rIns="900000" bIns="0" anchor="ctr" anchorCtr="0"/>
          <a:lstStyle>
            <a:lvl1pPr algn="l">
              <a:defRPr sz="3000" b="0">
                <a:latin typeface="+mn-lt"/>
                <a:sym typeface="Delivery" panose="020F0503020204020204" pitchFamily="34" charset="0"/>
              </a:defRPr>
            </a:lvl1pPr>
          </a:lstStyle>
          <a:p>
            <a:r>
              <a:rPr lang="en-US" dirty="0"/>
              <a:t>“This space is reserved for quotes. </a:t>
            </a:r>
            <a:br>
              <a:rPr lang="en-US" dirty="0"/>
            </a:br>
            <a:r>
              <a:rPr lang="en-US" dirty="0"/>
              <a:t>Delivery, 30 pt”</a:t>
            </a:r>
          </a:p>
        </p:txBody>
      </p:sp>
      <p:sp>
        <p:nvSpPr>
          <p:cNvPr id="5" name="Rechteck 8"/>
          <p:cNvSpPr/>
          <p:nvPr/>
        </p:nvSpPr>
        <p:spPr bwMode="gray">
          <a:xfrm>
            <a:off x="8369985"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
        <p:nvSpPr>
          <p:cNvPr id="6" name="Footer Placeholder 2"/>
          <p:cNvSpPr>
            <a:spLocks noGrp="1"/>
          </p:cNvSpPr>
          <p:nvPr>
            <p:ph type="ftr" sz="quarter" idx="31"/>
          </p:nvPr>
        </p:nvSpPr>
        <p:spPr bwMode="gray">
          <a:xfrm>
            <a:off x="2142000"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pic>
        <p:nvPicPr>
          <p:cNvPr id="7" name="Grafik 6">
            <a:extLst>
              <a:ext uri="{FF2B5EF4-FFF2-40B4-BE49-F238E27FC236}">
                <a16:creationId xmlns:a16="http://schemas.microsoft.com/office/drawing/2014/main" xmlns:v="urn:schemas-microsoft-com:vml" xmlns:mc="http://schemas.openxmlformats.org/markup-compatibility/2006" xmlns:p14="http://schemas.microsoft.com/office/powerpoint/2010/main" xmlns="" id="{1CB7A903-7577-48F8-8DC0-B22F73160C6B}"/>
              </a:ext>
            </a:extLst>
          </p:cNvPr>
          <p:cNvPicPr>
            <a:picLocks noChangeAspect="1"/>
          </p:cNvPicPr>
          <p:nvPr/>
        </p:nvPicPr>
        <p:blipFill>
          <a:blip r:embed="rId6"/>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2379999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ac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AF6A8B82-6595-4506-A76F-56A88D035245}"/>
              </a:ext>
            </a:extLst>
          </p:cNvPr>
          <p:cNvGraphicFramePr>
            <a:graphicFrameLocks noChangeAspect="1"/>
          </p:cNvGraphicFramePr>
          <p:nvPr>
            <p:custDataLst>
              <p:tags r:id="rId2"/>
            </p:custDataLst>
            <p:extLst>
              <p:ext uri="{D42A27DB-BD31-4B8C-83A1-F6EECF244321}">
                <p14:modId xmlns:p14="http://schemas.microsoft.com/office/powerpoint/2010/main" val="344203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7517"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5F90D342-6AA5-4E2F-B691-FAC7EC87B409}"/>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9" name="Rechteck 11"/>
          <p:cNvSpPr/>
          <p:nvPr/>
        </p:nvSpPr>
        <p:spPr bwMode="hidden">
          <a:xfrm>
            <a:off x="179388" y="5952326"/>
            <a:ext cx="8784000" cy="720000"/>
          </a:xfrm>
          <a:prstGeom prst="rect">
            <a:avLst/>
          </a:prstGeom>
          <a:gradFill flip="none" rotWithShape="1">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sym typeface="Delivery" panose="020F0503020204020204" pitchFamily="34" charset="0"/>
            </a:endParaRPr>
          </a:p>
        </p:txBody>
      </p:sp>
      <p:sp>
        <p:nvSpPr>
          <p:cNvPr id="10" name="Text Placeholder 9"/>
          <p:cNvSpPr>
            <a:spLocks noGrp="1"/>
          </p:cNvSpPr>
          <p:nvPr>
            <p:ph type="body" sz="quarter" idx="10"/>
          </p:nvPr>
        </p:nvSpPr>
        <p:spPr bwMode="gray">
          <a:xfrm>
            <a:off x="413999" y="1249200"/>
            <a:ext cx="8316000" cy="4701600"/>
          </a:xfrm>
          <a:prstGeom prst="rect">
            <a:avLst/>
          </a:prstGeom>
        </p:spPr>
        <p:txBody>
          <a:bodyPr lIns="0" tIns="0" rIns="0" bIns="0"/>
          <a:lstStyle>
            <a:lvl1pPr marL="0" marR="0" indent="0" algn="l" defTabSz="914400" rtl="0" eaLnBrk="1" fontAlgn="auto" latinLnBrk="0" hangingPunct="1">
              <a:lnSpc>
                <a:spcPct val="110000"/>
              </a:lnSpc>
              <a:spcBef>
                <a:spcPts val="1400"/>
              </a:spcBef>
              <a:spcAft>
                <a:spcPts val="0"/>
              </a:spcAft>
              <a:buClrTx/>
              <a:buSzTx/>
              <a:buFont typeface="Arial" pitchFamily="34" charset="0"/>
              <a:buNone/>
              <a:tabLst/>
              <a:defRPr sz="1400" b="1">
                <a:latin typeface="+mn-lt"/>
                <a:sym typeface="Delivery" panose="020F0503020204020204" pitchFamily="34" charset="0"/>
              </a:defRPr>
            </a:lvl1pPr>
            <a:lvl2pPr marL="0" marR="0" indent="0" algn="l" defTabSz="914400" rtl="0" eaLnBrk="1" fontAlgn="auto" latinLnBrk="0" hangingPunct="1">
              <a:lnSpc>
                <a:spcPct val="110000"/>
              </a:lnSpc>
              <a:spcBef>
                <a:spcPts val="0"/>
              </a:spcBef>
              <a:spcAft>
                <a:spcPts val="0"/>
              </a:spcAft>
              <a:buClrTx/>
              <a:buSzTx/>
              <a:buFont typeface="Arial" pitchFamily="34" charset="0"/>
              <a:buNone/>
              <a:tabLst/>
              <a:defRPr sz="1400" b="0">
                <a:latin typeface="+mn-lt"/>
                <a:sym typeface="Delivery" panose="020F0503020204020204" pitchFamily="34" charset="0"/>
              </a:defRPr>
            </a:lvl2pPr>
            <a:lvl3pPr marL="180000" marR="0" indent="-180000" algn="l" defTabSz="914400" rtl="0" eaLnBrk="1" fontAlgn="auto" latinLnBrk="0" hangingPunct="1">
              <a:lnSpc>
                <a:spcPct val="110000"/>
              </a:lnSpc>
              <a:spcBef>
                <a:spcPts val="0"/>
              </a:spcBef>
              <a:spcAft>
                <a:spcPts val="0"/>
              </a:spcAft>
              <a:buClr>
                <a:schemeClr val="tx1"/>
              </a:buClr>
              <a:buSzTx/>
              <a:buFont typeface="Arial" pitchFamily="34" charset="0"/>
              <a:buChar char="•"/>
              <a:tabLst/>
              <a:defRPr/>
            </a:lvl3pPr>
            <a:lvl4pPr marL="360000" marR="0" indent="-180000" algn="l" defTabSz="914400" rtl="0" eaLnBrk="1" fontAlgn="auto" latinLnBrk="0" hangingPunct="1">
              <a:lnSpc>
                <a:spcPct val="110000"/>
              </a:lnSpc>
              <a:spcBef>
                <a:spcPts val="0"/>
              </a:spcBef>
              <a:spcAft>
                <a:spcPts val="0"/>
              </a:spcAft>
              <a:buClr>
                <a:schemeClr val="tx1"/>
              </a:buClr>
              <a:buSzTx/>
              <a:buFont typeface="Symbol" pitchFamily="18" charset="2"/>
              <a:buChar char="-"/>
              <a:tabLst/>
              <a:defRPr/>
            </a:lvl4pPr>
            <a:lvl5pPr marL="533400" marR="0" indent="-174625" algn="l" defTabSz="914400" rtl="0" eaLnBrk="1" fontAlgn="auto" latinLnBrk="0" hangingPunct="1">
              <a:lnSpc>
                <a:spcPct val="110000"/>
              </a:lnSpc>
              <a:spcBef>
                <a:spcPts val="0"/>
              </a:spcBef>
              <a:spcAft>
                <a:spcPts val="0"/>
              </a:spcAft>
              <a:buClr>
                <a:schemeClr val="tx1"/>
              </a:buClr>
              <a:buSzTx/>
              <a:buFont typeface="Symbol" charset="2"/>
              <a:buChar char="-"/>
              <a:tabLst/>
              <a:defRPr baseline="0"/>
            </a:lvl5pPr>
          </a:lstStyle>
          <a:p>
            <a:pPr lvl="0"/>
            <a:r>
              <a:rPr lang="de-DE" smtClean="0"/>
              <a:t>Textmasterformat bearbeiten</a:t>
            </a:r>
          </a:p>
          <a:p>
            <a:pPr lvl="1"/>
            <a:r>
              <a:rPr lang="de-DE" smtClean="0"/>
              <a:t>Zweite Ebene</a:t>
            </a:r>
          </a:p>
        </p:txBody>
      </p:sp>
      <p:sp>
        <p:nvSpPr>
          <p:cNvPr id="29" name="Rechteck 8"/>
          <p:cNvSpPr/>
          <p:nvPr/>
        </p:nvSpPr>
        <p:spPr bwMode="gray">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
        <p:nvSpPr>
          <p:cNvPr id="30" name="Footer Placeholder 2"/>
          <p:cNvSpPr>
            <a:spLocks noGrp="1"/>
          </p:cNvSpPr>
          <p:nvPr>
            <p:ph type="ftr" sz="quarter" idx="31"/>
          </p:nvPr>
        </p:nvSpPr>
        <p:spPr bwMode="gray">
          <a:xfrm>
            <a:off x="2142000"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cxnSp>
        <p:nvCxnSpPr>
          <p:cNvPr id="14" name="Straight Connector 10"/>
          <p:cNvCxnSpPr/>
          <p:nvPr/>
        </p:nvCxnSpPr>
        <p:spPr bwMode="gray">
          <a:xfrm>
            <a:off x="414000" y="1015200"/>
            <a:ext cx="8316000"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lvl1pPr>
              <a:defRPr>
                <a:latin typeface="+mj-lt"/>
                <a:sym typeface="Delivery" panose="020F0503020204020204" pitchFamily="34" charset="0"/>
              </a:defRPr>
            </a:lvl1pPr>
          </a:lstStyle>
          <a:p>
            <a:r>
              <a:rPr lang="de-DE" smtClean="0"/>
              <a:t>Titelmasterformat durch Klicken bearbeiten</a:t>
            </a:r>
            <a:endParaRPr lang="en-US" dirty="0"/>
          </a:p>
        </p:txBody>
      </p:sp>
      <p:pic>
        <p:nvPicPr>
          <p:cNvPr id="12" name="Grafik 11">
            <a:extLst>
              <a:ext uri="{FF2B5EF4-FFF2-40B4-BE49-F238E27FC236}">
                <a16:creationId xmlns:a16="http://schemas.microsoft.com/office/drawing/2014/main" xmlns:v="urn:schemas-microsoft-com:vml" xmlns:mc="http://schemas.openxmlformats.org/markup-compatibility/2006" xmlns:p14="http://schemas.microsoft.com/office/powerpoint/2010/main" xmlns="" id="{E7193140-3965-40C9-8A74-89A261A68C43}"/>
              </a:ext>
            </a:extLst>
          </p:cNvPr>
          <p:cNvPicPr>
            <a:picLocks noChangeAspect="1"/>
          </p:cNvPicPr>
          <p:nvPr/>
        </p:nvPicPr>
        <p:blipFill>
          <a:blip r:embed="rId7"/>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24001356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icture, gradient top">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465E7DE9-40E7-4B5F-BB2A-9E9AE051DA79}"/>
              </a:ext>
            </a:extLst>
          </p:cNvPr>
          <p:cNvGraphicFramePr>
            <a:graphicFrameLocks noChangeAspect="1"/>
          </p:cNvGraphicFramePr>
          <p:nvPr>
            <p:custDataLst>
              <p:tags r:id="rId2"/>
            </p:custDataLst>
            <p:extLst>
              <p:ext uri="{D42A27DB-BD31-4B8C-83A1-F6EECF244321}">
                <p14:modId xmlns:p14="http://schemas.microsoft.com/office/powerpoint/2010/main" val="235914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4204"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404E26F7-9F7B-4E15-AB39-15181A3435A4}"/>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8" name="Picture Placeholder 33"/>
          <p:cNvSpPr>
            <a:spLocks noGrp="1"/>
          </p:cNvSpPr>
          <p:nvPr>
            <p:ph type="pic" sz="quarter" idx="8"/>
          </p:nvPr>
        </p:nvSpPr>
        <p:spPr bwMode="white">
          <a:xfrm>
            <a:off x="0" y="0"/>
            <a:ext cx="9144000" cy="6858000"/>
          </a:xfrm>
          <a:prstGeom prst="rect">
            <a:avLst/>
          </a:prstGeom>
          <a:solidFill>
            <a:schemeClr val="tx2"/>
          </a:solidFill>
        </p:spPr>
        <p:txBody>
          <a:bodyPr tIns="540000" anchor="ctr" anchorCtr="0"/>
          <a:lstStyle>
            <a:lvl1pPr algn="ctr">
              <a:defRPr>
                <a:latin typeface="+mn-lt"/>
                <a:sym typeface="Delivery" panose="020F0503020204020204" pitchFamily="34" charset="0"/>
              </a:defRPr>
            </a:lvl1pPr>
          </a:lstStyle>
          <a:p>
            <a:r>
              <a:rPr lang="de-DE" smtClean="0"/>
              <a:t>Bild durch Klicken auf Symbol hinzufügen</a:t>
            </a:r>
            <a:endParaRPr lang="en-US" dirty="0"/>
          </a:p>
        </p:txBody>
      </p:sp>
      <p:sp>
        <p:nvSpPr>
          <p:cNvPr id="7" name="Text Placeholder 30"/>
          <p:cNvSpPr>
            <a:spLocks noGrp="1"/>
          </p:cNvSpPr>
          <p:nvPr>
            <p:ph type="body" sz="quarter" idx="7" hasCustomPrompt="1"/>
          </p:nvPr>
        </p:nvSpPr>
        <p:spPr bwMode="hidden">
          <a:xfrm rot="10800000">
            <a:off x="180001" y="180975"/>
            <a:ext cx="8784000" cy="1441450"/>
          </a:xfrm>
          <a:prstGeom prst="rect">
            <a:avLst/>
          </a:prstGeom>
          <a:gradFill>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gradFill>
        </p:spPr>
        <p:txBody>
          <a:bodyPr anchor="b" anchorCtr="0"/>
          <a:lstStyle>
            <a:lvl1pPr>
              <a:defRPr sz="100">
                <a:solidFill>
                  <a:schemeClr val="accent3"/>
                </a:solidFill>
                <a:latin typeface="+mn-lt"/>
                <a:sym typeface="Delivery" panose="020F0503020204020204" pitchFamily="34" charset="0"/>
              </a:defRPr>
            </a:lvl1pPr>
          </a:lstStyle>
          <a:p>
            <a:pPr lvl="0"/>
            <a:r>
              <a:rPr lang="en-US" dirty="0" err="1"/>
              <a:t>Textmasterformat</a:t>
            </a:r>
            <a:r>
              <a:rPr lang="en-US" dirty="0"/>
              <a:t> </a:t>
            </a:r>
            <a:r>
              <a:rPr lang="en-US" dirty="0" err="1"/>
              <a:t>bearbeiten</a:t>
            </a:r>
            <a:endParaRPr lang="en-US" dirty="0"/>
          </a:p>
        </p:txBody>
      </p:sp>
      <p:sp>
        <p:nvSpPr>
          <p:cNvPr id="11" name="Text Placeholder 27">
            <a:extLst>
              <a:ext uri="{FF2B5EF4-FFF2-40B4-BE49-F238E27FC236}">
                <a16:creationId xmlns:a16="http://schemas.microsoft.com/office/drawing/2014/main" xmlns:v="urn:schemas-microsoft-com:vml" xmlns:mc="http://schemas.openxmlformats.org/markup-compatibility/2006" xmlns:p14="http://schemas.microsoft.com/office/powerpoint/2010/main" xmlns="" id="{30F2874F-FEBC-4BB5-971C-80002B87FF88}"/>
              </a:ext>
            </a:extLst>
          </p:cNvPr>
          <p:cNvSpPr>
            <a:spLocks noGrp="1"/>
          </p:cNvSpPr>
          <p:nvPr>
            <p:ph type="body" sz="quarter" idx="10" hasCustomPrompt="1"/>
          </p:nvPr>
        </p:nvSpPr>
        <p:spPr>
          <a:xfrm>
            <a:off x="6954842" y="399640"/>
            <a:ext cx="1807200" cy="453600"/>
          </a:xfrm>
          <a:blipFill>
            <a:blip r:embed="rId7"/>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
        <p:nvSpPr>
          <p:cNvPr id="9" name="Title 36"/>
          <p:cNvSpPr>
            <a:spLocks noGrp="1"/>
          </p:cNvSpPr>
          <p:nvPr>
            <p:ph type="title" hasCustomPrompt="1"/>
          </p:nvPr>
        </p:nvSpPr>
        <p:spPr bwMode="gray">
          <a:xfrm>
            <a:off x="414000" y="781200"/>
            <a:ext cx="8316000" cy="1548000"/>
          </a:xfrm>
          <a:prstGeom prst="rect">
            <a:avLst/>
          </a:prstGeom>
        </p:spPr>
        <p:txBody>
          <a:bodyPr wrap="square" lIns="0" tIns="0" rIns="0" bIns="0" anchor="b" anchorCtr="0"/>
          <a:lstStyle>
            <a:lvl1pPr>
              <a:lnSpc>
                <a:spcPct val="90000"/>
              </a:lnSpc>
              <a:defRPr sz="4200" cap="all" baseline="0">
                <a:solidFill>
                  <a:schemeClr val="tx1"/>
                </a:solidFill>
                <a:latin typeface="+mj-lt"/>
                <a:sym typeface="Delivery" panose="020F0503020204020204" pitchFamily="34" charset="0"/>
              </a:defRPr>
            </a:lvl1pPr>
          </a:lstStyle>
          <a:p>
            <a:r>
              <a:rPr lang="en-US" dirty="0"/>
              <a:t>SAMPLE TITLE ONE OR</a:t>
            </a:r>
            <a:br>
              <a:rPr lang="en-US" dirty="0"/>
            </a:br>
            <a:r>
              <a:rPr lang="en-US" dirty="0"/>
              <a:t>TWO LINES, Delivery, 42 </a:t>
            </a:r>
            <a:r>
              <a:rPr lang="en-US" dirty="0" err="1"/>
              <a:t>pt</a:t>
            </a:r>
            <a:endParaRPr lang="en-US" dirty="0"/>
          </a:p>
        </p:txBody>
      </p:sp>
      <p:sp>
        <p:nvSpPr>
          <p:cNvPr id="4" name="meta-identifier"/>
          <p:cNvSpPr>
            <a:spLocks noGrp="1"/>
          </p:cNvSpPr>
          <p:nvPr>
            <p:ph type="body" sz="quarter" idx="4" hasCustomPrompt="1"/>
          </p:nvPr>
        </p:nvSpPr>
        <p:spPr bwMode="gray">
          <a:xfrm>
            <a:off x="403200" y="331200"/>
            <a:ext cx="6048000" cy="216000"/>
          </a:xfrm>
          <a:prstGeom prst="rect">
            <a:avLst/>
          </a:prstGeom>
        </p:spPr>
        <p:txBody>
          <a:bodyPr lIns="0" tIns="0" rIns="0" bIns="0" anchor="b" anchorCtr="0">
            <a:noAutofit/>
          </a:bodyPr>
          <a:lstStyle>
            <a:lvl1pPr>
              <a:defRPr sz="1200" b="1">
                <a:solidFill>
                  <a:sysClr val="windowText" lastClr="000000"/>
                </a:solidFill>
                <a:latin typeface="+mn-lt"/>
                <a:sym typeface="Delivery" panose="020F0503020204020204" pitchFamily="34" charset="0"/>
              </a:defRPr>
            </a:lvl1pPr>
          </a:lstStyle>
          <a:p>
            <a:pPr lvl="0"/>
            <a:r>
              <a:rPr lang="en-US" dirty="0"/>
              <a:t>Business identifier</a:t>
            </a:r>
          </a:p>
        </p:txBody>
      </p:sp>
      <p:sp>
        <p:nvSpPr>
          <p:cNvPr id="2" name="meta-classification"/>
          <p:cNvSpPr>
            <a:spLocks noGrp="1"/>
          </p:cNvSpPr>
          <p:nvPr>
            <p:ph type="body" sz="quarter" idx="2" hasCustomPrompt="1"/>
          </p:nvPr>
        </p:nvSpPr>
        <p:spPr bwMode="gray">
          <a:xfrm>
            <a:off x="414000" y="6253200"/>
            <a:ext cx="2040623" cy="222108"/>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900" b="1" kern="0" cap="all" baseline="0" dirty="0" smtClean="0">
                <a:solidFill>
                  <a:schemeClr val="accent1"/>
                </a:solidFill>
                <a:latin typeface="+mn-lt"/>
                <a:ea typeface="+mn-ea"/>
                <a:cs typeface="Arial"/>
                <a:sym typeface="Delivery" panose="020F0503020204020204" pitchFamily="34" charset="0"/>
              </a:defRPr>
            </a:lvl1pPr>
          </a:lstStyle>
          <a:p>
            <a:r>
              <a:rPr lang="en-US" sz="900" b="1" dirty="0">
                <a:solidFill>
                  <a:schemeClr val="accent1"/>
                </a:solidFill>
              </a:rPr>
              <a:t>PLEASE INSERT CLASSIFICATION HERE</a:t>
            </a:r>
            <a:endParaRPr lang="en-US" sz="900" b="1" kern="0" cap="all" baseline="0" dirty="0">
              <a:solidFill>
                <a:schemeClr val="accent1"/>
              </a:solidFill>
              <a:cs typeface="Arial"/>
            </a:endParaRPr>
          </a:p>
        </p:txBody>
      </p:sp>
      <p:sp>
        <p:nvSpPr>
          <p:cNvPr id="5" name="meta-subline"/>
          <p:cNvSpPr>
            <a:spLocks noGrp="1"/>
          </p:cNvSpPr>
          <p:nvPr>
            <p:ph type="body" sz="quarter" idx="5" hasCustomPrompt="1"/>
          </p:nvPr>
        </p:nvSpPr>
        <p:spPr>
          <a:xfrm>
            <a:off x="414000" y="2327982"/>
            <a:ext cx="8316000" cy="402291"/>
          </a:xfrm>
          <a:noFill/>
          <a:ln w="9525" cap="flat" cmpd="sng" algn="ctr">
            <a:noFill/>
            <a:prstDash val="solid"/>
            <a:round/>
            <a:headEnd type="none" w="med" len="med"/>
            <a:tailEnd type="none" w="med" len="med"/>
          </a:ln>
          <a:effectLst/>
        </p:spPr>
        <p:txBody>
          <a:bodyPr vert="horz" wrap="square" lIns="0" tIns="46800" rIns="0" bIns="468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2000">
                <a:latin typeface="+mn-lt"/>
                <a:sym typeface="Delivery" panose="020F0503020204020204" pitchFamily="34" charset="0"/>
              </a:defRPr>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dirty="0"/>
              <a:t>Subline in one or two lines, Delivery, 20 </a:t>
            </a:r>
            <a:r>
              <a:rPr lang="en-US" dirty="0" err="1"/>
              <a:t>pt</a:t>
            </a:r>
            <a:endParaRPr lang="en-US" dirty="0"/>
          </a:p>
        </p:txBody>
      </p:sp>
      <p:sp>
        <p:nvSpPr>
          <p:cNvPr id="3" name="meta-project"/>
          <p:cNvSpPr>
            <a:spLocks noGrp="1"/>
          </p:cNvSpPr>
          <p:nvPr>
            <p:ph type="body" sz="quarter" idx="3" hasCustomPrompt="1"/>
          </p:nvPr>
        </p:nvSpPr>
        <p:spPr>
          <a:xfrm>
            <a:off x="414000" y="2732081"/>
            <a:ext cx="8316000" cy="514738"/>
          </a:xfrm>
          <a:noFill/>
          <a:ln w="9525" cap="flat" cmpd="sng" algn="ctr">
            <a:noFill/>
            <a:prstDash val="solid"/>
            <a:round/>
            <a:headEnd type="none" w="med" len="med"/>
            <a:tailEnd type="none" w="med" len="med"/>
          </a:ln>
          <a:effectLst/>
        </p:spPr>
        <p:txBody>
          <a:bodyPr vert="horz" wrap="square" lIns="0" tIns="14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sym typeface="Delivery" panose="020F0503020204020204" pitchFamily="34" charset="0"/>
              </a:defRPr>
            </a:lvl1pPr>
            <a:lvl2pPr>
              <a:spcAft>
                <a:spcPts val="1600"/>
              </a:spcAft>
              <a:defRPr sz="2000" b="0" baseline="0"/>
            </a:lvl2pPr>
          </a:lstStyle>
          <a:p>
            <a:r>
              <a:rPr lang="en-US" dirty="0"/>
              <a:t>Name of the event or project or presenter, Delivery, 12 </a:t>
            </a:r>
            <a:r>
              <a:rPr lang="en-US" dirty="0" err="1"/>
              <a:t>pt</a:t>
            </a:r>
            <a:r>
              <a:rPr lang="en-US" dirty="0"/>
              <a:t/>
            </a:r>
            <a:br>
              <a:rPr lang="en-US" dirty="0"/>
            </a:br>
            <a:r>
              <a:rPr lang="en-US" dirty="0"/>
              <a:t>Location, ## Month ####</a:t>
            </a:r>
          </a:p>
        </p:txBody>
      </p:sp>
    </p:spTree>
    <p:extLst>
      <p:ext uri="{BB962C8B-B14F-4D97-AF65-F5344CB8AC3E}">
        <p14:creationId xmlns:p14="http://schemas.microsoft.com/office/powerpoint/2010/main" val="35236368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inal: picture, gradient bottom">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40A4A349-26FC-4D5C-86D7-F14C079F1529}"/>
              </a:ext>
            </a:extLst>
          </p:cNvPr>
          <p:cNvGraphicFramePr>
            <a:graphicFrameLocks noChangeAspect="1"/>
          </p:cNvGraphicFramePr>
          <p:nvPr>
            <p:custDataLst>
              <p:tags r:id="rId2"/>
            </p:custDataLst>
            <p:extLst>
              <p:ext uri="{D42A27DB-BD31-4B8C-83A1-F6EECF244321}">
                <p14:modId xmlns:p14="http://schemas.microsoft.com/office/powerpoint/2010/main" val="3939458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8542" name="think-cell Folie" r:id="rId4" imgW="352" imgH="353" progId="TCLayout.ActiveDocument.1">
                  <p:embed/>
                </p:oleObj>
              </mc:Choice>
              <mc:Fallback>
                <p:oleObj name="think-cell Folie" r:id="rId4" imgW="352"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33"/>
          <p:cNvSpPr>
            <a:spLocks noGrp="1"/>
          </p:cNvSpPr>
          <p:nvPr>
            <p:ph type="pic" sz="quarter" idx="12"/>
          </p:nvPr>
        </p:nvSpPr>
        <p:spPr bwMode="white">
          <a:xfrm>
            <a:off x="0" y="0"/>
            <a:ext cx="9144000" cy="6858000"/>
          </a:xfrm>
          <a:prstGeom prst="rect">
            <a:avLst/>
          </a:prstGeom>
          <a:solidFill>
            <a:schemeClr val="tx2"/>
          </a:solidFill>
        </p:spPr>
        <p:txBody>
          <a:bodyPr tIns="540000" anchor="ctr" anchorCtr="0"/>
          <a:lstStyle>
            <a:lvl1pPr algn="ctr">
              <a:defRPr>
                <a:latin typeface="+mn-lt"/>
                <a:sym typeface="Delivery" panose="020F0503020204020204" pitchFamily="34" charset="0"/>
              </a:defRPr>
            </a:lvl1pPr>
          </a:lstStyle>
          <a:p>
            <a:r>
              <a:rPr lang="de-DE" smtClean="0"/>
              <a:t>Bild durch Klicken auf Symbol hinzufügen</a:t>
            </a:r>
            <a:endParaRPr lang="en-US" dirty="0"/>
          </a:p>
        </p:txBody>
      </p:sp>
      <p:sp>
        <p:nvSpPr>
          <p:cNvPr id="37" name="Title 36"/>
          <p:cNvSpPr>
            <a:spLocks noGrp="1"/>
          </p:cNvSpPr>
          <p:nvPr>
            <p:ph type="title" hasCustomPrompt="1"/>
          </p:nvPr>
        </p:nvSpPr>
        <p:spPr bwMode="gray">
          <a:xfrm>
            <a:off x="414000" y="4654800"/>
            <a:ext cx="8316000" cy="617538"/>
          </a:xfrm>
          <a:prstGeom prst="rect">
            <a:avLst/>
          </a:prstGeom>
        </p:spPr>
        <p:txBody>
          <a:bodyPr wrap="none" lIns="0" tIns="0" rIns="0" bIns="0" anchor="t" anchorCtr="0"/>
          <a:lstStyle>
            <a:lvl1pPr>
              <a:lnSpc>
                <a:spcPts val="6000"/>
              </a:lnSpc>
              <a:defRPr sz="4200" cap="all" baseline="0">
                <a:solidFill>
                  <a:schemeClr val="tx1"/>
                </a:solidFill>
                <a:latin typeface="+mj-lt"/>
                <a:sym typeface="Delivery" panose="020F0503020204020204" pitchFamily="34" charset="0"/>
              </a:defRPr>
            </a:lvl1pPr>
          </a:lstStyle>
          <a:p>
            <a:r>
              <a:rPr lang="en-US" dirty="0"/>
              <a:t>Thank you</a:t>
            </a:r>
          </a:p>
        </p:txBody>
      </p:sp>
      <p:sp>
        <p:nvSpPr>
          <p:cNvPr id="10" name="Text Placeholder 30">
            <a:extLst>
              <a:ext uri="{FF2B5EF4-FFF2-40B4-BE49-F238E27FC236}">
                <a16:creationId xmlns:a16="http://schemas.microsoft.com/office/drawing/2014/main" xmlns:v="urn:schemas-microsoft-com:vml" xmlns:mc="http://schemas.openxmlformats.org/markup-compatibility/2006" xmlns:p14="http://schemas.microsoft.com/office/powerpoint/2010/main" xmlns="" id="{A2BC3F4C-B3DD-489B-937A-2A10A3E6A715}"/>
              </a:ext>
            </a:extLst>
          </p:cNvPr>
          <p:cNvSpPr>
            <a:spLocks noGrp="1"/>
          </p:cNvSpPr>
          <p:nvPr>
            <p:ph type="body" sz="quarter" idx="20" hasCustomPrompt="1"/>
          </p:nvPr>
        </p:nvSpPr>
        <p:spPr bwMode="hidden">
          <a:xfrm>
            <a:off x="180000" y="5950800"/>
            <a:ext cx="8784000" cy="720000"/>
          </a:xfrm>
          <a:prstGeom prst="rect">
            <a:avLst/>
          </a:prstGeom>
          <a:gradFill>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gradFill>
        </p:spPr>
        <p:txBody>
          <a:bodyPr anchor="b" anchorCtr="0"/>
          <a:lstStyle>
            <a:lvl1pPr>
              <a:defRPr sz="100">
                <a:solidFill>
                  <a:schemeClr val="accent3"/>
                </a:solidFill>
                <a:latin typeface="+mn-lt"/>
                <a:sym typeface="Delivery" panose="020F0503020204020204" pitchFamily="34" charset="0"/>
              </a:defRPr>
            </a:lvl1pPr>
          </a:lstStyle>
          <a:p>
            <a:pPr lvl="0"/>
            <a:r>
              <a:rPr lang="en-US" dirty="0" err="1"/>
              <a:t>Textmasterformat</a:t>
            </a:r>
            <a:r>
              <a:rPr lang="en-US" dirty="0"/>
              <a:t> </a:t>
            </a:r>
            <a:r>
              <a:rPr lang="en-US" dirty="0" err="1"/>
              <a:t>bearbeiten</a:t>
            </a:r>
            <a:endParaRPr lang="en-US" dirty="0"/>
          </a:p>
        </p:txBody>
      </p:sp>
      <p:sp>
        <p:nvSpPr>
          <p:cNvPr id="11" name="meta-classification"/>
          <p:cNvSpPr>
            <a:spLocks noGrp="1"/>
          </p:cNvSpPr>
          <p:nvPr>
            <p:ph type="body" sz="quarter" idx="19" hasCustomPrompt="1"/>
          </p:nvPr>
        </p:nvSpPr>
        <p:spPr bwMode="gray">
          <a:xfrm>
            <a:off x="414000" y="0"/>
            <a:ext cx="2040623" cy="222108"/>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900" b="1" kern="0" cap="all" baseline="0" dirty="0" smtClean="0">
                <a:solidFill>
                  <a:schemeClr val="accent1"/>
                </a:solidFill>
                <a:latin typeface="+mn-lt"/>
                <a:ea typeface="+mn-ea"/>
                <a:cs typeface="Arial"/>
                <a:sym typeface="Delivery" panose="020F0503020204020204" pitchFamily="34" charset="0"/>
              </a:defRPr>
            </a:lvl1pPr>
          </a:lstStyle>
          <a:p>
            <a:r>
              <a:rPr lang="en-US" sz="900" b="1" dirty="0">
                <a:solidFill>
                  <a:schemeClr val="accent1"/>
                </a:solidFill>
              </a:rPr>
              <a:t>PLEASE INSERT CLASSIFICATION HERE</a:t>
            </a:r>
            <a:endParaRPr lang="en-US" sz="900" b="1" kern="0" cap="all" baseline="0" dirty="0">
              <a:solidFill>
                <a:schemeClr val="accent1"/>
              </a:solidFill>
              <a:cs typeface="Arial"/>
            </a:endParaRPr>
          </a:p>
        </p:txBody>
      </p:sp>
      <p:sp>
        <p:nvSpPr>
          <p:cNvPr id="9" name="Text Placeholder 27">
            <a:extLst>
              <a:ext uri="{FF2B5EF4-FFF2-40B4-BE49-F238E27FC236}">
                <a16:creationId xmlns:a16="http://schemas.microsoft.com/office/drawing/2014/main" xmlns:v="urn:schemas-microsoft-com:vml" xmlns:mc="http://schemas.openxmlformats.org/markup-compatibility/2006" xmlns:p14="http://schemas.microsoft.com/office/powerpoint/2010/main" xmlns="" id="{B3FAD58E-510A-47BB-9054-F0D57C20949A}"/>
              </a:ext>
            </a:extLst>
          </p:cNvPr>
          <p:cNvSpPr>
            <a:spLocks noGrp="1"/>
          </p:cNvSpPr>
          <p:nvPr>
            <p:ph type="body" sz="quarter" idx="21" hasCustomPrompt="1"/>
          </p:nvPr>
        </p:nvSpPr>
        <p:spPr>
          <a:xfrm>
            <a:off x="411619" y="6263060"/>
            <a:ext cx="1177200" cy="298800"/>
          </a:xfrm>
          <a:blipFill>
            <a:blip r:embed="rId6"/>
            <a:stretch>
              <a:fillRect/>
            </a:stretch>
          </a:blipFill>
        </p:spPr>
        <p:txBody>
          <a:bodyPr/>
          <a:lstStyle>
            <a:lvl1pPr>
              <a:defRPr>
                <a:latin typeface="+mn-lt"/>
              </a:defRPr>
            </a:lvl1pPr>
          </a:lstStyle>
          <a:p>
            <a:pPr lvl="0"/>
            <a:r>
              <a:rPr lang="en-US" dirty="0"/>
              <a:t> </a:t>
            </a:r>
          </a:p>
        </p:txBody>
      </p:sp>
    </p:spTree>
    <p:extLst>
      <p:ext uri="{BB962C8B-B14F-4D97-AF65-F5344CB8AC3E}">
        <p14:creationId xmlns:p14="http://schemas.microsoft.com/office/powerpoint/2010/main" val="19450354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nal: picture, gradient top">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2949D889-8EBB-434B-B4A7-128F96E8EB7C}"/>
              </a:ext>
            </a:extLst>
          </p:cNvPr>
          <p:cNvGraphicFramePr>
            <a:graphicFrameLocks noChangeAspect="1"/>
          </p:cNvGraphicFramePr>
          <p:nvPr>
            <p:custDataLst>
              <p:tags r:id="rId2"/>
            </p:custDataLst>
            <p:extLst>
              <p:ext uri="{D42A27DB-BD31-4B8C-83A1-F6EECF244321}">
                <p14:modId xmlns:p14="http://schemas.microsoft.com/office/powerpoint/2010/main" val="1438251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9564" name="think-cell Folie" r:id="rId4" imgW="352" imgH="353" progId="TCLayout.ActiveDocument.1">
                  <p:embed/>
                </p:oleObj>
              </mc:Choice>
              <mc:Fallback>
                <p:oleObj name="think-cell Folie" r:id="rId4" imgW="352"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33"/>
          <p:cNvSpPr>
            <a:spLocks noGrp="1"/>
          </p:cNvSpPr>
          <p:nvPr>
            <p:ph type="pic" sz="quarter" idx="12"/>
          </p:nvPr>
        </p:nvSpPr>
        <p:spPr bwMode="white">
          <a:xfrm>
            <a:off x="0" y="0"/>
            <a:ext cx="9144000" cy="6858000"/>
          </a:xfrm>
          <a:prstGeom prst="rect">
            <a:avLst/>
          </a:prstGeom>
          <a:solidFill>
            <a:schemeClr val="tx2"/>
          </a:solidFill>
        </p:spPr>
        <p:txBody>
          <a:bodyPr tIns="540000" anchor="ctr" anchorCtr="0"/>
          <a:lstStyle>
            <a:lvl1pPr algn="ctr">
              <a:defRPr>
                <a:latin typeface="+mn-lt"/>
                <a:sym typeface="Delivery" panose="020F0503020204020204" pitchFamily="34" charset="0"/>
              </a:defRPr>
            </a:lvl1pPr>
          </a:lstStyle>
          <a:p>
            <a:r>
              <a:rPr lang="de-DE" smtClean="0"/>
              <a:t>Bild durch Klicken auf Symbol hinzufügen</a:t>
            </a:r>
            <a:endParaRPr lang="en-US" dirty="0"/>
          </a:p>
        </p:txBody>
      </p:sp>
      <p:sp>
        <p:nvSpPr>
          <p:cNvPr id="31" name="Text Placeholder 30"/>
          <p:cNvSpPr>
            <a:spLocks noGrp="1"/>
          </p:cNvSpPr>
          <p:nvPr>
            <p:ph type="body" sz="quarter" idx="11" hasCustomPrompt="1"/>
          </p:nvPr>
        </p:nvSpPr>
        <p:spPr bwMode="hidden">
          <a:xfrm rot="10800000">
            <a:off x="180001" y="180000"/>
            <a:ext cx="8784000" cy="720000"/>
          </a:xfrm>
          <a:prstGeom prst="rect">
            <a:avLst/>
          </a:prstGeom>
          <a:gradFill>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gradFill>
        </p:spPr>
        <p:txBody>
          <a:bodyPr anchor="b" anchorCtr="0"/>
          <a:lstStyle>
            <a:lvl1pPr>
              <a:tabLst>
                <a:tab pos="6191250" algn="l"/>
              </a:tabLst>
              <a:defRPr sz="100">
                <a:solidFill>
                  <a:schemeClr val="accent3"/>
                </a:solidFill>
                <a:latin typeface="+mn-lt"/>
                <a:sym typeface="Delivery" panose="020F0503020204020204" pitchFamily="34" charset="0"/>
              </a:defRPr>
            </a:lvl1pPr>
          </a:lstStyle>
          <a:p>
            <a:pPr lvl="0"/>
            <a:r>
              <a:rPr lang="en-US" dirty="0" err="1"/>
              <a:t>Textmasterformat</a:t>
            </a:r>
            <a:r>
              <a:rPr lang="en-US" dirty="0"/>
              <a:t> </a:t>
            </a:r>
            <a:r>
              <a:rPr lang="en-US" dirty="0" err="1"/>
              <a:t>bearbeiten</a:t>
            </a:r>
            <a:endParaRPr lang="en-US" dirty="0"/>
          </a:p>
        </p:txBody>
      </p:sp>
      <p:sp>
        <p:nvSpPr>
          <p:cNvPr id="30" name="Title 36"/>
          <p:cNvSpPr>
            <a:spLocks noGrp="1"/>
          </p:cNvSpPr>
          <p:nvPr>
            <p:ph type="title" hasCustomPrompt="1"/>
          </p:nvPr>
        </p:nvSpPr>
        <p:spPr bwMode="gray">
          <a:xfrm>
            <a:off x="414000" y="1346400"/>
            <a:ext cx="8316000" cy="617538"/>
          </a:xfrm>
          <a:prstGeom prst="rect">
            <a:avLst/>
          </a:prstGeom>
        </p:spPr>
        <p:txBody>
          <a:bodyPr wrap="none" lIns="0" tIns="0" rIns="0" bIns="0" anchor="t" anchorCtr="0"/>
          <a:lstStyle>
            <a:lvl1pPr>
              <a:lnSpc>
                <a:spcPts val="6000"/>
              </a:lnSpc>
              <a:defRPr sz="4200" cap="all" baseline="0">
                <a:solidFill>
                  <a:schemeClr val="tx1"/>
                </a:solidFill>
                <a:latin typeface="+mj-lt"/>
                <a:sym typeface="Delivery" panose="020F0503020204020204" pitchFamily="34" charset="0"/>
              </a:defRPr>
            </a:lvl1pPr>
          </a:lstStyle>
          <a:p>
            <a:r>
              <a:rPr lang="en-US" dirty="0"/>
              <a:t>Thank you</a:t>
            </a:r>
          </a:p>
        </p:txBody>
      </p:sp>
      <p:sp>
        <p:nvSpPr>
          <p:cNvPr id="8" name="meta-classification"/>
          <p:cNvSpPr>
            <a:spLocks noGrp="1"/>
          </p:cNvSpPr>
          <p:nvPr>
            <p:ph type="body" sz="quarter" idx="20" hasCustomPrompt="1"/>
          </p:nvPr>
        </p:nvSpPr>
        <p:spPr bwMode="gray">
          <a:xfrm>
            <a:off x="414000" y="6253200"/>
            <a:ext cx="2040623" cy="222108"/>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900" b="1" kern="0" cap="all" baseline="0" dirty="0" smtClean="0">
                <a:solidFill>
                  <a:schemeClr val="accent1"/>
                </a:solidFill>
                <a:latin typeface="+mn-lt"/>
                <a:ea typeface="+mn-ea"/>
                <a:cs typeface="Arial"/>
                <a:sym typeface="Delivery" panose="020F0503020204020204" pitchFamily="34" charset="0"/>
              </a:defRPr>
            </a:lvl1pPr>
          </a:lstStyle>
          <a:p>
            <a:r>
              <a:rPr lang="en-US" sz="900" b="1" dirty="0">
                <a:solidFill>
                  <a:schemeClr val="accent1"/>
                </a:solidFill>
              </a:rPr>
              <a:t>PLEASE INSERT CLASSIFICATION HERE</a:t>
            </a:r>
            <a:endParaRPr lang="en-US" sz="900" b="1" kern="0" cap="all" baseline="0" dirty="0">
              <a:solidFill>
                <a:schemeClr val="accent1"/>
              </a:solidFill>
              <a:cs typeface="Arial"/>
            </a:endParaRPr>
          </a:p>
        </p:txBody>
      </p:sp>
      <p:sp>
        <p:nvSpPr>
          <p:cNvPr id="10" name="Text Placeholder 27"/>
          <p:cNvSpPr>
            <a:spLocks noGrp="1"/>
          </p:cNvSpPr>
          <p:nvPr>
            <p:ph type="body" sz="quarter" idx="21" hasCustomPrompt="1"/>
          </p:nvPr>
        </p:nvSpPr>
        <p:spPr bwMode="gray">
          <a:xfrm>
            <a:off x="402889" y="303629"/>
            <a:ext cx="1202400" cy="324000"/>
          </a:xfrm>
          <a:prstGeom prst="rect">
            <a:avLst/>
          </a:prstGeom>
          <a:blipFill>
            <a:blip r:embed="rId6"/>
            <a:stretch>
              <a:fillRect/>
            </a:stretch>
          </a:blipFill>
        </p:spPr>
        <p:txBody>
          <a:bodyPr wrap="none" lIns="0" tIns="0" rIns="0" bIns="0" anchor="t" anchorCtr="0"/>
          <a:lstStyle>
            <a:lvl1pPr>
              <a:defRPr sz="100">
                <a:solidFill>
                  <a:schemeClr val="accent3"/>
                </a:solidFill>
                <a:latin typeface="+mn-lt"/>
                <a:sym typeface="Delivery" panose="020F0503020204020204" pitchFamily="34" charset="0"/>
              </a:defRPr>
            </a:lvl1pPr>
          </a:lstStyle>
          <a:p>
            <a:pPr lvl="0"/>
            <a:r>
              <a:rPr lang="en-US" dirty="0"/>
              <a:t> .</a:t>
            </a:r>
          </a:p>
        </p:txBody>
      </p:sp>
    </p:spTree>
    <p:extLst>
      <p:ext uri="{BB962C8B-B14F-4D97-AF65-F5344CB8AC3E}">
        <p14:creationId xmlns:p14="http://schemas.microsoft.com/office/powerpoint/2010/main" val="41639161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0">
              <a:schemeClr val="accent3">
                <a:alpha val="30000"/>
              </a:schemeClr>
            </a:gs>
            <a:gs pos="87000">
              <a:schemeClr val="accent3"/>
            </a:gs>
          </a:gsLst>
          <a:lin ang="5400000" scaled="0"/>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1E37DCF8-0AA6-4A00-AF80-FA0105964F4D}"/>
              </a:ext>
            </a:extLst>
          </p:cNvPr>
          <p:cNvGraphicFramePr>
            <a:graphicFrameLocks noChangeAspect="1"/>
          </p:cNvGraphicFramePr>
          <p:nvPr>
            <p:custDataLst>
              <p:tags r:id="rId2"/>
            </p:custDataLst>
            <p:extLst>
              <p:ext uri="{D42A27DB-BD31-4B8C-83A1-F6EECF244321}">
                <p14:modId xmlns:p14="http://schemas.microsoft.com/office/powerpoint/2010/main" val="114593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0588" name="think-cell Folie" r:id="rId4" imgW="352" imgH="353" progId="TCLayout.ActiveDocument.1">
                  <p:embed/>
                </p:oleObj>
              </mc:Choice>
              <mc:Fallback>
                <p:oleObj name="think-cell Folie" r:id="rId4" imgW="352"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36"/>
          <p:cNvSpPr>
            <a:spLocks noGrp="1"/>
          </p:cNvSpPr>
          <p:nvPr>
            <p:ph type="title" hasCustomPrompt="1"/>
          </p:nvPr>
        </p:nvSpPr>
        <p:spPr bwMode="gray">
          <a:xfrm>
            <a:off x="414000" y="1681200"/>
            <a:ext cx="8316000" cy="748800"/>
          </a:xfrm>
          <a:prstGeom prst="rect">
            <a:avLst/>
          </a:prstGeom>
        </p:spPr>
        <p:txBody>
          <a:bodyPr wrap="none" lIns="0" tIns="0" rIns="0" bIns="0" anchor="t" anchorCtr="0"/>
          <a:lstStyle>
            <a:lvl1pPr>
              <a:lnSpc>
                <a:spcPts val="6000"/>
              </a:lnSpc>
              <a:defRPr sz="4200" cap="all" baseline="0">
                <a:solidFill>
                  <a:schemeClr val="tx1"/>
                </a:solidFill>
                <a:latin typeface="+mj-lt"/>
                <a:sym typeface="Delivery" panose="020F0503020204020204" pitchFamily="34" charset="0"/>
              </a:defRPr>
            </a:lvl1pPr>
          </a:lstStyle>
          <a:p>
            <a:r>
              <a:rPr lang="en-US" dirty="0"/>
              <a:t>Thank you</a:t>
            </a:r>
          </a:p>
        </p:txBody>
      </p:sp>
      <p:pic>
        <p:nvPicPr>
          <p:cNvPr id="5" name="Grafik 4">
            <a:extLst>
              <a:ext uri="{FF2B5EF4-FFF2-40B4-BE49-F238E27FC236}">
                <a16:creationId xmlns:a16="http://schemas.microsoft.com/office/drawing/2014/main" xmlns:v="urn:schemas-microsoft-com:vml" xmlns:mc="http://schemas.openxmlformats.org/markup-compatibility/2006" xmlns:p14="http://schemas.microsoft.com/office/powerpoint/2010/main" xmlns="" id="{D977EE44-9897-4CAC-8E20-C50351601318}"/>
              </a:ext>
            </a:extLst>
          </p:cNvPr>
          <p:cNvPicPr>
            <a:picLocks noChangeAspect="1"/>
          </p:cNvPicPr>
          <p:nvPr/>
        </p:nvPicPr>
        <p:blipFill>
          <a:blip r:embed="rId6"/>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39706489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full page gradient">
    <p:bg>
      <p:bgPr>
        <a:gradFill>
          <a:gsLst>
            <a:gs pos="0">
              <a:schemeClr val="accent3">
                <a:alpha val="30000"/>
              </a:schemeClr>
            </a:gs>
            <a:gs pos="87000">
              <a:schemeClr val="accent3"/>
            </a:gs>
          </a:gsLst>
          <a:lin ang="5400000" scaled="0"/>
        </a:gra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A7DEBA10-5B61-49BB-9EDD-2302B4F88DCA}"/>
              </a:ext>
            </a:extLst>
          </p:cNvPr>
          <p:cNvGraphicFramePr>
            <a:graphicFrameLocks noChangeAspect="1"/>
          </p:cNvGraphicFramePr>
          <p:nvPr>
            <p:custDataLst>
              <p:tags r:id="rId2"/>
            </p:custDataLst>
            <p:extLst>
              <p:ext uri="{D42A27DB-BD31-4B8C-83A1-F6EECF244321}">
                <p14:modId xmlns:p14="http://schemas.microsoft.com/office/powerpoint/2010/main" val="149294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5227"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AC42102C-31A6-4281-B7C0-89B1C0927FDA}"/>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6" name="Title 36"/>
          <p:cNvSpPr>
            <a:spLocks noGrp="1"/>
          </p:cNvSpPr>
          <p:nvPr>
            <p:ph type="title" hasCustomPrompt="1"/>
          </p:nvPr>
        </p:nvSpPr>
        <p:spPr bwMode="gray">
          <a:xfrm>
            <a:off x="414000" y="1155600"/>
            <a:ext cx="8316000" cy="1548000"/>
          </a:xfrm>
          <a:prstGeom prst="rect">
            <a:avLst/>
          </a:prstGeom>
        </p:spPr>
        <p:txBody>
          <a:bodyPr wrap="square" lIns="0" tIns="0" rIns="0" bIns="0" anchor="b" anchorCtr="0"/>
          <a:lstStyle>
            <a:lvl1pPr>
              <a:lnSpc>
                <a:spcPct val="90000"/>
              </a:lnSpc>
              <a:defRPr sz="4200" cap="all" baseline="0">
                <a:solidFill>
                  <a:schemeClr val="tx1"/>
                </a:solidFill>
                <a:latin typeface="+mj-lt"/>
                <a:sym typeface="Delivery" panose="020F0503020204020204" pitchFamily="34" charset="0"/>
              </a:defRPr>
            </a:lvl1pPr>
          </a:lstStyle>
          <a:p>
            <a:r>
              <a:rPr lang="en-US" dirty="0"/>
              <a:t>SAMPLE TITLE ONE OR</a:t>
            </a:r>
            <a:br>
              <a:rPr lang="en-US" dirty="0"/>
            </a:br>
            <a:r>
              <a:rPr lang="en-US" dirty="0"/>
              <a:t>TWO LINES, Delivery, 42 </a:t>
            </a:r>
            <a:r>
              <a:rPr lang="en-US" dirty="0" err="1"/>
              <a:t>pt</a:t>
            </a:r>
            <a:endParaRPr lang="en-US" dirty="0"/>
          </a:p>
        </p:txBody>
      </p:sp>
      <p:sp>
        <p:nvSpPr>
          <p:cNvPr id="4" name="meta-identifier"/>
          <p:cNvSpPr>
            <a:spLocks noGrp="1"/>
          </p:cNvSpPr>
          <p:nvPr>
            <p:ph type="body" sz="quarter" idx="4" hasCustomPrompt="1"/>
          </p:nvPr>
        </p:nvSpPr>
        <p:spPr bwMode="gray">
          <a:xfrm>
            <a:off x="414000" y="6328800"/>
            <a:ext cx="6048000" cy="187325"/>
          </a:xfrm>
          <a:prstGeom prst="rect">
            <a:avLst/>
          </a:prstGeom>
        </p:spPr>
        <p:txBody>
          <a:bodyPr lIns="0" tIns="0" rIns="0" bIns="0"/>
          <a:lstStyle>
            <a:lvl1pPr>
              <a:defRPr sz="1200" b="1">
                <a:latin typeface="+mn-lt"/>
                <a:sym typeface="Delivery" panose="020F0503020204020204" pitchFamily="34" charset="0"/>
              </a:defRPr>
            </a:lvl1pPr>
          </a:lstStyle>
          <a:p>
            <a:pPr lvl="0"/>
            <a:r>
              <a:rPr lang="en-US" dirty="0"/>
              <a:t>Business identifier</a:t>
            </a:r>
          </a:p>
        </p:txBody>
      </p:sp>
      <p:sp>
        <p:nvSpPr>
          <p:cNvPr id="2" name="meta-classification"/>
          <p:cNvSpPr>
            <a:spLocks noGrp="1"/>
          </p:cNvSpPr>
          <p:nvPr>
            <p:ph type="body" sz="quarter" idx="2" hasCustomPrompt="1"/>
          </p:nvPr>
        </p:nvSpPr>
        <p:spPr bwMode="gray">
          <a:xfrm>
            <a:off x="414000" y="0"/>
            <a:ext cx="2040623" cy="222108"/>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900" b="1" kern="0" cap="all" baseline="0" dirty="0" smtClean="0">
                <a:solidFill>
                  <a:schemeClr val="accent1"/>
                </a:solidFill>
                <a:latin typeface="+mn-lt"/>
                <a:ea typeface="+mn-ea"/>
                <a:cs typeface="Arial"/>
                <a:sym typeface="Delivery" panose="020F0503020204020204" pitchFamily="34" charset="0"/>
              </a:defRPr>
            </a:lvl1pPr>
          </a:lstStyle>
          <a:p>
            <a:r>
              <a:rPr lang="en-US" sz="900" b="1" dirty="0">
                <a:solidFill>
                  <a:schemeClr val="accent1"/>
                </a:solidFill>
              </a:rPr>
              <a:t>PLEASE INSERT CLASSIFICATION HERE</a:t>
            </a:r>
            <a:endParaRPr lang="en-US" sz="900" b="1" kern="0" cap="all" baseline="0" dirty="0">
              <a:solidFill>
                <a:schemeClr val="accent1"/>
              </a:solidFill>
              <a:cs typeface="Arial"/>
            </a:endParaRPr>
          </a:p>
        </p:txBody>
      </p:sp>
      <p:sp>
        <p:nvSpPr>
          <p:cNvPr id="3" name="meta-project"/>
          <p:cNvSpPr>
            <a:spLocks noGrp="1"/>
          </p:cNvSpPr>
          <p:nvPr>
            <p:ph type="body" sz="quarter" idx="3" hasCustomPrompt="1"/>
          </p:nvPr>
        </p:nvSpPr>
        <p:spPr>
          <a:xfrm>
            <a:off x="414000" y="3105712"/>
            <a:ext cx="8316000" cy="514738"/>
          </a:xfrm>
          <a:noFill/>
          <a:ln w="9525" cap="flat" cmpd="sng" algn="ctr">
            <a:noFill/>
            <a:prstDash val="solid"/>
            <a:round/>
            <a:headEnd type="none" w="med" len="med"/>
            <a:tailEnd type="none" w="med" len="med"/>
          </a:ln>
          <a:effectLst/>
        </p:spPr>
        <p:txBody>
          <a:bodyPr vert="horz" wrap="square" lIns="0" tIns="14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sym typeface="Delivery" panose="020F0503020204020204" pitchFamily="34" charset="0"/>
              </a:defRPr>
            </a:lvl1pPr>
            <a:lvl2pPr>
              <a:spcAft>
                <a:spcPts val="1600"/>
              </a:spcAft>
              <a:defRPr sz="2000" b="0" baseline="0"/>
            </a:lvl2pPr>
          </a:lstStyle>
          <a:p>
            <a:r>
              <a:rPr lang="en-US" dirty="0"/>
              <a:t>Name of the event or project or presenter, Delivery, 12 </a:t>
            </a:r>
            <a:r>
              <a:rPr lang="en-US" dirty="0" err="1"/>
              <a:t>pt</a:t>
            </a:r>
            <a:r>
              <a:rPr lang="en-US" dirty="0"/>
              <a:t/>
            </a:r>
            <a:br>
              <a:rPr lang="en-US" dirty="0"/>
            </a:br>
            <a:r>
              <a:rPr lang="en-US" dirty="0"/>
              <a:t>Location, ## Month ####</a:t>
            </a:r>
          </a:p>
        </p:txBody>
      </p:sp>
      <p:sp>
        <p:nvSpPr>
          <p:cNvPr id="5" name="meta-subline"/>
          <p:cNvSpPr>
            <a:spLocks noGrp="1"/>
          </p:cNvSpPr>
          <p:nvPr>
            <p:ph type="body" sz="quarter" idx="5" hasCustomPrompt="1"/>
          </p:nvPr>
        </p:nvSpPr>
        <p:spPr>
          <a:xfrm>
            <a:off x="414000" y="2703511"/>
            <a:ext cx="8316000" cy="402291"/>
          </a:xfrm>
          <a:noFill/>
          <a:ln w="9525" cap="flat" cmpd="sng" algn="ctr">
            <a:noFill/>
            <a:prstDash val="solid"/>
            <a:round/>
            <a:headEnd type="none" w="med" len="med"/>
            <a:tailEnd type="none" w="med" len="med"/>
          </a:ln>
          <a:effectLst/>
        </p:spPr>
        <p:txBody>
          <a:bodyPr vert="horz" wrap="square" lIns="0" tIns="46800" rIns="0" bIns="468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2000">
                <a:latin typeface="+mn-lt"/>
                <a:sym typeface="Delivery" panose="020F0503020204020204" pitchFamily="34" charset="0"/>
              </a:defRPr>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dirty="0"/>
              <a:t>Subline in one or two lines, Delivery, 20 </a:t>
            </a:r>
            <a:r>
              <a:rPr lang="en-US" dirty="0" err="1"/>
              <a:t>pt</a:t>
            </a:r>
            <a:endParaRPr lang="en-US" dirty="0"/>
          </a:p>
        </p:txBody>
      </p:sp>
      <p:pic>
        <p:nvPicPr>
          <p:cNvPr id="10" name="Grafik 9">
            <a:extLst>
              <a:ext uri="{FF2B5EF4-FFF2-40B4-BE49-F238E27FC236}">
                <a16:creationId xmlns:a16="http://schemas.microsoft.com/office/drawing/2014/main" xmlns:v="urn:schemas-microsoft-com:vml" xmlns:mc="http://schemas.openxmlformats.org/markup-compatibility/2006" xmlns:p14="http://schemas.microsoft.com/office/powerpoint/2010/main" xmlns="" id="{8D8ECD4E-3CE4-4D5A-A65C-7CFDAB6936FD}"/>
              </a:ext>
            </a:extLst>
          </p:cNvPr>
          <p:cNvPicPr>
            <a:picLocks noChangeAspect="1"/>
          </p:cNvPicPr>
          <p:nvPr/>
        </p:nvPicPr>
        <p:blipFill>
          <a:blip r:embed="rId7"/>
          <a:stretch>
            <a:fillRect/>
          </a:stretch>
        </p:blipFill>
        <p:spPr>
          <a:xfrm>
            <a:off x="6941120" y="6093358"/>
            <a:ext cx="1807629" cy="452208"/>
          </a:xfrm>
          <a:prstGeom prst="rect">
            <a:avLst/>
          </a:prstGeom>
        </p:spPr>
      </p:pic>
    </p:spTree>
    <p:extLst>
      <p:ext uri="{BB962C8B-B14F-4D97-AF65-F5344CB8AC3E}">
        <p14:creationId xmlns:p14="http://schemas.microsoft.com/office/powerpoint/2010/main" val="1998014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picture, gradient bottom">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p15="http://schemas.microsoft.com/office/powerpoint/2012/main" xmlns:v="urn:schemas-microsoft-com:vml" xmlns:mc="http://schemas.openxmlformats.org/markup-compatibility/2006" xmlns:p14="http://schemas.microsoft.com/office/powerpoint/2010/main" xmlns="" id="{70DAE2D7-0314-4061-B789-03FE6B73FF02}"/>
              </a:ext>
            </a:extLst>
          </p:cNvPr>
          <p:cNvGraphicFramePr>
            <a:graphicFrameLocks noChangeAspect="1"/>
          </p:cNvGraphicFramePr>
          <p:nvPr>
            <p:custDataLst>
              <p:tags r:id="rId2"/>
            </p:custDataLst>
            <p:extLst>
              <p:ext uri="{D42A27DB-BD31-4B8C-83A1-F6EECF244321}">
                <p14:modId xmlns:p14="http://schemas.microsoft.com/office/powerpoint/2010/main" val="1534280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6255"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p15="http://schemas.microsoft.com/office/powerpoint/2012/main" xmlns:v="urn:schemas-microsoft-com:vml" xmlns:mc="http://schemas.openxmlformats.org/markup-compatibility/2006" xmlns:p14="http://schemas.microsoft.com/office/powerpoint/2010/main" xmlns="" id="{DEF03192-F5CC-497B-BF46-E4B91EDDBEDE}"/>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8" name="Picture Placeholder 33"/>
          <p:cNvSpPr>
            <a:spLocks noGrp="1"/>
          </p:cNvSpPr>
          <p:nvPr>
            <p:ph type="pic" sz="quarter" idx="12"/>
          </p:nvPr>
        </p:nvSpPr>
        <p:spPr bwMode="white">
          <a:xfrm>
            <a:off x="0" y="0"/>
            <a:ext cx="9144000" cy="6858000"/>
          </a:xfrm>
          <a:prstGeom prst="rect">
            <a:avLst/>
          </a:prstGeom>
          <a:solidFill>
            <a:schemeClr val="tx2"/>
          </a:solidFill>
        </p:spPr>
        <p:txBody>
          <a:bodyPr tIns="540000" anchor="ctr" anchorCtr="0"/>
          <a:lstStyle>
            <a:lvl1pPr algn="ctr">
              <a:defRPr>
                <a:latin typeface="+mn-lt"/>
                <a:sym typeface="Delivery" panose="020F0503020204020204" pitchFamily="34" charset="0"/>
              </a:defRPr>
            </a:lvl1pPr>
          </a:lstStyle>
          <a:p>
            <a:r>
              <a:rPr lang="de-DE" smtClean="0"/>
              <a:t>Bild durch Klicken auf Symbol hinzufügen</a:t>
            </a:r>
            <a:endParaRPr lang="en-US" dirty="0"/>
          </a:p>
        </p:txBody>
      </p:sp>
      <p:sp>
        <p:nvSpPr>
          <p:cNvPr id="31" name="Text Placeholder 30"/>
          <p:cNvSpPr>
            <a:spLocks noGrp="1"/>
          </p:cNvSpPr>
          <p:nvPr>
            <p:ph type="body" sz="quarter" idx="11" hasCustomPrompt="1"/>
          </p:nvPr>
        </p:nvSpPr>
        <p:spPr bwMode="hidden">
          <a:xfrm>
            <a:off x="180000" y="5950800"/>
            <a:ext cx="8784000" cy="720000"/>
          </a:xfrm>
          <a:prstGeom prst="rect">
            <a:avLst/>
          </a:prstGeom>
          <a:gradFill>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gradFill>
        </p:spPr>
        <p:txBody>
          <a:bodyPr anchor="b" anchorCtr="0"/>
          <a:lstStyle>
            <a:lvl1pPr>
              <a:defRPr sz="100">
                <a:solidFill>
                  <a:schemeClr val="accent3"/>
                </a:solidFill>
                <a:latin typeface="+mn-lt"/>
                <a:sym typeface="Delivery" panose="020F0503020204020204" pitchFamily="34" charset="0"/>
              </a:defRPr>
            </a:lvl1pPr>
          </a:lstStyle>
          <a:p>
            <a:pPr lvl="0"/>
            <a:r>
              <a:rPr lang="en-US" dirty="0" err="1"/>
              <a:t>Textmasterformat</a:t>
            </a:r>
            <a:r>
              <a:rPr lang="en-US" dirty="0"/>
              <a:t> </a:t>
            </a:r>
            <a:r>
              <a:rPr lang="en-US" dirty="0" err="1"/>
              <a:t>bearbeiten</a:t>
            </a:r>
            <a:endParaRPr lang="en-US" dirty="0"/>
          </a:p>
        </p:txBody>
      </p:sp>
      <p:sp>
        <p:nvSpPr>
          <p:cNvPr id="37" name="Title 36"/>
          <p:cNvSpPr>
            <a:spLocks noGrp="1"/>
          </p:cNvSpPr>
          <p:nvPr>
            <p:ph type="title" hasCustomPrompt="1"/>
          </p:nvPr>
        </p:nvSpPr>
        <p:spPr bwMode="gray">
          <a:xfrm>
            <a:off x="414000" y="990000"/>
            <a:ext cx="6253200" cy="2023200"/>
          </a:xfrm>
          <a:prstGeom prst="rect">
            <a:avLst/>
          </a:prstGeom>
        </p:spPr>
        <p:txBody>
          <a:bodyPr wrap="square" lIns="0" tIns="0" rIns="0" bIns="0" anchor="t" anchorCtr="0"/>
          <a:lstStyle>
            <a:lvl1pPr>
              <a:lnSpc>
                <a:spcPct val="90000"/>
              </a:lnSpc>
              <a:defRPr sz="4200" cap="all" baseline="0">
                <a:solidFill>
                  <a:schemeClr val="tx1"/>
                </a:solidFill>
                <a:latin typeface="+mj-lt"/>
                <a:sym typeface="Delivery" panose="020F0503020204020204" pitchFamily="34" charset="0"/>
              </a:defRPr>
            </a:lvl1pPr>
          </a:lstStyle>
          <a:p>
            <a:r>
              <a:rPr lang="en-US" dirty="0"/>
              <a:t>section divider with image, Delivery, 42 pt</a:t>
            </a:r>
          </a:p>
        </p:txBody>
      </p:sp>
      <p:sp>
        <p:nvSpPr>
          <p:cNvPr id="10" name="Footer Placeholder 2"/>
          <p:cNvSpPr>
            <a:spLocks noGrp="1"/>
          </p:cNvSpPr>
          <p:nvPr>
            <p:ph type="ftr" sz="quarter" idx="31"/>
          </p:nvPr>
        </p:nvSpPr>
        <p:spPr bwMode="gray">
          <a:xfrm>
            <a:off x="2143568"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sp>
        <p:nvSpPr>
          <p:cNvPr id="22" name="Foliennummernplatzhalter 23"/>
          <p:cNvSpPr>
            <a:spLocks noGrp="1"/>
          </p:cNvSpPr>
          <p:nvPr>
            <p:ph type="sldNum" sz="quarter" idx="4"/>
          </p:nvPr>
        </p:nvSpPr>
        <p:spPr bwMode="gray">
          <a:xfrm>
            <a:off x="8369985"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lvl1pPr marL="0" marR="0" indent="0" algn="r" defTabSz="995363" rtl="0" eaLnBrk="0" fontAlgn="base" latinLnBrk="0" hangingPunct="0">
              <a:lnSpc>
                <a:spcPct val="100000"/>
              </a:lnSpc>
              <a:spcBef>
                <a:spcPct val="0"/>
              </a:spcBef>
              <a:spcAft>
                <a:spcPct val="0"/>
              </a:spcAft>
              <a:buClrTx/>
              <a:buSzTx/>
              <a:buFontTx/>
              <a:buNone/>
              <a:tabLst/>
              <a:defRPr kumimoji="0" lang="en-US" sz="1000" b="0" i="0" u="none" strike="noStrike" kern="1200" cap="none" normalizeH="0" baseline="0" smtClean="0">
                <a:ln>
                  <a:noFill/>
                </a:ln>
                <a:solidFill>
                  <a:schemeClr val="tx1"/>
                </a:solidFill>
                <a:effectLst/>
                <a:latin typeface="+mn-lt"/>
                <a:ea typeface="+mn-ea"/>
                <a:cs typeface="+mn-cs"/>
                <a:sym typeface="Delivery" panose="020F0503020204020204" pitchFamily="34" charset="0"/>
              </a:defRPr>
            </a:lvl1pPr>
          </a:lstStyle>
          <a:p>
            <a:fld id="{31BFEC3E-84CF-48ED-9C8C-36C748C4BEDF}" type="slidenum">
              <a:rPr lang="de-DE" smtClean="0"/>
              <a:pPr/>
              <a:t>‹Nr.›</a:t>
            </a:fld>
            <a:endParaRPr lang="de-DE" dirty="0"/>
          </a:p>
        </p:txBody>
      </p:sp>
      <p:sp>
        <p:nvSpPr>
          <p:cNvPr id="12" name="meta-classification"/>
          <p:cNvSpPr>
            <a:spLocks noGrp="1"/>
          </p:cNvSpPr>
          <p:nvPr>
            <p:ph type="body" sz="quarter" idx="19" hasCustomPrompt="1"/>
          </p:nvPr>
        </p:nvSpPr>
        <p:spPr bwMode="gray">
          <a:xfrm>
            <a:off x="414000" y="0"/>
            <a:ext cx="2040623" cy="222108"/>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900" b="1" kern="0" cap="all" baseline="0" dirty="0" smtClean="0">
                <a:solidFill>
                  <a:schemeClr val="accent1"/>
                </a:solidFill>
                <a:latin typeface="+mn-lt"/>
                <a:ea typeface="+mn-ea"/>
                <a:cs typeface="Arial"/>
                <a:sym typeface="Delivery" panose="020F0503020204020204" pitchFamily="34" charset="0"/>
              </a:defRPr>
            </a:lvl1pPr>
          </a:lstStyle>
          <a:p>
            <a:r>
              <a:rPr lang="en-US" sz="900" b="1" dirty="0">
                <a:solidFill>
                  <a:schemeClr val="accent1"/>
                </a:solidFill>
              </a:rPr>
              <a:t>PLEASE INSERT CLASSIFICATION HERE</a:t>
            </a:r>
            <a:endParaRPr lang="en-US" sz="900" b="1" kern="0" cap="all" baseline="0" dirty="0">
              <a:solidFill>
                <a:schemeClr val="accent1"/>
              </a:solidFill>
              <a:cs typeface="Arial"/>
            </a:endParaRPr>
          </a:p>
        </p:txBody>
      </p:sp>
      <p:sp>
        <p:nvSpPr>
          <p:cNvPr id="13" name="Text Placeholder 27">
            <a:extLst>
              <a:ext uri="{FF2B5EF4-FFF2-40B4-BE49-F238E27FC236}">
                <a16:creationId xmlns:a16="http://schemas.microsoft.com/office/drawing/2014/main" xmlns:p15="http://schemas.microsoft.com/office/powerpoint/2012/main" xmlns:v="urn:schemas-microsoft-com:vml" xmlns:mc="http://schemas.openxmlformats.org/markup-compatibility/2006" xmlns:p14="http://schemas.microsoft.com/office/powerpoint/2010/main" xmlns="" id="{5ECB3103-C79A-4545-AA30-DDEABCDEE71F}"/>
              </a:ext>
            </a:extLst>
          </p:cNvPr>
          <p:cNvSpPr>
            <a:spLocks noGrp="1"/>
          </p:cNvSpPr>
          <p:nvPr>
            <p:ph type="body" sz="quarter" idx="21" hasCustomPrompt="1"/>
          </p:nvPr>
        </p:nvSpPr>
        <p:spPr>
          <a:xfrm>
            <a:off x="404476" y="6263060"/>
            <a:ext cx="1177200" cy="298800"/>
          </a:xfrm>
          <a:blipFill>
            <a:blip r:embed="rId7"/>
            <a:stretch>
              <a:fillRect/>
            </a:stretch>
          </a:blipFill>
        </p:spPr>
        <p:txBody>
          <a:bodyPr/>
          <a:lstStyle>
            <a:lvl1pPr>
              <a:defRPr>
                <a:latin typeface="+mn-lt"/>
              </a:defRPr>
            </a:lvl1pPr>
          </a:lstStyle>
          <a:p>
            <a:pPr lvl="0"/>
            <a:r>
              <a:rPr lang="en-US" dirty="0"/>
              <a:t> </a:t>
            </a:r>
          </a:p>
        </p:txBody>
      </p:sp>
    </p:spTree>
    <p:extLst>
      <p:ext uri="{BB962C8B-B14F-4D97-AF65-F5344CB8AC3E}">
        <p14:creationId xmlns:p14="http://schemas.microsoft.com/office/powerpoint/2010/main" val="3963030094"/>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picture, gradient top">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D89DFB28-542B-48C9-A973-FCC731E19809}"/>
              </a:ext>
            </a:extLst>
          </p:cNvPr>
          <p:cNvGraphicFramePr>
            <a:graphicFrameLocks noChangeAspect="1"/>
          </p:cNvGraphicFramePr>
          <p:nvPr>
            <p:custDataLst>
              <p:tags r:id="rId2"/>
            </p:custDataLst>
            <p:extLst>
              <p:ext uri="{D42A27DB-BD31-4B8C-83A1-F6EECF244321}">
                <p14:modId xmlns:p14="http://schemas.microsoft.com/office/powerpoint/2010/main" val="2375346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7277"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572BE8E7-72D6-470C-A8E3-228B81C77FB9}"/>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8" name="Picture Placeholder 33"/>
          <p:cNvSpPr>
            <a:spLocks noGrp="1"/>
          </p:cNvSpPr>
          <p:nvPr>
            <p:ph type="pic" sz="quarter" idx="12"/>
          </p:nvPr>
        </p:nvSpPr>
        <p:spPr bwMode="white">
          <a:xfrm>
            <a:off x="0" y="0"/>
            <a:ext cx="9144000" cy="6858000"/>
          </a:xfrm>
          <a:prstGeom prst="rect">
            <a:avLst/>
          </a:prstGeom>
          <a:solidFill>
            <a:schemeClr val="tx2"/>
          </a:solidFill>
        </p:spPr>
        <p:txBody>
          <a:bodyPr tIns="540000" anchor="ctr" anchorCtr="0"/>
          <a:lstStyle>
            <a:lvl1pPr algn="ctr">
              <a:defRPr>
                <a:latin typeface="+mn-lt"/>
                <a:sym typeface="Delivery" panose="020F0503020204020204" pitchFamily="34" charset="0"/>
              </a:defRPr>
            </a:lvl1pPr>
          </a:lstStyle>
          <a:p>
            <a:r>
              <a:rPr lang="de-DE" smtClean="0"/>
              <a:t>Bild durch Klicken auf Symbol hinzufügen</a:t>
            </a:r>
            <a:endParaRPr lang="en-US" dirty="0"/>
          </a:p>
        </p:txBody>
      </p:sp>
      <p:sp>
        <p:nvSpPr>
          <p:cNvPr id="31" name="Text Placeholder 30"/>
          <p:cNvSpPr>
            <a:spLocks noGrp="1"/>
          </p:cNvSpPr>
          <p:nvPr>
            <p:ph type="body" sz="quarter" idx="11" hasCustomPrompt="1"/>
          </p:nvPr>
        </p:nvSpPr>
        <p:spPr bwMode="hidden">
          <a:xfrm rot="10800000">
            <a:off x="180001" y="180000"/>
            <a:ext cx="8784000" cy="720000"/>
          </a:xfrm>
          <a:prstGeom prst="rect">
            <a:avLst/>
          </a:prstGeom>
          <a:gradFill>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gradFill>
        </p:spPr>
        <p:txBody>
          <a:bodyPr anchor="b" anchorCtr="0"/>
          <a:lstStyle>
            <a:lvl1pPr>
              <a:defRPr sz="100">
                <a:solidFill>
                  <a:schemeClr val="accent3"/>
                </a:solidFill>
                <a:latin typeface="+mn-lt"/>
                <a:sym typeface="Delivery" panose="020F0503020204020204" pitchFamily="34" charset="0"/>
              </a:defRPr>
            </a:lvl1pPr>
          </a:lstStyle>
          <a:p>
            <a:pPr lvl="0"/>
            <a:r>
              <a:rPr lang="en-US" dirty="0" err="1"/>
              <a:t>Textmasterformat</a:t>
            </a:r>
            <a:r>
              <a:rPr lang="en-US" dirty="0"/>
              <a:t> </a:t>
            </a:r>
            <a:r>
              <a:rPr lang="en-US" dirty="0" err="1"/>
              <a:t>bearbeiten</a:t>
            </a:r>
            <a:endParaRPr lang="en-US" dirty="0"/>
          </a:p>
        </p:txBody>
      </p:sp>
      <p:sp>
        <p:nvSpPr>
          <p:cNvPr id="11" name="Title 36"/>
          <p:cNvSpPr>
            <a:spLocks noGrp="1"/>
          </p:cNvSpPr>
          <p:nvPr>
            <p:ph type="title" hasCustomPrompt="1"/>
          </p:nvPr>
        </p:nvSpPr>
        <p:spPr bwMode="invGray">
          <a:xfrm>
            <a:off x="414000" y="1414800"/>
            <a:ext cx="6253200" cy="2023200"/>
          </a:xfrm>
          <a:prstGeom prst="rect">
            <a:avLst/>
          </a:prstGeom>
        </p:spPr>
        <p:txBody>
          <a:bodyPr wrap="square" lIns="0" tIns="0" rIns="0" bIns="0" anchor="t" anchorCtr="0"/>
          <a:lstStyle>
            <a:lvl1pPr>
              <a:lnSpc>
                <a:spcPct val="90000"/>
              </a:lnSpc>
              <a:defRPr sz="4200" cap="all" baseline="0">
                <a:solidFill>
                  <a:schemeClr val="tx1"/>
                </a:solidFill>
                <a:latin typeface="+mj-lt"/>
                <a:sym typeface="Delivery" panose="020F0503020204020204" pitchFamily="34" charset="0"/>
              </a:defRPr>
            </a:lvl1pPr>
          </a:lstStyle>
          <a:p>
            <a:r>
              <a:rPr lang="en-US" dirty="0"/>
              <a:t>section divider with image, Delivery, 42 pt</a:t>
            </a:r>
          </a:p>
        </p:txBody>
      </p:sp>
      <p:sp>
        <p:nvSpPr>
          <p:cNvPr id="13" name="meta-classification"/>
          <p:cNvSpPr>
            <a:spLocks noGrp="1"/>
          </p:cNvSpPr>
          <p:nvPr>
            <p:ph type="body" sz="quarter" idx="20" hasCustomPrompt="1"/>
          </p:nvPr>
        </p:nvSpPr>
        <p:spPr bwMode="gray">
          <a:xfrm>
            <a:off x="414000" y="6253200"/>
            <a:ext cx="2040623" cy="222108"/>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900" b="1" kern="0" cap="all" baseline="0" dirty="0" smtClean="0">
                <a:solidFill>
                  <a:schemeClr val="accent1"/>
                </a:solidFill>
                <a:latin typeface="+mn-lt"/>
                <a:ea typeface="+mn-ea"/>
                <a:cs typeface="Arial"/>
                <a:sym typeface="Delivery" panose="020F0503020204020204" pitchFamily="34" charset="0"/>
              </a:defRPr>
            </a:lvl1pPr>
          </a:lstStyle>
          <a:p>
            <a:r>
              <a:rPr lang="en-US" sz="900" b="1" dirty="0">
                <a:solidFill>
                  <a:schemeClr val="accent1"/>
                </a:solidFill>
              </a:rPr>
              <a:t>PLEASE INSERT CLASSIFICATION HERE</a:t>
            </a:r>
            <a:endParaRPr lang="en-US" sz="900" b="1" kern="0" cap="all" baseline="0" dirty="0">
              <a:solidFill>
                <a:schemeClr val="accent1"/>
              </a:solidFill>
              <a:cs typeface="Arial"/>
            </a:endParaRPr>
          </a:p>
        </p:txBody>
      </p:sp>
      <p:sp>
        <p:nvSpPr>
          <p:cNvPr id="9" name="Text Placeholder 27">
            <a:extLst>
              <a:ext uri="{FF2B5EF4-FFF2-40B4-BE49-F238E27FC236}">
                <a16:creationId xmlns:a16="http://schemas.microsoft.com/office/drawing/2014/main" xmlns:v="urn:schemas-microsoft-com:vml" xmlns:mc="http://schemas.openxmlformats.org/markup-compatibility/2006" xmlns:p14="http://schemas.microsoft.com/office/powerpoint/2010/main" xmlns="" id="{D3756BE6-90E4-4D82-B015-BEADF2346196}"/>
              </a:ext>
            </a:extLst>
          </p:cNvPr>
          <p:cNvSpPr>
            <a:spLocks noGrp="1"/>
          </p:cNvSpPr>
          <p:nvPr>
            <p:ph type="body" sz="quarter" idx="21" hasCustomPrompt="1"/>
          </p:nvPr>
        </p:nvSpPr>
        <p:spPr>
          <a:xfrm>
            <a:off x="411619" y="303629"/>
            <a:ext cx="1177200" cy="298800"/>
          </a:xfrm>
          <a:blipFill>
            <a:blip r:embed="rId7"/>
            <a:stretch>
              <a:fillRect/>
            </a:stretch>
          </a:blipFill>
        </p:spPr>
        <p:txBody>
          <a:bodyPr/>
          <a:lstStyle>
            <a:lvl1pPr>
              <a:defRPr>
                <a:latin typeface="+mn-lt"/>
              </a:defRPr>
            </a:lvl1pPr>
          </a:lstStyle>
          <a:p>
            <a:pPr lvl="0"/>
            <a:r>
              <a:rPr lang="en-US" dirty="0"/>
              <a:t> </a:t>
            </a:r>
          </a:p>
        </p:txBody>
      </p:sp>
    </p:spTree>
    <p:extLst>
      <p:ext uri="{BB962C8B-B14F-4D97-AF65-F5344CB8AC3E}">
        <p14:creationId xmlns:p14="http://schemas.microsoft.com/office/powerpoint/2010/main" val="429698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a:gsLst>
            <a:gs pos="0">
              <a:schemeClr val="accent3">
                <a:alpha val="30000"/>
              </a:schemeClr>
            </a:gs>
            <a:gs pos="87000">
              <a:schemeClr val="accent3"/>
            </a:gs>
          </a:gsLst>
          <a:lin ang="5400000" scaled="0"/>
        </a:gra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p15="http://schemas.microsoft.com/office/powerpoint/2012/main" xmlns:v="urn:schemas-microsoft-com:vml" xmlns:mc="http://schemas.openxmlformats.org/markup-compatibility/2006" xmlns:p14="http://schemas.microsoft.com/office/powerpoint/2010/main" xmlns="" id="{67C98DA3-3D48-4913-818B-EF3E4744624B}"/>
              </a:ext>
            </a:extLst>
          </p:cNvPr>
          <p:cNvGraphicFramePr>
            <a:graphicFrameLocks noChangeAspect="1"/>
          </p:cNvGraphicFramePr>
          <p:nvPr>
            <p:custDataLst>
              <p:tags r:id="rId2"/>
            </p:custDataLst>
            <p:extLst>
              <p:ext uri="{D42A27DB-BD31-4B8C-83A1-F6EECF244321}">
                <p14:modId xmlns:p14="http://schemas.microsoft.com/office/powerpoint/2010/main" val="3083103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302"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p15="http://schemas.microsoft.com/office/powerpoint/2012/main" xmlns:v="urn:schemas-microsoft-com:vml" xmlns:mc="http://schemas.openxmlformats.org/markup-compatibility/2006" xmlns:p14="http://schemas.microsoft.com/office/powerpoint/2010/main" xmlns="" id="{A850D0FC-08D3-4053-842F-29CD4B4FF56D}"/>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42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9" name="Title 36"/>
          <p:cNvSpPr>
            <a:spLocks noGrp="1"/>
          </p:cNvSpPr>
          <p:nvPr>
            <p:ph type="title" hasCustomPrompt="1"/>
          </p:nvPr>
        </p:nvSpPr>
        <p:spPr bwMode="gray">
          <a:xfrm>
            <a:off x="414000" y="1728000"/>
            <a:ext cx="8262000" cy="2023200"/>
          </a:xfrm>
          <a:prstGeom prst="rect">
            <a:avLst/>
          </a:prstGeom>
        </p:spPr>
        <p:txBody>
          <a:bodyPr wrap="square" lIns="0" tIns="0" rIns="0" bIns="0" anchor="t" anchorCtr="0"/>
          <a:lstStyle>
            <a:lvl1pPr>
              <a:lnSpc>
                <a:spcPct val="90000"/>
              </a:lnSpc>
              <a:defRPr sz="4200" cap="all" baseline="0">
                <a:solidFill>
                  <a:schemeClr val="tx1"/>
                </a:solidFill>
                <a:latin typeface="+mj-lt"/>
                <a:sym typeface="Delivery" panose="020F0503020204020204" pitchFamily="34" charset="0"/>
              </a:defRPr>
            </a:lvl1pPr>
          </a:lstStyle>
          <a:p>
            <a:r>
              <a:rPr lang="en-US" dirty="0"/>
              <a:t>section divider with Gradient, Delivery, 42 pt</a:t>
            </a:r>
          </a:p>
        </p:txBody>
      </p:sp>
      <p:sp>
        <p:nvSpPr>
          <p:cNvPr id="6" name="Rechteck 8"/>
          <p:cNvSpPr/>
          <p:nvPr/>
        </p:nvSpPr>
        <p:spPr bwMode="gray">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
        <p:nvSpPr>
          <p:cNvPr id="7" name="Footer Placeholder 2"/>
          <p:cNvSpPr>
            <a:spLocks noGrp="1"/>
          </p:cNvSpPr>
          <p:nvPr>
            <p:ph type="ftr" sz="quarter" idx="31"/>
          </p:nvPr>
        </p:nvSpPr>
        <p:spPr bwMode="gray">
          <a:xfrm>
            <a:off x="2142000"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pic>
        <p:nvPicPr>
          <p:cNvPr id="5" name="Grafik 4">
            <a:extLst>
              <a:ext uri="{FF2B5EF4-FFF2-40B4-BE49-F238E27FC236}">
                <a16:creationId xmlns:a16="http://schemas.microsoft.com/office/drawing/2014/main" xmlns:p15="http://schemas.microsoft.com/office/powerpoint/2012/main" xmlns:v="urn:schemas-microsoft-com:vml" xmlns:mc="http://schemas.openxmlformats.org/markup-compatibility/2006" xmlns:p14="http://schemas.microsoft.com/office/powerpoint/2010/main" xmlns="" id="{41E405D1-EC19-427D-98A5-2B31E9745277}"/>
              </a:ext>
            </a:extLst>
          </p:cNvPr>
          <p:cNvPicPr>
            <a:picLocks noChangeAspect="1"/>
          </p:cNvPicPr>
          <p:nvPr/>
        </p:nvPicPr>
        <p:blipFill>
          <a:blip r:embed="rId7"/>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196742224"/>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DEC00FFA-6F21-4E34-8DDB-FDAC7788AECE}"/>
              </a:ext>
            </a:extLst>
          </p:cNvPr>
          <p:cNvGraphicFramePr>
            <a:graphicFrameLocks noChangeAspect="1"/>
          </p:cNvGraphicFramePr>
          <p:nvPr>
            <p:custDataLst>
              <p:tags r:id="rId2"/>
            </p:custDataLst>
            <p:extLst>
              <p:ext uri="{D42A27DB-BD31-4B8C-83A1-F6EECF244321}">
                <p14:modId xmlns:p14="http://schemas.microsoft.com/office/powerpoint/2010/main" val="1637389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9325"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C865D75F-7C04-49FB-8B1D-978B842826F9}"/>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11" name="Rechteck 11"/>
          <p:cNvSpPr/>
          <p:nvPr/>
        </p:nvSpPr>
        <p:spPr bwMode="hidden">
          <a:xfrm>
            <a:off x="179388" y="5952326"/>
            <a:ext cx="8784000" cy="720000"/>
          </a:xfrm>
          <a:prstGeom prst="rect">
            <a:avLst/>
          </a:prstGeom>
          <a:gradFill flip="none" rotWithShape="1">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sym typeface="Delivery" panose="020F0503020204020204" pitchFamily="34" charset="0"/>
            </a:endParaRPr>
          </a:p>
        </p:txBody>
      </p:sp>
      <p:sp>
        <p:nvSpPr>
          <p:cNvPr id="33" name="Rechteck 8"/>
          <p:cNvSpPr/>
          <p:nvPr/>
        </p:nvSpPr>
        <p:spPr bwMode="gray">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
        <p:nvSpPr>
          <p:cNvPr id="34" name="Footer Placeholder 2"/>
          <p:cNvSpPr>
            <a:spLocks noGrp="1"/>
          </p:cNvSpPr>
          <p:nvPr>
            <p:ph type="ftr" sz="quarter" idx="31"/>
          </p:nvPr>
        </p:nvSpPr>
        <p:spPr bwMode="gray">
          <a:xfrm>
            <a:off x="2142000"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sp>
        <p:nvSpPr>
          <p:cNvPr id="29" name="Text Placeholder 9"/>
          <p:cNvSpPr>
            <a:spLocks noGrp="1"/>
          </p:cNvSpPr>
          <p:nvPr>
            <p:ph type="body" sz="quarter" idx="32" hasCustomPrompt="1"/>
          </p:nvPr>
        </p:nvSpPr>
        <p:spPr bwMode="gray">
          <a:xfrm>
            <a:off x="414000" y="1249200"/>
            <a:ext cx="4050000" cy="4755600"/>
          </a:xfrm>
          <a:prstGeom prst="rect">
            <a:avLst/>
          </a:prstGeom>
        </p:spPr>
        <p:txBody>
          <a:bodyPr lIns="0" tIns="0" rIns="0" bIns="0"/>
          <a:lstStyle>
            <a:lvl1pPr marL="270000" marR="0" indent="-270000" algn="l" defTabSz="914400" rtl="0" eaLnBrk="1" fontAlgn="auto" latinLnBrk="0" hangingPunct="1">
              <a:lnSpc>
                <a:spcPct val="100000"/>
              </a:lnSpc>
              <a:spcBef>
                <a:spcPts val="1400"/>
              </a:spcBef>
              <a:spcAft>
                <a:spcPts val="0"/>
              </a:spcAft>
              <a:buClrTx/>
              <a:buSzTx/>
              <a:buFont typeface="Arial" pitchFamily="34" charset="0"/>
              <a:buAutoNum type="arabicPlain"/>
              <a:tabLst/>
              <a:defRPr sz="1400" b="1" baseline="0">
                <a:latin typeface="+mn-lt"/>
                <a:sym typeface="Delivery" panose="020F0503020204020204" pitchFamily="34" charset="0"/>
              </a:defRPr>
            </a:lvl1pPr>
            <a:lvl2pPr marL="270000" marR="0" indent="0" algn="l" defTabSz="914400" rtl="0" eaLnBrk="1" fontAlgn="auto" latinLnBrk="0" hangingPunct="1">
              <a:lnSpc>
                <a:spcPct val="100000"/>
              </a:lnSpc>
              <a:spcBef>
                <a:spcPts val="0"/>
              </a:spcBef>
              <a:spcAft>
                <a:spcPts val="500"/>
              </a:spcAft>
              <a:buClrTx/>
              <a:buSzTx/>
              <a:buFont typeface="Arial" pitchFamily="34" charset="0"/>
              <a:buNone/>
              <a:tabLst/>
              <a:defRPr sz="1400" b="0">
                <a:latin typeface="+mn-lt"/>
                <a:sym typeface="Delivery" panose="020F0503020204020204" pitchFamily="34" charset="0"/>
              </a:defRPr>
            </a:lvl2pPr>
            <a:lvl3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a:lvl3pPr>
            <a:lvl4pPr marL="360000" marR="0" indent="-180000" algn="l" defTabSz="914400" rtl="0" eaLnBrk="1" fontAlgn="auto" latinLnBrk="0" hangingPunct="1">
              <a:lnSpc>
                <a:spcPct val="110000"/>
              </a:lnSpc>
              <a:spcBef>
                <a:spcPts val="0"/>
              </a:spcBef>
              <a:spcAft>
                <a:spcPts val="500"/>
              </a:spcAft>
              <a:buClrTx/>
              <a:buSzTx/>
              <a:buFont typeface="Symbol" pitchFamily="18" charset="2"/>
              <a:buChar char="-"/>
              <a:tabLst/>
              <a:defRPr/>
            </a:lvl4pPr>
            <a:lvl5pPr marL="533400" marR="0" indent="-174625" algn="l" defTabSz="914400" rtl="0" eaLnBrk="1" fontAlgn="auto" latinLnBrk="0" hangingPunct="1">
              <a:lnSpc>
                <a:spcPct val="110000"/>
              </a:lnSpc>
              <a:spcBef>
                <a:spcPts val="0"/>
              </a:spcBef>
              <a:spcAft>
                <a:spcPts val="500"/>
              </a:spcAft>
              <a:buClrTx/>
              <a:buSzTx/>
              <a:buFont typeface="Symbol" charset="2"/>
              <a:buChar char="-"/>
              <a:tabLst/>
              <a:defRPr/>
            </a:lvl5pPr>
          </a:lstStyle>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p:txBody>
      </p:sp>
      <p:sp>
        <p:nvSpPr>
          <p:cNvPr id="32" name="Text Placeholder 9"/>
          <p:cNvSpPr>
            <a:spLocks noGrp="1"/>
          </p:cNvSpPr>
          <p:nvPr>
            <p:ph type="body" sz="quarter" idx="33" hasCustomPrompt="1"/>
          </p:nvPr>
        </p:nvSpPr>
        <p:spPr bwMode="gray">
          <a:xfrm>
            <a:off x="4680000" y="1249200"/>
            <a:ext cx="4050000" cy="4755600"/>
          </a:xfrm>
          <a:prstGeom prst="rect">
            <a:avLst/>
          </a:prstGeom>
        </p:spPr>
        <p:txBody>
          <a:bodyPr lIns="0" tIns="0" rIns="0" bIns="0"/>
          <a:lstStyle>
            <a:lvl1pPr marL="266700" marR="0" indent="-266700" algn="l" defTabSz="914400" rtl="0" eaLnBrk="1" fontAlgn="auto" latinLnBrk="0" hangingPunct="1">
              <a:lnSpc>
                <a:spcPct val="100000"/>
              </a:lnSpc>
              <a:spcBef>
                <a:spcPts val="1400"/>
              </a:spcBef>
              <a:spcAft>
                <a:spcPts val="0"/>
              </a:spcAft>
              <a:buClrTx/>
              <a:buSzTx/>
              <a:buFont typeface="Wingdings" pitchFamily="2" charset="2"/>
              <a:buAutoNum type="arabicPlain" startAt="7"/>
              <a:tabLst/>
              <a:defRPr sz="1400" b="1" baseline="0">
                <a:latin typeface="+mn-lt"/>
                <a:sym typeface="Delivery" panose="020F0503020204020204" pitchFamily="34" charset="0"/>
              </a:defRPr>
            </a:lvl1pPr>
            <a:lvl2pPr marL="270000" marR="0" indent="0" algn="l" defTabSz="914400" rtl="0" eaLnBrk="1" fontAlgn="auto" latinLnBrk="0" hangingPunct="1">
              <a:lnSpc>
                <a:spcPct val="100000"/>
              </a:lnSpc>
              <a:spcBef>
                <a:spcPts val="0"/>
              </a:spcBef>
              <a:spcAft>
                <a:spcPts val="500"/>
              </a:spcAft>
              <a:buClrTx/>
              <a:buSzTx/>
              <a:buFont typeface="Arial" pitchFamily="34" charset="0"/>
              <a:buNone/>
              <a:tabLst/>
              <a:defRPr sz="1400" b="0">
                <a:latin typeface="+mn-lt"/>
                <a:sym typeface="Delivery" panose="020F0503020204020204" pitchFamily="34" charset="0"/>
              </a:defRPr>
            </a:lvl2pPr>
            <a:lvl3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a:lvl3pPr>
            <a:lvl4pPr marL="360000" marR="0" indent="-180000" algn="l" defTabSz="914400" rtl="0" eaLnBrk="1" fontAlgn="auto" latinLnBrk="0" hangingPunct="1">
              <a:lnSpc>
                <a:spcPct val="110000"/>
              </a:lnSpc>
              <a:spcBef>
                <a:spcPts val="0"/>
              </a:spcBef>
              <a:spcAft>
                <a:spcPts val="500"/>
              </a:spcAft>
              <a:buClrTx/>
              <a:buSzTx/>
              <a:buFont typeface="Symbol" pitchFamily="18" charset="2"/>
              <a:buChar char="-"/>
              <a:tabLst/>
              <a:defRPr/>
            </a:lvl4pPr>
            <a:lvl5pPr marL="533400" marR="0" indent="-174625" algn="l" defTabSz="914400" rtl="0" eaLnBrk="1" fontAlgn="auto" latinLnBrk="0" hangingPunct="1">
              <a:lnSpc>
                <a:spcPct val="110000"/>
              </a:lnSpc>
              <a:spcBef>
                <a:spcPts val="0"/>
              </a:spcBef>
              <a:spcAft>
                <a:spcPts val="500"/>
              </a:spcAft>
              <a:buClrTx/>
              <a:buSzTx/>
              <a:buFont typeface="Symbol" charset="2"/>
              <a:buChar char="-"/>
              <a:tabLst/>
              <a:defRPr/>
            </a:lvl5pPr>
          </a:lstStyle>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p:txBody>
      </p:sp>
      <p:cxnSp>
        <p:nvCxnSpPr>
          <p:cNvPr id="14" name="Straight Connector 10"/>
          <p:cNvCxnSpPr/>
          <p:nvPr/>
        </p:nvCxnSpPr>
        <p:spPr bwMode="gray">
          <a:xfrm>
            <a:off x="414000" y="1015200"/>
            <a:ext cx="8316000"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itle 11"/>
          <p:cNvSpPr>
            <a:spLocks noGrp="1"/>
          </p:cNvSpPr>
          <p:nvPr>
            <p:ph type="title"/>
          </p:nvPr>
        </p:nvSpPr>
        <p:spPr/>
        <p:txBody>
          <a:bodyPr/>
          <a:lstStyle>
            <a:lvl1pPr>
              <a:defRPr>
                <a:latin typeface="+mj-lt"/>
                <a:sym typeface="Delivery" panose="020F0503020204020204" pitchFamily="34" charset="0"/>
              </a:defRPr>
            </a:lvl1pPr>
          </a:lstStyle>
          <a:p>
            <a:r>
              <a:rPr lang="de-DE" smtClean="0"/>
              <a:t>Titelmasterformat durch Klicken bearbeiten</a:t>
            </a:r>
            <a:endParaRPr lang="en-US" dirty="0"/>
          </a:p>
        </p:txBody>
      </p:sp>
      <p:pic>
        <p:nvPicPr>
          <p:cNvPr id="15" name="Grafik 14">
            <a:extLst>
              <a:ext uri="{FF2B5EF4-FFF2-40B4-BE49-F238E27FC236}">
                <a16:creationId xmlns:a16="http://schemas.microsoft.com/office/drawing/2014/main" xmlns:v="urn:schemas-microsoft-com:vml" xmlns:mc="http://schemas.openxmlformats.org/markup-compatibility/2006" xmlns:p14="http://schemas.microsoft.com/office/powerpoint/2010/main" xmlns="" id="{9BCAFFB6-98EE-4CE4-9C72-3D37A4FB0E36}"/>
              </a:ext>
            </a:extLst>
          </p:cNvPr>
          <p:cNvPicPr>
            <a:picLocks noChangeAspect="1"/>
          </p:cNvPicPr>
          <p:nvPr/>
        </p:nvPicPr>
        <p:blipFill>
          <a:blip r:embed="rId7"/>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579059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1 column, 4 pictur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20428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7629" name="think-cell Folie" r:id="rId5" imgW="360" imgH="360" progId="TCLayout.ActiveDocument.1">
                  <p:embed/>
                </p:oleObj>
              </mc:Choice>
              <mc:Fallback>
                <p:oleObj name="think-cell Folie" r:id="rId5" imgW="360" imgH="360" progId="TCLayout.ActiveDocument.1">
                  <p:embed/>
                  <p:pic>
                    <p:nvPicPr>
                      <p:cNvPr id="0" name="Object 3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a:extLst>
              <a:ext uri="{FF2B5EF4-FFF2-40B4-BE49-F238E27FC236}">
                <a16:creationId xmlns:a16="http://schemas.microsoft.com/office/drawing/2014/main" xmlns:a14="http://schemas.microsoft.com/office/drawing/2010/main" xmlns:v="urn:schemas-microsoft-com:vml" xmlns:mc="http://schemas.openxmlformats.org/markup-compatibility/2006" xmlns:p14="http://schemas.microsoft.com/office/powerpoint/2010/main" xmlns="" id="{5BCB9259-AB92-4F5F-9BAC-50B313858B03}"/>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36" name="Rechteck 11"/>
          <p:cNvSpPr/>
          <p:nvPr/>
        </p:nvSpPr>
        <p:spPr bwMode="hidden">
          <a:xfrm>
            <a:off x="179388" y="5952326"/>
            <a:ext cx="8784000" cy="720000"/>
          </a:xfrm>
          <a:prstGeom prst="rect">
            <a:avLst/>
          </a:prstGeom>
          <a:gradFill flip="none" rotWithShape="1">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sym typeface="Delivery" panose="020F0503020204020204" pitchFamily="34" charset="0"/>
            </a:endParaRPr>
          </a:p>
        </p:txBody>
      </p:sp>
      <p:sp>
        <p:nvSpPr>
          <p:cNvPr id="10" name="Picture Placeholder 2"/>
          <p:cNvSpPr>
            <a:spLocks noGrp="1"/>
          </p:cNvSpPr>
          <p:nvPr>
            <p:ph type="pic" sz="quarter" idx="22"/>
          </p:nvPr>
        </p:nvSpPr>
        <p:spPr bwMode="ltGray">
          <a:xfrm>
            <a:off x="3815409" y="4732903"/>
            <a:ext cx="1549400" cy="1087438"/>
          </a:xfrm>
          <a:prstGeom prst="rect">
            <a:avLst/>
          </a:prstGeom>
          <a:solidFill>
            <a:schemeClr val="tx2"/>
          </a:solidFill>
        </p:spPr>
        <p:txBody>
          <a:bodyPr tIns="540000" anchor="ctr" anchorCtr="1"/>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atin typeface="+mn-lt"/>
                <a:sym typeface="Delivery" panose="020F0503020204020204" pitchFamily="34" charset="0"/>
              </a:defRPr>
            </a:lvl1pPr>
          </a:lstStyle>
          <a:p>
            <a:r>
              <a:rPr lang="de-DE" smtClean="0"/>
              <a:t>Bild durch Klicken auf Symbol hinzufügen</a:t>
            </a:r>
            <a:endParaRPr lang="en-US" dirty="0"/>
          </a:p>
        </p:txBody>
      </p:sp>
      <p:sp>
        <p:nvSpPr>
          <p:cNvPr id="11" name="Picture Placeholder 2"/>
          <p:cNvSpPr>
            <a:spLocks noGrp="1"/>
          </p:cNvSpPr>
          <p:nvPr>
            <p:ph type="pic" sz="quarter" idx="23"/>
          </p:nvPr>
        </p:nvSpPr>
        <p:spPr bwMode="ltGray">
          <a:xfrm>
            <a:off x="5499436" y="4732903"/>
            <a:ext cx="1549400" cy="1087438"/>
          </a:xfrm>
          <a:prstGeom prst="rect">
            <a:avLst/>
          </a:prstGeom>
          <a:solidFill>
            <a:schemeClr val="tx2"/>
          </a:solidFill>
        </p:spPr>
        <p:txBody>
          <a:bodyPr tIns="540000" anchor="ctr" anchorCtr="1"/>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atin typeface="+mn-lt"/>
                <a:sym typeface="Delivery" panose="020F0503020204020204" pitchFamily="34" charset="0"/>
              </a:defRPr>
            </a:lvl1pPr>
          </a:lstStyle>
          <a:p>
            <a:r>
              <a:rPr lang="de-DE" smtClean="0"/>
              <a:t>Bild durch Klicken auf Symbol hinzufügen</a:t>
            </a:r>
            <a:endParaRPr lang="en-US" dirty="0"/>
          </a:p>
        </p:txBody>
      </p:sp>
      <p:sp>
        <p:nvSpPr>
          <p:cNvPr id="13" name="Picture Placeholder 2"/>
          <p:cNvSpPr>
            <a:spLocks noGrp="1"/>
          </p:cNvSpPr>
          <p:nvPr>
            <p:ph type="pic" sz="quarter" idx="25"/>
          </p:nvPr>
        </p:nvSpPr>
        <p:spPr bwMode="ltGray">
          <a:xfrm>
            <a:off x="7183462" y="4732903"/>
            <a:ext cx="1549400" cy="1087438"/>
          </a:xfrm>
          <a:prstGeom prst="rect">
            <a:avLst/>
          </a:prstGeom>
          <a:solidFill>
            <a:schemeClr val="tx2"/>
          </a:solidFill>
        </p:spPr>
        <p:txBody>
          <a:bodyPr tIns="540000" anchor="ctr" anchorCtr="1"/>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atin typeface="+mn-lt"/>
                <a:sym typeface="Delivery" panose="020F0503020204020204" pitchFamily="34" charset="0"/>
              </a:defRPr>
            </a:lvl1pPr>
          </a:lstStyle>
          <a:p>
            <a:r>
              <a:rPr lang="de-DE" smtClean="0"/>
              <a:t>Bild durch Klicken auf Symbol hinzufügen</a:t>
            </a:r>
            <a:endParaRPr lang="en-US" dirty="0"/>
          </a:p>
        </p:txBody>
      </p:sp>
      <p:sp>
        <p:nvSpPr>
          <p:cNvPr id="17" name="Text Placeholder 14"/>
          <p:cNvSpPr>
            <a:spLocks noGrp="1"/>
          </p:cNvSpPr>
          <p:nvPr>
            <p:ph type="body" sz="quarter" idx="28" hasCustomPrompt="1"/>
          </p:nvPr>
        </p:nvSpPr>
        <p:spPr bwMode="gray">
          <a:xfrm>
            <a:off x="3815487" y="4533681"/>
            <a:ext cx="1549400" cy="198656"/>
          </a:xfrm>
          <a:prstGeom prst="rect">
            <a:avLst/>
          </a:prstGeom>
        </p:spPr>
        <p:txBody>
          <a:bodyPr lIns="0" tIns="0" rIns="0" bIns="0"/>
          <a:lstStyle>
            <a:lvl1pPr>
              <a:defRPr sz="1000" b="0">
                <a:latin typeface="+mn-lt"/>
                <a:sym typeface="Delivery" panose="020F0503020204020204" pitchFamily="34" charset="0"/>
              </a:defRPr>
            </a:lvl1pPr>
          </a:lstStyle>
          <a:p>
            <a:pPr lvl="0"/>
            <a:r>
              <a:rPr lang="en-US" dirty="0"/>
              <a:t>Section #</a:t>
            </a:r>
          </a:p>
        </p:txBody>
      </p:sp>
      <p:sp>
        <p:nvSpPr>
          <p:cNvPr id="18" name="Text Placeholder 14"/>
          <p:cNvSpPr>
            <a:spLocks noGrp="1"/>
          </p:cNvSpPr>
          <p:nvPr>
            <p:ph type="body" sz="quarter" idx="29" hasCustomPrompt="1"/>
          </p:nvPr>
        </p:nvSpPr>
        <p:spPr bwMode="gray">
          <a:xfrm>
            <a:off x="5499475" y="4533681"/>
            <a:ext cx="1549400" cy="198656"/>
          </a:xfrm>
          <a:prstGeom prst="rect">
            <a:avLst/>
          </a:prstGeom>
        </p:spPr>
        <p:txBody>
          <a:bodyPr lIns="0" tIns="0" rIns="0" bIns="0"/>
          <a:lstStyle>
            <a:lvl1pPr>
              <a:defRPr sz="1000" b="0">
                <a:latin typeface="+mn-lt"/>
                <a:sym typeface="Delivery" panose="020F0503020204020204" pitchFamily="34" charset="0"/>
              </a:defRPr>
            </a:lvl1pPr>
          </a:lstStyle>
          <a:p>
            <a:pPr lvl="0"/>
            <a:r>
              <a:rPr lang="en-US" dirty="0"/>
              <a:t>Section #</a:t>
            </a:r>
          </a:p>
        </p:txBody>
      </p:sp>
      <p:sp>
        <p:nvSpPr>
          <p:cNvPr id="19" name="Text Placeholder 14"/>
          <p:cNvSpPr>
            <a:spLocks noGrp="1"/>
          </p:cNvSpPr>
          <p:nvPr>
            <p:ph type="body" sz="quarter" idx="30" hasCustomPrompt="1"/>
          </p:nvPr>
        </p:nvSpPr>
        <p:spPr bwMode="gray">
          <a:xfrm>
            <a:off x="7183462" y="4533681"/>
            <a:ext cx="1549400" cy="198656"/>
          </a:xfrm>
          <a:prstGeom prst="rect">
            <a:avLst/>
          </a:prstGeom>
        </p:spPr>
        <p:txBody>
          <a:bodyPr lIns="0" tIns="0" rIns="0" bIns="0"/>
          <a:lstStyle>
            <a:lvl1pPr>
              <a:defRPr sz="1000" b="0">
                <a:latin typeface="+mn-lt"/>
                <a:sym typeface="Delivery" panose="020F0503020204020204" pitchFamily="34" charset="0"/>
              </a:defRPr>
            </a:lvl1pPr>
          </a:lstStyle>
          <a:p>
            <a:pPr lvl="0"/>
            <a:r>
              <a:rPr lang="en-US" dirty="0"/>
              <a:t>Section #</a:t>
            </a:r>
          </a:p>
        </p:txBody>
      </p:sp>
      <p:sp>
        <p:nvSpPr>
          <p:cNvPr id="41" name="Rechteck 8"/>
          <p:cNvSpPr/>
          <p:nvPr/>
        </p:nvSpPr>
        <p:spPr bwMode="gray">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
        <p:nvSpPr>
          <p:cNvPr id="42" name="Footer Placeholder 2"/>
          <p:cNvSpPr>
            <a:spLocks noGrp="1"/>
          </p:cNvSpPr>
          <p:nvPr>
            <p:ph type="ftr" sz="quarter" idx="31"/>
          </p:nvPr>
        </p:nvSpPr>
        <p:spPr bwMode="gray">
          <a:xfrm>
            <a:off x="2142000"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sp>
        <p:nvSpPr>
          <p:cNvPr id="37" name="Text Placeholder 9"/>
          <p:cNvSpPr>
            <a:spLocks noGrp="1"/>
          </p:cNvSpPr>
          <p:nvPr>
            <p:ph type="body" sz="quarter" idx="32" hasCustomPrompt="1"/>
          </p:nvPr>
        </p:nvSpPr>
        <p:spPr bwMode="gray">
          <a:xfrm>
            <a:off x="414000" y="1249200"/>
            <a:ext cx="4050000" cy="3129062"/>
          </a:xfrm>
          <a:prstGeom prst="rect">
            <a:avLst/>
          </a:prstGeom>
        </p:spPr>
        <p:txBody>
          <a:bodyPr lIns="0" tIns="0" rIns="0" bIns="0">
            <a:noAutofit/>
          </a:bodyPr>
          <a:lstStyle>
            <a:lvl1pPr marL="270000" marR="0" indent="-270000" algn="l" defTabSz="914400" rtl="0" eaLnBrk="1" fontAlgn="auto" latinLnBrk="0" hangingPunct="1">
              <a:lnSpc>
                <a:spcPct val="100000"/>
              </a:lnSpc>
              <a:spcBef>
                <a:spcPts val="1400"/>
              </a:spcBef>
              <a:spcAft>
                <a:spcPts val="0"/>
              </a:spcAft>
              <a:buClrTx/>
              <a:buSzTx/>
              <a:buFont typeface="Arial" pitchFamily="34" charset="0"/>
              <a:buAutoNum type="arabicPlain"/>
              <a:tabLst/>
              <a:defRPr sz="1400" b="1" baseline="0">
                <a:latin typeface="+mn-lt"/>
                <a:sym typeface="Delivery" panose="020F0503020204020204" pitchFamily="34" charset="0"/>
              </a:defRPr>
            </a:lvl1pPr>
            <a:lvl2pPr marL="270000" marR="0" indent="0" algn="l" defTabSz="914400" rtl="0" eaLnBrk="1" fontAlgn="auto" latinLnBrk="0" hangingPunct="1">
              <a:lnSpc>
                <a:spcPct val="100000"/>
              </a:lnSpc>
              <a:spcBef>
                <a:spcPts val="0"/>
              </a:spcBef>
              <a:spcAft>
                <a:spcPts val="500"/>
              </a:spcAft>
              <a:buClrTx/>
              <a:buSzTx/>
              <a:buFont typeface="Arial" pitchFamily="34" charset="0"/>
              <a:buNone/>
              <a:tabLst/>
              <a:defRPr sz="1400" b="0">
                <a:latin typeface="+mn-lt"/>
                <a:sym typeface="Delivery" panose="020F0503020204020204" pitchFamily="34" charset="0"/>
              </a:defRPr>
            </a:lvl2pPr>
            <a:lvl3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a:lvl3pPr>
            <a:lvl4pPr marL="360000" marR="0" indent="-180000" algn="l" defTabSz="914400" rtl="0" eaLnBrk="1" fontAlgn="auto" latinLnBrk="0" hangingPunct="1">
              <a:lnSpc>
                <a:spcPct val="110000"/>
              </a:lnSpc>
              <a:spcBef>
                <a:spcPts val="0"/>
              </a:spcBef>
              <a:spcAft>
                <a:spcPts val="500"/>
              </a:spcAft>
              <a:buClrTx/>
              <a:buSzTx/>
              <a:buFont typeface="Symbol" pitchFamily="18" charset="2"/>
              <a:buChar char="-"/>
              <a:tabLst/>
              <a:defRPr/>
            </a:lvl4pPr>
            <a:lvl5pPr marL="533400" marR="0" indent="-174625" algn="l" defTabSz="914400" rtl="0" eaLnBrk="1" fontAlgn="auto" latinLnBrk="0" hangingPunct="1">
              <a:lnSpc>
                <a:spcPct val="110000"/>
              </a:lnSpc>
              <a:spcBef>
                <a:spcPts val="0"/>
              </a:spcBef>
              <a:spcAft>
                <a:spcPts val="500"/>
              </a:spcAft>
              <a:buClrTx/>
              <a:buSzTx/>
              <a:buFont typeface="Symbol" charset="2"/>
              <a:buChar char="-"/>
              <a:tabLst/>
              <a:defRPr/>
            </a:lvl5pPr>
          </a:lstStyle>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a:p>
            <a:r>
              <a:rPr lang="en-US" dirty="0"/>
              <a:t>Sample section</a:t>
            </a:r>
          </a:p>
          <a:p>
            <a:pPr lvl="1"/>
            <a:r>
              <a:rPr lang="en-US" dirty="0" err="1"/>
              <a:t>Lorem</a:t>
            </a:r>
            <a:r>
              <a:rPr lang="en-US" dirty="0"/>
              <a:t> </a:t>
            </a:r>
            <a:r>
              <a:rPr lang="en-US" dirty="0" err="1"/>
              <a:t>ipsum</a:t>
            </a:r>
            <a:r>
              <a:rPr lang="en-US" dirty="0"/>
              <a:t> </a:t>
            </a:r>
            <a:r>
              <a:rPr lang="en-US" dirty="0" err="1"/>
              <a:t>dolore</a:t>
            </a:r>
            <a:r>
              <a:rPr lang="en-US" dirty="0"/>
              <a:t> </a:t>
            </a:r>
            <a:r>
              <a:rPr lang="en-US" dirty="0" err="1"/>
              <a:t>est</a:t>
            </a:r>
            <a:r>
              <a:rPr lang="en-US" dirty="0"/>
              <a:t> </a:t>
            </a:r>
            <a:r>
              <a:rPr lang="en-US" dirty="0" err="1"/>
              <a:t>consista</a:t>
            </a:r>
            <a:endParaRPr lang="en-US" dirty="0"/>
          </a:p>
        </p:txBody>
      </p:sp>
      <p:sp>
        <p:nvSpPr>
          <p:cNvPr id="16" name="Picture Placeholder 2"/>
          <p:cNvSpPr>
            <a:spLocks noGrp="1"/>
          </p:cNvSpPr>
          <p:nvPr>
            <p:ph type="pic" sz="quarter" idx="33"/>
          </p:nvPr>
        </p:nvSpPr>
        <p:spPr bwMode="ltGray">
          <a:xfrm>
            <a:off x="2131382" y="4732903"/>
            <a:ext cx="1549400" cy="1087438"/>
          </a:xfrm>
          <a:prstGeom prst="rect">
            <a:avLst/>
          </a:prstGeom>
          <a:solidFill>
            <a:schemeClr val="tx2"/>
          </a:solidFill>
        </p:spPr>
        <p:txBody>
          <a:bodyPr tIns="540000" anchor="ctr" anchorCtr="1"/>
          <a:lstStyle>
            <a:lvl1pPr marL="0" marR="0" indent="0" algn="ctr" defTabSz="914400" rtl="0" eaLnBrk="1" fontAlgn="auto" latinLnBrk="0" hangingPunct="1">
              <a:lnSpc>
                <a:spcPct val="110000"/>
              </a:lnSpc>
              <a:spcBef>
                <a:spcPts val="0"/>
              </a:spcBef>
              <a:spcAft>
                <a:spcPts val="500"/>
              </a:spcAft>
              <a:buClrTx/>
              <a:buSzTx/>
              <a:buFont typeface="Arial" pitchFamily="34" charset="0"/>
              <a:buNone/>
              <a:tabLst/>
              <a:defRPr>
                <a:latin typeface="+mn-lt"/>
                <a:sym typeface="Delivery" panose="020F0503020204020204" pitchFamily="34" charset="0"/>
              </a:defRPr>
            </a:lvl1pPr>
          </a:lstStyle>
          <a:p>
            <a:r>
              <a:rPr lang="de-DE" smtClean="0"/>
              <a:t>Bild durch Klicken auf Symbol hinzufügen</a:t>
            </a:r>
            <a:endParaRPr lang="en-US" dirty="0"/>
          </a:p>
        </p:txBody>
      </p:sp>
      <p:sp>
        <p:nvSpPr>
          <p:cNvPr id="22" name="Text Placeholder 14"/>
          <p:cNvSpPr>
            <a:spLocks noGrp="1"/>
          </p:cNvSpPr>
          <p:nvPr>
            <p:ph type="body" sz="quarter" idx="35" hasCustomPrompt="1"/>
          </p:nvPr>
        </p:nvSpPr>
        <p:spPr bwMode="gray">
          <a:xfrm>
            <a:off x="2131499" y="4533681"/>
            <a:ext cx="1549400" cy="198656"/>
          </a:xfrm>
          <a:prstGeom prst="rect">
            <a:avLst/>
          </a:prstGeom>
        </p:spPr>
        <p:txBody>
          <a:bodyPr lIns="0" tIns="0" rIns="0" bIns="0"/>
          <a:lstStyle>
            <a:lvl1pPr>
              <a:defRPr sz="1000" b="0">
                <a:latin typeface="+mn-lt"/>
                <a:sym typeface="Delivery" panose="020F0503020204020204" pitchFamily="34" charset="0"/>
              </a:defRPr>
            </a:lvl1pPr>
          </a:lstStyle>
          <a:p>
            <a:pPr lvl="0"/>
            <a:r>
              <a:rPr lang="en-US" dirty="0"/>
              <a:t>Section #</a:t>
            </a:r>
          </a:p>
        </p:txBody>
      </p:sp>
      <p:cxnSp>
        <p:nvCxnSpPr>
          <p:cNvPr id="23" name="Straight Connector 10"/>
          <p:cNvCxnSpPr/>
          <p:nvPr/>
        </p:nvCxnSpPr>
        <p:spPr bwMode="gray">
          <a:xfrm>
            <a:off x="414000" y="1015200"/>
            <a:ext cx="8316000"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itle 19"/>
          <p:cNvSpPr>
            <a:spLocks noGrp="1"/>
          </p:cNvSpPr>
          <p:nvPr>
            <p:ph type="title"/>
          </p:nvPr>
        </p:nvSpPr>
        <p:spPr/>
        <p:txBody>
          <a:bodyPr/>
          <a:lstStyle>
            <a:lvl1pPr>
              <a:defRPr>
                <a:latin typeface="+mj-lt"/>
                <a:sym typeface="Delivery" panose="020F0503020204020204" pitchFamily="34" charset="0"/>
              </a:defRPr>
            </a:lvl1pPr>
          </a:lstStyle>
          <a:p>
            <a:r>
              <a:rPr lang="de-DE" smtClean="0"/>
              <a:t>Titelmasterformat durch Klicken bearbeiten</a:t>
            </a:r>
            <a:endParaRPr lang="en-US" dirty="0"/>
          </a:p>
        </p:txBody>
      </p:sp>
      <p:pic>
        <p:nvPicPr>
          <p:cNvPr id="24" name="Grafik 23">
            <a:extLst>
              <a:ext uri="{FF2B5EF4-FFF2-40B4-BE49-F238E27FC236}">
                <a16:creationId xmlns:a16="http://schemas.microsoft.com/office/drawing/2014/main" xmlns:a14="http://schemas.microsoft.com/office/drawing/2010/main" xmlns:v="urn:schemas-microsoft-com:vml" xmlns:mc="http://schemas.openxmlformats.org/markup-compatibility/2006" xmlns:p14="http://schemas.microsoft.com/office/powerpoint/2010/main" xmlns="" id="{E6467D88-BE7F-4895-8B9D-7CCA968483A0}"/>
              </a:ext>
            </a:extLst>
          </p:cNvPr>
          <p:cNvPicPr>
            <a:picLocks noChangeAspect="1"/>
          </p:cNvPicPr>
          <p:nvPr/>
        </p:nvPicPr>
        <p:blipFill>
          <a:blip r:embed="rId7"/>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18058398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C807CF95-3FBB-49CA-8216-79664467998D}"/>
              </a:ext>
            </a:extLst>
          </p:cNvPr>
          <p:cNvGraphicFramePr>
            <a:graphicFrameLocks noChangeAspect="1"/>
          </p:cNvGraphicFramePr>
          <p:nvPr>
            <p:custDataLst>
              <p:tags r:id="rId2"/>
            </p:custDataLst>
            <p:extLst>
              <p:ext uri="{D42A27DB-BD31-4B8C-83A1-F6EECF244321}">
                <p14:modId xmlns:p14="http://schemas.microsoft.com/office/powerpoint/2010/main" val="3563115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0350" name="think-cell Folie" r:id="rId5" imgW="352" imgH="353" progId="TCLayout.ActiveDocument.1">
                  <p:embed/>
                </p:oleObj>
              </mc:Choice>
              <mc:Fallback>
                <p:oleObj name="think-cell Foli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xmlns:v="urn:schemas-microsoft-com:vml" xmlns:mc="http://schemas.openxmlformats.org/markup-compatibility/2006" xmlns:p14="http://schemas.microsoft.com/office/powerpoint/2010/main" xmlns="" id="{884A6004-15BA-4033-ADAB-F8E58C5685FB}"/>
              </a:ext>
            </a:extLst>
          </p:cNvPr>
          <p:cNvSpPr/>
          <p:nvPr>
            <p:custDataLst>
              <p:tags r:id="rId3"/>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9" name="Rechteck 11"/>
          <p:cNvSpPr/>
          <p:nvPr/>
        </p:nvSpPr>
        <p:spPr bwMode="hidden">
          <a:xfrm>
            <a:off x="179388" y="5952326"/>
            <a:ext cx="8784000" cy="720000"/>
          </a:xfrm>
          <a:prstGeom prst="rect">
            <a:avLst/>
          </a:prstGeom>
          <a:gradFill flip="none" rotWithShape="1">
            <a:gsLst>
              <a:gs pos="0">
                <a:schemeClr val="bg1">
                  <a:alpha val="0"/>
                </a:schemeClr>
              </a:gs>
              <a:gs pos="100000">
                <a:schemeClr val="accent3"/>
              </a:gs>
              <a:gs pos="36000">
                <a:schemeClr val="accent3">
                  <a:alpha val="77000"/>
                </a:schemeClr>
              </a:gs>
              <a:gs pos="52000">
                <a:schemeClr val="accent3">
                  <a:alpha val="90000"/>
                </a:schemeClr>
              </a:gs>
              <a:gs pos="74000">
                <a:schemeClr val="accent3"/>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sym typeface="Delivery" panose="020F0503020204020204" pitchFamily="34" charset="0"/>
            </a:endParaRPr>
          </a:p>
        </p:txBody>
      </p:sp>
      <p:sp>
        <p:nvSpPr>
          <p:cNvPr id="29" name="Rechteck 8"/>
          <p:cNvSpPr/>
          <p:nvPr/>
        </p:nvSpPr>
        <p:spPr bwMode="gray">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r" defTabSz="995363" rtl="0" eaLnBrk="0" fontAlgn="base" latinLnBrk="0" hangingPunct="0">
              <a:lnSpc>
                <a:spcPct val="100000"/>
              </a:lnSpc>
              <a:spcBef>
                <a:spcPct val="0"/>
              </a:spcBef>
              <a:spcAft>
                <a:spcPct val="0"/>
              </a:spcAft>
              <a:buClrTx/>
              <a:buSzTx/>
              <a:buFontTx/>
              <a:buNone/>
              <a:tabLst/>
            </a:pPr>
            <a:fld id="{2E45E626-985F-4F96-B1C4-178AC390C14C}" type="slidenum">
              <a:rPr kumimoji="0" lang="en-US" sz="1000" b="0" i="0" u="none" strike="noStrike" cap="none" normalizeH="0" baseline="0" smtClean="0">
                <a:ln>
                  <a:noFill/>
                </a:ln>
                <a:solidFill>
                  <a:schemeClr val="tx1"/>
                </a:solidFill>
                <a:effectLst/>
                <a:latin typeface="+mn-lt"/>
                <a:sym typeface="Delivery" panose="020F0503020204020204" pitchFamily="34" charset="0"/>
              </a:rPr>
              <a:pPr marL="0" marR="0" indent="0" algn="r" defTabSz="995363" rtl="0" eaLnBrk="0" fontAlgn="base" latinLnBrk="0" hangingPunct="0">
                <a:lnSpc>
                  <a:spcPct val="100000"/>
                </a:lnSpc>
                <a:spcBef>
                  <a:spcPct val="0"/>
                </a:spcBef>
                <a:spcAft>
                  <a:spcPct val="0"/>
                </a:spcAft>
                <a:buClrTx/>
                <a:buSzTx/>
                <a:buFontTx/>
                <a:buNone/>
                <a:tabLst/>
              </a:pPr>
              <a:t>‹Nr.›</a:t>
            </a:fld>
            <a:endParaRPr kumimoji="0" lang="en-US" sz="1000" b="0" i="0" u="none" strike="noStrike" cap="none" normalizeH="0" baseline="0" dirty="0">
              <a:ln>
                <a:noFill/>
              </a:ln>
              <a:solidFill>
                <a:schemeClr val="tx1"/>
              </a:solidFill>
              <a:effectLst/>
              <a:latin typeface="+mn-lt"/>
              <a:sym typeface="Delivery" panose="020F0503020204020204" pitchFamily="34" charset="0"/>
            </a:endParaRPr>
          </a:p>
        </p:txBody>
      </p:sp>
      <p:sp>
        <p:nvSpPr>
          <p:cNvPr id="30" name="Footer Placeholder 2"/>
          <p:cNvSpPr>
            <a:spLocks noGrp="1"/>
          </p:cNvSpPr>
          <p:nvPr>
            <p:ph type="ftr" sz="quarter" idx="31"/>
          </p:nvPr>
        </p:nvSpPr>
        <p:spPr bwMode="gray">
          <a:xfrm>
            <a:off x="2142000" y="6296400"/>
            <a:ext cx="6228000" cy="252000"/>
          </a:xfrm>
          <a:prstGeom prst="rect">
            <a:avLst/>
          </a:prstGeom>
        </p:spPr>
        <p:txBody>
          <a:bodyPr lIns="0" tIns="0" rIns="0" bIns="0" anchor="b" anchorCtr="0"/>
          <a:lstStyle>
            <a:lvl1pPr algn="r">
              <a:defRPr sz="1000">
                <a:solidFill>
                  <a:schemeClr val="tx1"/>
                </a:solidFill>
                <a:latin typeface="+mn-lt"/>
                <a:sym typeface="Delivery" panose="020F0503020204020204" pitchFamily="34" charset="0"/>
              </a:defRPr>
            </a:lvl1pPr>
          </a:lstStyle>
          <a:p>
            <a:r>
              <a:rPr lang="en-US" smtClean="0"/>
              <a:t>GoTeach | October 2019</a:t>
            </a:r>
            <a:endParaRPr lang="en-US" dirty="0"/>
          </a:p>
        </p:txBody>
      </p:sp>
      <p:cxnSp>
        <p:nvCxnSpPr>
          <p:cNvPr id="16" name="Straight Connector 10"/>
          <p:cNvCxnSpPr/>
          <p:nvPr/>
        </p:nvCxnSpPr>
        <p:spPr bwMode="gray">
          <a:xfrm>
            <a:off x="414000" y="1015200"/>
            <a:ext cx="8316000"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itle 10"/>
          <p:cNvSpPr>
            <a:spLocks noGrp="1"/>
          </p:cNvSpPr>
          <p:nvPr>
            <p:ph type="title"/>
          </p:nvPr>
        </p:nvSpPr>
        <p:spPr/>
        <p:txBody>
          <a:bodyPr/>
          <a:lstStyle>
            <a:lvl1pPr>
              <a:defRPr>
                <a:latin typeface="+mj-lt"/>
                <a:sym typeface="Delivery" panose="020F0503020204020204" pitchFamily="34" charset="0"/>
              </a:defRPr>
            </a:lvl1pPr>
          </a:lstStyle>
          <a:p>
            <a:r>
              <a:rPr lang="de-DE" smtClean="0"/>
              <a:t>Titelmasterformat durch Klicken bearbeiten</a:t>
            </a:r>
            <a:endParaRPr lang="en-US" dirty="0"/>
          </a:p>
        </p:txBody>
      </p:sp>
      <p:sp>
        <p:nvSpPr>
          <p:cNvPr id="20" name="Text Placeholder 19"/>
          <p:cNvSpPr>
            <a:spLocks noGrp="1"/>
          </p:cNvSpPr>
          <p:nvPr>
            <p:ph type="body" sz="quarter" idx="34"/>
          </p:nvPr>
        </p:nvSpPr>
        <p:spPr>
          <a:xfrm>
            <a:off x="414338" y="1249200"/>
            <a:ext cx="8315325" cy="4755600"/>
          </a:xfrm>
        </p:spPr>
        <p:txBody>
          <a:bodyPr/>
          <a:lstStyle>
            <a:lvl1pPr>
              <a:defRPr>
                <a:latin typeface="+mn-lt"/>
                <a:sym typeface="Delivery" panose="020F0503020204020204" pitchFamily="34" charset="0"/>
              </a:defRPr>
            </a:lvl1pPr>
            <a:lvl2pPr>
              <a:defRPr>
                <a:latin typeface="+mn-lt"/>
                <a:sym typeface="Delivery" panose="020F0503020204020204" pitchFamily="34" charset="0"/>
              </a:defRPr>
            </a:lvl2pPr>
            <a:lvl3pPr>
              <a:defRPr>
                <a:latin typeface="+mn-lt"/>
                <a:sym typeface="Delivery" panose="020F0503020204020204" pitchFamily="34" charset="0"/>
              </a:defRPr>
            </a:lvl3pPr>
            <a:lvl4pPr>
              <a:defRPr>
                <a:latin typeface="+mn-lt"/>
                <a:sym typeface="Delivery" panose="020F0503020204020204" pitchFamily="34" charset="0"/>
              </a:defRPr>
            </a:lvl4pPr>
            <a:lvl5pPr>
              <a:defRPr>
                <a:latin typeface="+mn-lt"/>
                <a:sym typeface="Delivery" panose="020F0503020204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pic>
        <p:nvPicPr>
          <p:cNvPr id="12" name="Grafik 11">
            <a:extLst>
              <a:ext uri="{FF2B5EF4-FFF2-40B4-BE49-F238E27FC236}">
                <a16:creationId xmlns:a16="http://schemas.microsoft.com/office/drawing/2014/main" xmlns:v="urn:schemas-microsoft-com:vml" xmlns:mc="http://schemas.openxmlformats.org/markup-compatibility/2006" xmlns:p14="http://schemas.microsoft.com/office/powerpoint/2010/main" xmlns="" id="{0157DEE8-668A-46BC-A170-CBD4F382AF4A}"/>
              </a:ext>
            </a:extLst>
          </p:cNvPr>
          <p:cNvPicPr>
            <a:picLocks noChangeAspect="1"/>
          </p:cNvPicPr>
          <p:nvPr/>
        </p:nvPicPr>
        <p:blipFill>
          <a:blip r:embed="rId7"/>
          <a:stretch>
            <a:fillRect/>
          </a:stretch>
        </p:blipFill>
        <p:spPr>
          <a:xfrm>
            <a:off x="411620" y="6261644"/>
            <a:ext cx="1177698" cy="297908"/>
          </a:xfrm>
          <a:prstGeom prst="rect">
            <a:avLst/>
          </a:prstGeom>
        </p:spPr>
      </p:pic>
    </p:spTree>
    <p:extLst>
      <p:ext uri="{BB962C8B-B14F-4D97-AF65-F5344CB8AC3E}">
        <p14:creationId xmlns:p14="http://schemas.microsoft.com/office/powerpoint/2010/main" val="24001356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5"/>
            </p:custDataLst>
            <p:extLst>
              <p:ext uri="{D42A27DB-BD31-4B8C-83A1-F6EECF244321}">
                <p14:modId xmlns:p14="http://schemas.microsoft.com/office/powerpoint/2010/main" val="1691712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176" name="think-cell Folie" r:id="rId27" imgW="270" imgH="270" progId="TCLayout.ActiveDocument.1">
                  <p:embed/>
                </p:oleObj>
              </mc:Choice>
              <mc:Fallback>
                <p:oleObj name="think-cell Folie" r:id="rId27" imgW="270" imgH="270"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xmlns:p15="http://schemas.microsoft.com/office/powerpoint/2012/main" xmlns:v="urn:schemas-microsoft-com:vml" xmlns:mc="http://schemas.openxmlformats.org/markup-compatibility/2006" xmlns:p14="http://schemas.microsoft.com/office/powerpoint/2010/main" xmlns="" id="{BBCEA358-2AD2-40B4-B3CE-722D85DAF029}"/>
              </a:ext>
            </a:extLst>
          </p:cNvPr>
          <p:cNvSpPr/>
          <p:nvPr>
            <p:custDataLst>
              <p:tags r:id="rId26"/>
            </p:custDataLst>
          </p:nvPr>
        </p:nvSpPr>
        <p:spPr bwMode="auto">
          <a:xfrm>
            <a:off x="0" y="0"/>
            <a:ext cx="158750" cy="158750"/>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95363"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34" name="Titelplatzhalter 33"/>
          <p:cNvSpPr>
            <a:spLocks noGrp="1"/>
          </p:cNvSpPr>
          <p:nvPr>
            <p:ph type="title"/>
          </p:nvPr>
        </p:nvSpPr>
        <p:spPr>
          <a:xfrm>
            <a:off x="414000" y="201600"/>
            <a:ext cx="8316000" cy="712800"/>
          </a:xfrm>
          <a:prstGeom prst="rect">
            <a:avLst/>
          </a:prstGeom>
        </p:spPr>
        <p:txBody>
          <a:bodyPr vert="horz" lIns="0" tIns="0" rIns="0" bIns="0" rtlCol="0" anchor="b">
            <a:noAutofit/>
          </a:bodyPr>
          <a:lstStyle/>
          <a:p>
            <a:r>
              <a:rPr lang="de-DE" smtClean="0"/>
              <a:t>Titelmasterformat durch Klicken bearbeiten</a:t>
            </a:r>
            <a:endParaRPr lang="en-US" dirty="0"/>
          </a:p>
        </p:txBody>
      </p:sp>
      <p:sp>
        <p:nvSpPr>
          <p:cNvPr id="61" name="Textplatzhalter 60"/>
          <p:cNvSpPr>
            <a:spLocks noGrp="1"/>
          </p:cNvSpPr>
          <p:nvPr>
            <p:ph type="body" idx="1"/>
          </p:nvPr>
        </p:nvSpPr>
        <p:spPr>
          <a:xfrm>
            <a:off x="414000" y="1249198"/>
            <a:ext cx="8316000" cy="4755601"/>
          </a:xfrm>
          <a:prstGeom prst="rect">
            <a:avLst/>
          </a:prstGeom>
        </p:spPr>
        <p:txBody>
          <a:bodyPr vert="horz" lIns="0" tIns="0" rIns="0" bIns="0" rtlCol="0">
            <a:no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31" name="meta-classification"/>
          <p:cNvSpPr txBox="1"/>
          <p:nvPr/>
        </p:nvSpPr>
        <p:spPr bwMode="gray">
          <a:xfrm>
            <a:off x="414000" y="-1"/>
            <a:ext cx="2040623" cy="222108"/>
          </a:xfrm>
          <a:prstGeom prst="rect">
            <a:avLst/>
          </a:prstGeom>
          <a:noFill/>
        </p:spPr>
        <p:txBody>
          <a:bodyPr wrap="none" lIns="0" tIns="82800" rIns="0" bIns="0" rtlCol="0" anchor="t" anchorCtr="0">
            <a:spAutoFit/>
          </a:bodyPr>
          <a:lstStyle/>
          <a:p>
            <a:r>
              <a:rPr lang="en-US" sz="900" b="1" kern="0" cap="all" baseline="0" dirty="0">
                <a:solidFill>
                  <a:schemeClr val="accent1"/>
                </a:solidFill>
                <a:latin typeface="+mn-lt"/>
                <a:cs typeface="Arial"/>
                <a:sym typeface="Delivery" panose="020F0503020204020204" pitchFamily="34" charset="0"/>
              </a:rPr>
              <a:t>PLEASE INSERT CLASSIFICATION HERE</a:t>
            </a:r>
          </a:p>
        </p:txBody>
      </p:sp>
      <p:grpSp>
        <p:nvGrpSpPr>
          <p:cNvPr id="33" name="dpic_guideLines" hidden="1"/>
          <p:cNvGrpSpPr/>
          <p:nvPr/>
        </p:nvGrpSpPr>
        <p:grpSpPr>
          <a:xfrm>
            <a:off x="-9525" y="0"/>
            <a:ext cx="9145587" cy="6858000"/>
            <a:chOff x="-1587" y="0"/>
            <a:chExt cx="9145587" cy="6858000"/>
          </a:xfrm>
        </p:grpSpPr>
        <p:cxnSp>
          <p:nvCxnSpPr>
            <p:cNvPr id="37" name="Straight Connector 56" hidden="1"/>
            <p:cNvCxnSpPr/>
            <p:nvPr/>
          </p:nvCxnSpPr>
          <p:spPr bwMode="gray">
            <a:xfrm>
              <a:off x="188129"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40" name="Straight Connector 53" hidden="1"/>
            <p:cNvCxnSpPr/>
            <p:nvPr/>
          </p:nvCxnSpPr>
          <p:spPr bwMode="gray">
            <a:xfrm>
              <a:off x="8971143"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41" name="Straight Connector 43" hidden="1"/>
            <p:cNvCxnSpPr/>
            <p:nvPr/>
          </p:nvCxnSpPr>
          <p:spPr bwMode="gray">
            <a:xfrm>
              <a:off x="4687357"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50" name="Straight Connector 44" hidden="1"/>
            <p:cNvCxnSpPr/>
            <p:nvPr/>
          </p:nvCxnSpPr>
          <p:spPr bwMode="gray">
            <a:xfrm>
              <a:off x="4471143"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54" name="Straight Connector 45" hidden="1"/>
            <p:cNvCxnSpPr/>
            <p:nvPr/>
          </p:nvCxnSpPr>
          <p:spPr bwMode="gray">
            <a:xfrm flipH="1">
              <a:off x="-1587" y="6673057"/>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55" name="Straight Connector 46" hidden="1"/>
            <p:cNvCxnSpPr/>
            <p:nvPr/>
          </p:nvCxnSpPr>
          <p:spPr bwMode="gray">
            <a:xfrm flipH="1">
              <a:off x="-1587" y="6514136"/>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56" name="Straight Connector 47" hidden="1"/>
            <p:cNvCxnSpPr/>
            <p:nvPr/>
          </p:nvCxnSpPr>
          <p:spPr bwMode="gray">
            <a:xfrm flipH="1">
              <a:off x="-1587" y="6003975"/>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57" name="Straight Connector 48" hidden="1"/>
            <p:cNvCxnSpPr/>
            <p:nvPr/>
          </p:nvCxnSpPr>
          <p:spPr bwMode="gray">
            <a:xfrm flipH="1">
              <a:off x="0" y="1252874"/>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58" name="Straight Connector 50" hidden="1"/>
            <p:cNvCxnSpPr/>
            <p:nvPr/>
          </p:nvCxnSpPr>
          <p:spPr bwMode="gray">
            <a:xfrm flipH="1">
              <a:off x="-1587" y="854362"/>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59" name="Straight Connector 51" hidden="1"/>
            <p:cNvCxnSpPr/>
            <p:nvPr/>
          </p:nvCxnSpPr>
          <p:spPr bwMode="gray">
            <a:xfrm flipH="1">
              <a:off x="-1587" y="556420"/>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60" name="Straight Connector 52" hidden="1"/>
            <p:cNvCxnSpPr/>
            <p:nvPr/>
          </p:nvCxnSpPr>
          <p:spPr bwMode="gray">
            <a:xfrm flipH="1">
              <a:off x="-1587" y="5626050"/>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62" name="Straight Connector 38" hidden="1"/>
            <p:cNvCxnSpPr/>
            <p:nvPr/>
          </p:nvCxnSpPr>
          <p:spPr bwMode="gray">
            <a:xfrm>
              <a:off x="2088000" y="6183385"/>
              <a:ext cx="0" cy="342041"/>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63" name="Straight Connector 57" hidden="1"/>
            <p:cNvCxnSpPr/>
            <p:nvPr/>
          </p:nvCxnSpPr>
          <p:spPr bwMode="gray">
            <a:xfrm>
              <a:off x="8379525" y="6174647"/>
              <a:ext cx="0" cy="342041"/>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64" name="Straight Connector 22" hidden="1"/>
            <p:cNvCxnSpPr/>
            <p:nvPr/>
          </p:nvCxnSpPr>
          <p:spPr bwMode="gray">
            <a:xfrm flipH="1">
              <a:off x="468000" y="1021575"/>
              <a:ext cx="8208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65" name="Straight Connector 51" hidden="1"/>
            <p:cNvCxnSpPr/>
            <p:nvPr/>
          </p:nvCxnSpPr>
          <p:spPr bwMode="gray">
            <a:xfrm flipH="1">
              <a:off x="0" y="375562"/>
              <a:ext cx="9144000" cy="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66" name="Straight Connector 55" hidden="1"/>
            <p:cNvCxnSpPr/>
            <p:nvPr/>
          </p:nvCxnSpPr>
          <p:spPr bwMode="gray">
            <a:xfrm>
              <a:off x="418763"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cxnSp>
          <p:nvCxnSpPr>
            <p:cNvPr id="67" name="Straight Connector 54" hidden="1"/>
            <p:cNvCxnSpPr/>
            <p:nvPr/>
          </p:nvCxnSpPr>
          <p:spPr bwMode="gray">
            <a:xfrm>
              <a:off x="8739525" y="0"/>
              <a:ext cx="0" cy="6858000"/>
            </a:xfrm>
            <a:prstGeom prst="line">
              <a:avLst/>
            </a:prstGeom>
            <a:solidFill>
              <a:schemeClr val="bg1"/>
            </a:solidFill>
            <a:ln w="6350" cap="flat" cmpd="sng" algn="ctr">
              <a:solidFill>
                <a:srgbClr val="0070C0"/>
              </a:solidFill>
              <a:prstDash val="dash"/>
              <a:round/>
              <a:headEnd type="none" w="med" len="med"/>
              <a:tailEnd type="none" w="med" len="med"/>
            </a:ln>
            <a:effectLst/>
          </p:spPr>
        </p:cxnSp>
      </p:grpSp>
      <p:sp>
        <p:nvSpPr>
          <p:cNvPr id="28" name="Fußzeilenplatzhalter 27"/>
          <p:cNvSpPr>
            <a:spLocks noGrp="1"/>
          </p:cNvSpPr>
          <p:nvPr>
            <p:ph type="ftr" sz="quarter" idx="3"/>
          </p:nvPr>
        </p:nvSpPr>
        <p:spPr>
          <a:xfrm>
            <a:off x="2142000" y="6296400"/>
            <a:ext cx="6228000" cy="252000"/>
          </a:xfrm>
          <a:prstGeom prst="rect">
            <a:avLst/>
          </a:prstGeom>
        </p:spPr>
        <p:txBody>
          <a:bodyPr lIns="0" tIns="0" rIns="0" bIns="0" anchor="b" anchorCtr="0"/>
          <a:lstStyle>
            <a:lvl1pPr algn="ctr">
              <a:defRPr kumimoji="0" lang="de-DE" sz="1000" b="0" i="0" u="none" strike="noStrike" kern="1200" cap="none" spc="0" normalizeH="0" baseline="0" noProof="0" dirty="0" smtClean="0">
                <a:ln>
                  <a:noFill/>
                </a:ln>
                <a:solidFill>
                  <a:schemeClr val="tx1"/>
                </a:solidFill>
                <a:effectLst/>
                <a:uLnTx/>
                <a:uFillTx/>
                <a:latin typeface="+mn-lt"/>
                <a:ea typeface="+mn-ea"/>
                <a:cs typeface="+mn-cs"/>
                <a:sym typeface="Delivery" panose="020F0503020204020204" pitchFamily="34" charset="0"/>
              </a:defRPr>
            </a:lvl1pPr>
          </a:lstStyle>
          <a:p>
            <a:pPr algn="r"/>
            <a:r>
              <a:rPr lang="en-US" smtClean="0"/>
              <a:t>GoTeach | October 2019</a:t>
            </a:r>
            <a:endParaRPr lang="en-US"/>
          </a:p>
        </p:txBody>
      </p:sp>
      <p:sp>
        <p:nvSpPr>
          <p:cNvPr id="30" name="Foliennummernplatzhalter 29"/>
          <p:cNvSpPr>
            <a:spLocks noGrp="1"/>
          </p:cNvSpPr>
          <p:nvPr>
            <p:ph type="sldNum" sz="quarter" idx="4"/>
          </p:nvPr>
        </p:nvSpPr>
        <p:spPr>
          <a:xfrm>
            <a:off x="8370000" y="6296400"/>
            <a:ext cx="362862" cy="252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lvl1pPr marL="0" marR="0" indent="0" algn="r" defTabSz="995363" rtl="0" eaLnBrk="0" fontAlgn="base" latinLnBrk="0" hangingPunct="0">
              <a:lnSpc>
                <a:spcPct val="100000"/>
              </a:lnSpc>
              <a:spcBef>
                <a:spcPct val="0"/>
              </a:spcBef>
              <a:spcAft>
                <a:spcPct val="0"/>
              </a:spcAft>
              <a:buClrTx/>
              <a:buSzTx/>
              <a:buFontTx/>
              <a:buNone/>
              <a:tabLst/>
              <a:defRPr kumimoji="0" lang="en-US" sz="1000" b="0" i="0" u="none" strike="noStrike" kern="1200" cap="none" normalizeH="0" baseline="0" smtClean="0">
                <a:ln>
                  <a:noFill/>
                </a:ln>
                <a:solidFill>
                  <a:schemeClr val="tx1"/>
                </a:solidFill>
                <a:effectLst/>
                <a:latin typeface="+mn-lt"/>
                <a:ea typeface="+mn-ea"/>
                <a:cs typeface="+mn-cs"/>
                <a:sym typeface="Delivery" panose="020F0503020204020204" pitchFamily="34" charset="0"/>
              </a:defRPr>
            </a:lvl1pPr>
          </a:lstStyle>
          <a:p>
            <a:fld id="{79B9E2B8-A205-4970-8658-BB76BCCA7427}" type="slidenum">
              <a:rPr lang="de-DE" smtClean="0"/>
              <a:pPr/>
              <a:t>‹Nr.›</a:t>
            </a:fld>
            <a:endParaRPr lang="de-DE" dirty="0"/>
          </a:p>
        </p:txBody>
      </p:sp>
    </p:spTree>
    <p:extLst>
      <p:ext uri="{BB962C8B-B14F-4D97-AF65-F5344CB8AC3E}">
        <p14:creationId xmlns:p14="http://schemas.microsoft.com/office/powerpoint/2010/main" val="2927727219"/>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53" r:id="rId3"/>
    <p:sldLayoutId id="2147483684" r:id="rId4"/>
    <p:sldLayoutId id="2147483685" r:id="rId5"/>
    <p:sldLayoutId id="2147483663" r:id="rId6"/>
    <p:sldLayoutId id="2147483673" r:id="rId7"/>
    <p:sldLayoutId id="2147483688" r:id="rId8"/>
    <p:sldLayoutId id="2147483664" r:id="rId9"/>
    <p:sldLayoutId id="2147483679" r:id="rId10"/>
    <p:sldLayoutId id="2147483659" r:id="rId11"/>
    <p:sldLayoutId id="2147483692" r:id="rId12"/>
    <p:sldLayoutId id="2147483693" r:id="rId13"/>
    <p:sldLayoutId id="2147483699" r:id="rId14"/>
    <p:sldLayoutId id="2147483700" r:id="rId15"/>
    <p:sldLayoutId id="2147483701" r:id="rId16"/>
    <p:sldLayoutId id="2147483694" r:id="rId17"/>
    <p:sldLayoutId id="2147483672" r:id="rId18"/>
    <p:sldLayoutId id="2147483678" r:id="rId19"/>
    <p:sldLayoutId id="2147483697" r:id="rId20"/>
    <p:sldLayoutId id="2147483698" r:id="rId21"/>
    <p:sldLayoutId id="2147483670" r:id="rId22"/>
  </p:sldLayoutIdLst>
  <p:hf sldNum="0" hdr="0" dt="0"/>
  <p:txStyles>
    <p:titleStyle>
      <a:lvl1pPr algn="l" defTabSz="914400" rtl="0" eaLnBrk="1" latinLnBrk="0" hangingPunct="1">
        <a:lnSpc>
          <a:spcPct val="100000"/>
        </a:lnSpc>
        <a:spcBef>
          <a:spcPct val="0"/>
        </a:spcBef>
        <a:buNone/>
        <a:defRPr sz="2000" kern="1200" cap="none" normalizeH="0" baseline="0">
          <a:solidFill>
            <a:schemeClr val="tx1"/>
          </a:solidFill>
          <a:latin typeface="+mj-lt"/>
          <a:ea typeface="+mj-ea"/>
          <a:cs typeface="+mj-cs"/>
          <a:sym typeface="Delivery" panose="020F0503020204020204" pitchFamily="34" charset="0"/>
        </a:defRPr>
      </a:lvl1pPr>
    </p:titleStyle>
    <p:body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sym typeface="Delivery" panose="020F0503020204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Layout" Target="../slideLayouts/slideLayout3.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hyperlink" Target="https://teachforall.org/" TargetMode="External"/><Relationship Id="rId2" Type="http://schemas.openxmlformats.org/officeDocument/2006/relationships/slideLayout" Target="../slideLayouts/slideLayout7.xml"/><Relationship Id="rId1" Type="http://schemas.openxmlformats.org/officeDocument/2006/relationships/tags" Target="../tags/tag57.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hyperlink" Target="https://www.sos-childrensvillages.org/"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9.xml"/><Relationship Id="rId7" Type="http://schemas.openxmlformats.org/officeDocument/2006/relationships/image" Target="../media/image40.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39.png"/><Relationship Id="rId5" Type="http://schemas.openxmlformats.org/officeDocument/2006/relationships/image" Target="../media/image26.png"/><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9.xml"/><Relationship Id="rId7" Type="http://schemas.openxmlformats.org/officeDocument/2006/relationships/image" Target="../media/image43.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42.jpeg"/><Relationship Id="rId5" Type="http://schemas.openxmlformats.org/officeDocument/2006/relationships/image" Target="../media/image24.jpe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2.png"/><Relationship Id="rId18" Type="http://schemas.microsoft.com/office/2007/relationships/hdphoto" Target="../media/hdphoto9.wdp"/><Relationship Id="rId26" Type="http://schemas.microsoft.com/office/2007/relationships/hdphoto" Target="../media/hdphoto13.wdp"/><Relationship Id="rId3" Type="http://schemas.openxmlformats.org/officeDocument/2006/relationships/image" Target="../media/image46.jpeg"/><Relationship Id="rId21" Type="http://schemas.openxmlformats.org/officeDocument/2006/relationships/image" Target="../media/image56.jpeg"/><Relationship Id="rId7" Type="http://schemas.microsoft.com/office/2007/relationships/hdphoto" Target="../media/hdphoto4.wdp"/><Relationship Id="rId12" Type="http://schemas.openxmlformats.org/officeDocument/2006/relationships/image" Target="../media/image51.png"/><Relationship Id="rId17" Type="http://schemas.openxmlformats.org/officeDocument/2006/relationships/image" Target="../media/image54.jpeg"/><Relationship Id="rId25" Type="http://schemas.openxmlformats.org/officeDocument/2006/relationships/image" Target="../media/image58.png"/><Relationship Id="rId2" Type="http://schemas.openxmlformats.org/officeDocument/2006/relationships/image" Target="../media/image45.jpeg"/><Relationship Id="rId16" Type="http://schemas.microsoft.com/office/2007/relationships/hdphoto" Target="../media/hdphoto8.wdp"/><Relationship Id="rId20" Type="http://schemas.microsoft.com/office/2007/relationships/hdphoto" Target="../media/hdphoto10.wdp"/><Relationship Id="rId1" Type="http://schemas.openxmlformats.org/officeDocument/2006/relationships/slideLayout" Target="../slideLayouts/slideLayout10.xml"/><Relationship Id="rId6" Type="http://schemas.openxmlformats.org/officeDocument/2006/relationships/image" Target="../media/image48.png"/><Relationship Id="rId11" Type="http://schemas.microsoft.com/office/2007/relationships/hdphoto" Target="../media/hdphoto6.wdp"/><Relationship Id="rId24" Type="http://schemas.microsoft.com/office/2007/relationships/hdphoto" Target="../media/hdphoto12.wdp"/><Relationship Id="rId5" Type="http://schemas.microsoft.com/office/2007/relationships/hdphoto" Target="../media/hdphoto3.wdp"/><Relationship Id="rId15" Type="http://schemas.openxmlformats.org/officeDocument/2006/relationships/image" Target="../media/image53.png"/><Relationship Id="rId23" Type="http://schemas.openxmlformats.org/officeDocument/2006/relationships/image" Target="../media/image57.jpeg"/><Relationship Id="rId10" Type="http://schemas.openxmlformats.org/officeDocument/2006/relationships/image" Target="../media/image50.png"/><Relationship Id="rId19" Type="http://schemas.openxmlformats.org/officeDocument/2006/relationships/image" Target="../media/image55.jpeg"/><Relationship Id="rId4" Type="http://schemas.openxmlformats.org/officeDocument/2006/relationships/image" Target="../media/image47.jpeg"/><Relationship Id="rId9" Type="http://schemas.microsoft.com/office/2007/relationships/hdphoto" Target="../media/hdphoto5.wdp"/><Relationship Id="rId14" Type="http://schemas.microsoft.com/office/2007/relationships/hdphoto" Target="../media/hdphoto7.wdp"/><Relationship Id="rId22" Type="http://schemas.microsoft.com/office/2007/relationships/hdphoto" Target="../media/hdphoto11.wdp"/></Relationships>
</file>

<file path=ppt/slides/_rels/slide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41.xml"/><Relationship Id="rId5" Type="http://schemas.microsoft.com/office/2007/relationships/hdphoto" Target="../media/hdphoto1.wdp"/><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hyperlink" Target="https://www.google.de/url?sa=i&amp;rct=j&amp;q=&amp;esrc=s&amp;source=images&amp;cd=&amp;ved=0ahUKEwjt2JH_yKXZAhUJJ-wKHfx8ASUQjRwIBw&amp;url=https://de.freepik.com/fotos-vektoren-kostenlos/publikum-ziel&amp;psig=AOvVaw1VTwlRkHlD7aj3rIYSzoEJ&amp;ust=1518703096638195" TargetMode="External"/><Relationship Id="rId18" Type="http://schemas.openxmlformats.org/officeDocument/2006/relationships/image" Target="../media/image18.png"/><Relationship Id="rId3" Type="http://schemas.openxmlformats.org/officeDocument/2006/relationships/tags" Target="../tags/tag44.xml"/><Relationship Id="rId21" Type="http://schemas.openxmlformats.org/officeDocument/2006/relationships/image" Target="../media/image20.png"/><Relationship Id="rId7" Type="http://schemas.openxmlformats.org/officeDocument/2006/relationships/tags" Target="../tags/tag48.xml"/><Relationship Id="rId12" Type="http://schemas.openxmlformats.org/officeDocument/2006/relationships/image" Target="../media/image14.png"/><Relationship Id="rId17" Type="http://schemas.openxmlformats.org/officeDocument/2006/relationships/image" Target="../media/image17.png"/><Relationship Id="rId2" Type="http://schemas.openxmlformats.org/officeDocument/2006/relationships/tags" Target="../tags/tag43.xml"/><Relationship Id="rId16" Type="http://schemas.openxmlformats.org/officeDocument/2006/relationships/image" Target="../media/image16.png"/><Relationship Id="rId20" Type="http://schemas.openxmlformats.org/officeDocument/2006/relationships/image" Target="../media/image19.png"/><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hyperlink" Target="http://www.google.de/url?sa=i&amp;rct=j&amp;q=&amp;esrc=s&amp;source=images&amp;cd=&amp;cad=rja&amp;uact=8&amp;ved=0ahUKEwi56fX4yaXZAhUOZlAKHWAlAOMQjRwIBw&amp;url=http://www.weitblicker-marketing.com/kampagnen/&amp;psig=AOvVaw1VTwlRkHlD7aj3rIYSzoEJ&amp;ust=1518703096638195" TargetMode="External"/><Relationship Id="rId5" Type="http://schemas.openxmlformats.org/officeDocument/2006/relationships/tags" Target="../tags/tag46.xml"/><Relationship Id="rId15" Type="http://schemas.microsoft.com/office/2007/relationships/hdphoto" Target="../media/hdphoto2.wdp"/><Relationship Id="rId10" Type="http://schemas.openxmlformats.org/officeDocument/2006/relationships/slideLayout" Target="../slideLayouts/slideLayout13.xml"/><Relationship Id="rId19" Type="http://schemas.openxmlformats.org/officeDocument/2006/relationships/hyperlink" Target="https://www.google.de/url?sa=i&amp;rct=j&amp;q=&amp;esrc=s&amp;source=images&amp;cd=&amp;cad=rja&amp;uact=8&amp;ved=0ahUKEwjxz5-jyqXZAhUEKlAKHSEEDgoQjRwIBw&amp;url=https://thenounproject.com/term/objectives/676474/&amp;psig=AOvVaw1q6JDpykg1DeqLwl90cG2I&amp;ust=1518703679644044" TargetMode="Externa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image" Target="../media/image15.png"/><Relationship Id="rId22" Type="http://schemas.openxmlformats.org/officeDocument/2006/relationships/image" Target="../media/image21.jpe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2.xml"/><Relationship Id="rId7" Type="http://schemas.openxmlformats.org/officeDocument/2006/relationships/notesSlide" Target="../notesSlides/notesSlide2.xml"/><Relationship Id="rId2" Type="http://schemas.openxmlformats.org/officeDocument/2006/relationships/tags" Target="../tags/tag51.xml"/><Relationship Id="rId1" Type="http://schemas.openxmlformats.org/officeDocument/2006/relationships/vmlDrawing" Target="../drawings/vmlDrawing24.vml"/><Relationship Id="rId6" Type="http://schemas.openxmlformats.org/officeDocument/2006/relationships/slideLayout" Target="../slideLayouts/slideLayout12.xml"/><Relationship Id="rId11" Type="http://schemas.openxmlformats.org/officeDocument/2006/relationships/image" Target="../media/image22.emf"/><Relationship Id="rId5" Type="http://schemas.openxmlformats.org/officeDocument/2006/relationships/tags" Target="../tags/tag54.xml"/><Relationship Id="rId10" Type="http://schemas.openxmlformats.org/officeDocument/2006/relationships/oleObject" Target="../embeddings/oleObject24.bin"/><Relationship Id="rId4" Type="http://schemas.openxmlformats.org/officeDocument/2006/relationships/tags" Target="../tags/tag53.xml"/><Relationship Id="rId9"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9.xml"/><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7.jpeg"/><Relationship Id="rId7" Type="http://schemas.openxmlformats.org/officeDocument/2006/relationships/image" Target="../media/image26.png"/><Relationship Id="rId2" Type="http://schemas.openxmlformats.org/officeDocument/2006/relationships/slideLayout" Target="../slideLayouts/slideLayout10.xml"/><Relationship Id="rId1" Type="http://schemas.openxmlformats.org/officeDocument/2006/relationships/tags" Target="../tags/tag55.xml"/><Relationship Id="rId6" Type="http://schemas.openxmlformats.org/officeDocument/2006/relationships/image" Target="../media/image25.png"/><Relationship Id="rId11" Type="http://schemas.openxmlformats.org/officeDocument/2006/relationships/image" Target="../media/image33.jpg"/><Relationship Id="rId5" Type="http://schemas.openxmlformats.org/officeDocument/2006/relationships/image" Target="../media/image29.jpeg"/><Relationship Id="rId10" Type="http://schemas.openxmlformats.org/officeDocument/2006/relationships/image" Target="../media/image32.jpg"/><Relationship Id="rId4" Type="http://schemas.openxmlformats.org/officeDocument/2006/relationships/image" Target="../media/image28.png"/><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7.png"/><Relationship Id="rId2" Type="http://schemas.openxmlformats.org/officeDocument/2006/relationships/slideLayout" Target="../slideLayouts/slideLayout10.xml"/><Relationship Id="rId1" Type="http://schemas.openxmlformats.org/officeDocument/2006/relationships/tags" Target="../tags/tag5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GoTeach</a:t>
            </a:r>
            <a:endParaRPr lang="de-DE" dirty="0"/>
          </a:p>
        </p:txBody>
      </p:sp>
      <p:sp>
        <p:nvSpPr>
          <p:cNvPr id="4" name="Textplatzhalter 3"/>
          <p:cNvSpPr>
            <a:spLocks noGrp="1"/>
          </p:cNvSpPr>
          <p:nvPr>
            <p:ph type="body" sz="quarter" idx="2"/>
          </p:nvPr>
        </p:nvSpPr>
        <p:spPr>
          <a:xfrm>
            <a:off x="414000" y="0"/>
            <a:ext cx="1017907" cy="222108"/>
          </a:xfrm>
        </p:spPr>
        <p:txBody>
          <a:bodyPr/>
          <a:lstStyle/>
          <a:p>
            <a:r>
              <a:rPr lang="de-DE" dirty="0" smtClean="0"/>
              <a:t>For </a:t>
            </a:r>
            <a:r>
              <a:rPr lang="de-DE" dirty="0" err="1" smtClean="0"/>
              <a:t>InTernal</a:t>
            </a:r>
            <a:r>
              <a:rPr lang="de-DE" dirty="0" smtClean="0"/>
              <a:t> USE</a:t>
            </a:r>
            <a:endParaRPr lang="de-DE" dirty="0"/>
          </a:p>
        </p:txBody>
      </p:sp>
      <p:sp>
        <p:nvSpPr>
          <p:cNvPr id="5" name="Textplatzhalter 4"/>
          <p:cNvSpPr>
            <a:spLocks noGrp="1"/>
          </p:cNvSpPr>
          <p:nvPr>
            <p:ph type="body" sz="quarter" idx="3"/>
          </p:nvPr>
        </p:nvSpPr>
        <p:spPr>
          <a:xfrm>
            <a:off x="414000" y="3105712"/>
            <a:ext cx="8316000" cy="330072"/>
          </a:xfrm>
        </p:spPr>
        <p:txBody>
          <a:bodyPr/>
          <a:lstStyle/>
          <a:p>
            <a:r>
              <a:rPr lang="de-DE" dirty="0" err="1" smtClean="0"/>
              <a:t>October</a:t>
            </a:r>
            <a:r>
              <a:rPr lang="de-DE" dirty="0"/>
              <a:t> </a:t>
            </a:r>
            <a:r>
              <a:rPr lang="de-DE" dirty="0" smtClean="0"/>
              <a:t>2019</a:t>
            </a:r>
            <a:endParaRPr lang="de-DE" dirty="0"/>
          </a:p>
        </p:txBody>
      </p:sp>
      <p:sp>
        <p:nvSpPr>
          <p:cNvPr id="6" name="Textplatzhalter 5"/>
          <p:cNvSpPr>
            <a:spLocks noGrp="1"/>
          </p:cNvSpPr>
          <p:nvPr>
            <p:ph type="body" sz="quarter" idx="5"/>
          </p:nvPr>
        </p:nvSpPr>
        <p:spPr/>
        <p:txBody>
          <a:bodyPr/>
          <a:lstStyle/>
          <a:p>
            <a:r>
              <a:rPr lang="de-DE" dirty="0" err="1" smtClean="0"/>
              <a:t>Slides</a:t>
            </a:r>
            <a:r>
              <a:rPr lang="de-DE" dirty="0" smtClean="0"/>
              <a:t> for Town Halls</a:t>
            </a:r>
            <a:endParaRPr lang="de-DE" dirty="0"/>
          </a:p>
        </p:txBody>
      </p:sp>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4000" y="5999290"/>
            <a:ext cx="1286011" cy="484826"/>
          </a:xfrm>
          <a:prstGeom prst="rect">
            <a:avLst/>
          </a:prstGeom>
        </p:spPr>
      </p:pic>
      <p:sp>
        <p:nvSpPr>
          <p:cNvPr id="17" name="Rechteck 16"/>
          <p:cNvSpPr/>
          <p:nvPr/>
        </p:nvSpPr>
        <p:spPr>
          <a:xfrm>
            <a:off x="7413987" y="3162114"/>
            <a:ext cx="1431802" cy="2646878"/>
          </a:xfrm>
          <a:prstGeom prst="rect">
            <a:avLst/>
          </a:prstGeom>
          <a:noFill/>
        </p:spPr>
        <p:txBody>
          <a:bodyPr wrap="none" lIns="91440" tIns="45720" rIns="91440" bIns="45720">
            <a:spAutoFit/>
          </a:bodyPr>
          <a:lstStyle/>
          <a:p>
            <a:pPr algn="ctr"/>
            <a:r>
              <a:rPr lang="de-DE" sz="16600" b="1" cap="none" spc="0" dirty="0" smtClean="0">
                <a:ln w="22225">
                  <a:noFill/>
                  <a:prstDash val="solid"/>
                </a:ln>
                <a:blipFill dpi="0" rotWithShape="1">
                  <a:blip r:embed="rId3"/>
                  <a:srcRect/>
                  <a:tile tx="-654050" ty="501650" sx="25000" sy="25000" flip="none" algn="tl"/>
                </a:blipFill>
                <a:effectLst/>
                <a:latin typeface="Delivery" panose="020F0503020204020204" pitchFamily="34" charset="0"/>
              </a:rPr>
              <a:t>S</a:t>
            </a:r>
            <a:endParaRPr lang="de-DE" sz="16600" b="1" cap="none" spc="0" dirty="0">
              <a:ln w="22225">
                <a:noFill/>
                <a:prstDash val="solid"/>
              </a:ln>
              <a:blipFill dpi="0" rotWithShape="1">
                <a:blip r:embed="rId3"/>
                <a:srcRect/>
                <a:tile tx="-654050" ty="501650" sx="25000" sy="25000" flip="none" algn="tl"/>
              </a:blipFill>
              <a:effectLst/>
              <a:latin typeface="Delivery" panose="020F0503020204020204" pitchFamily="34" charset="0"/>
            </a:endParaRPr>
          </a:p>
        </p:txBody>
      </p:sp>
      <p:pic>
        <p:nvPicPr>
          <p:cNvPr id="3" name="Grafik 2"/>
          <p:cNvPicPr>
            <a:picLocks noChangeAspect="1"/>
          </p:cNvPicPr>
          <p:nvPr/>
        </p:nvPicPr>
        <p:blipFill rotWithShape="1">
          <a:blip r:embed="rId4"/>
          <a:srcRect l="53423" t="36827" r="31352" b="44274"/>
          <a:stretch/>
        </p:blipFill>
        <p:spPr>
          <a:xfrm>
            <a:off x="4441620" y="1949543"/>
            <a:ext cx="2402747" cy="1677659"/>
          </a:xfrm>
          <a:prstGeom prst="rect">
            <a:avLst/>
          </a:prstGeom>
        </p:spPr>
      </p:pic>
      <p:pic>
        <p:nvPicPr>
          <p:cNvPr id="7" name="Grafik 6"/>
          <p:cNvPicPr>
            <a:picLocks noChangeAspect="1"/>
          </p:cNvPicPr>
          <p:nvPr/>
        </p:nvPicPr>
        <p:blipFill rotWithShape="1">
          <a:blip r:embed="rId5"/>
          <a:srcRect l="41171" t="56046" r="19460" b="26497"/>
          <a:stretch/>
        </p:blipFill>
        <p:spPr>
          <a:xfrm>
            <a:off x="2542596" y="3656406"/>
            <a:ext cx="6156379" cy="1535574"/>
          </a:xfrm>
          <a:prstGeom prst="rect">
            <a:avLst/>
          </a:prstGeom>
        </p:spPr>
      </p:pic>
    </p:spTree>
    <p:extLst>
      <p:ext uri="{BB962C8B-B14F-4D97-AF65-F5344CB8AC3E}">
        <p14:creationId xmlns:p14="http://schemas.microsoft.com/office/powerpoint/2010/main" val="18739224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pPr algn="ctr"/>
            <a:r>
              <a:rPr lang="de-DE" sz="3200" dirty="0" smtClean="0"/>
              <a:t>Appendix</a:t>
            </a:r>
            <a:endParaRPr lang="de-DE" sz="3200" dirty="0"/>
          </a:p>
        </p:txBody>
      </p:sp>
      <p:sp>
        <p:nvSpPr>
          <p:cNvPr id="3" name="Fußzeilenplatzhalter 2"/>
          <p:cNvSpPr>
            <a:spLocks noGrp="1"/>
          </p:cNvSpPr>
          <p:nvPr>
            <p:ph type="ftr" sz="quarter" idx="31"/>
          </p:nvPr>
        </p:nvSpPr>
        <p:spPr/>
        <p:txBody>
          <a:bodyPr/>
          <a:lstStyle/>
          <a:p>
            <a:r>
              <a:rPr lang="en-US" smtClean="0"/>
              <a:t>GoTeach | October 2019</a:t>
            </a:r>
            <a:endParaRPr lang="en-US" dirty="0"/>
          </a:p>
        </p:txBody>
      </p:sp>
    </p:spTree>
    <p:extLst>
      <p:ext uri="{BB962C8B-B14F-4D97-AF65-F5344CB8AC3E}">
        <p14:creationId xmlns:p14="http://schemas.microsoft.com/office/powerpoint/2010/main" val="37891836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413205" y="1119226"/>
            <a:ext cx="8489393" cy="4857068"/>
            <a:chOff x="413205" y="1259098"/>
            <a:chExt cx="5498675" cy="4349750"/>
          </a:xfrm>
        </p:grpSpPr>
        <p:grpSp>
          <p:nvGrpSpPr>
            <p:cNvPr id="7" name="Group 8"/>
            <p:cNvGrpSpPr>
              <a:grpSpLocks/>
            </p:cNvGrpSpPr>
            <p:nvPr/>
          </p:nvGrpSpPr>
          <p:grpSpPr bwMode="auto">
            <a:xfrm>
              <a:off x="3236892" y="1259098"/>
              <a:ext cx="2674988" cy="4349750"/>
              <a:chOff x="2017" y="937"/>
              <a:chExt cx="1682" cy="2932"/>
            </a:xfrm>
          </p:grpSpPr>
          <p:grpSp>
            <p:nvGrpSpPr>
              <p:cNvPr id="10" name="Group 9"/>
              <p:cNvGrpSpPr>
                <a:grpSpLocks/>
              </p:cNvGrpSpPr>
              <p:nvPr/>
            </p:nvGrpSpPr>
            <p:grpSpPr bwMode="auto">
              <a:xfrm>
                <a:off x="2017" y="1345"/>
                <a:ext cx="1682" cy="2524"/>
                <a:chOff x="2023" y="1316"/>
                <a:chExt cx="1684" cy="2559"/>
              </a:xfrm>
            </p:grpSpPr>
            <p:sp>
              <p:nvSpPr>
                <p:cNvPr id="12" name="Freeform 10"/>
                <p:cNvSpPr>
                  <a:spLocks/>
                </p:cNvSpPr>
                <p:nvPr/>
              </p:nvSpPr>
              <p:spPr bwMode="gray">
                <a:xfrm>
                  <a:off x="2023" y="1316"/>
                  <a:ext cx="1684" cy="2559"/>
                </a:xfrm>
                <a:custGeom>
                  <a:avLst/>
                  <a:gdLst>
                    <a:gd name="T0" fmla="*/ 2551 w 2551"/>
                    <a:gd name="T1" fmla="*/ 2008 h 2008"/>
                    <a:gd name="T2" fmla="*/ 2551 w 2551"/>
                    <a:gd name="T3" fmla="*/ 0 h 2008"/>
                    <a:gd name="T4" fmla="*/ 1274 w 2551"/>
                    <a:gd name="T5" fmla="*/ 97 h 2008"/>
                    <a:gd name="T6" fmla="*/ 0 w 2551"/>
                    <a:gd name="T7" fmla="*/ 0 h 2008"/>
                    <a:gd name="T8" fmla="*/ 0 w 2551"/>
                    <a:gd name="T9" fmla="*/ 2008 h 2008"/>
                    <a:gd name="T10" fmla="*/ 2551 w 2551"/>
                    <a:gd name="T11" fmla="*/ 2008 h 2008"/>
                    <a:gd name="T12" fmla="*/ 0 60000 65536"/>
                    <a:gd name="T13" fmla="*/ 0 60000 65536"/>
                    <a:gd name="T14" fmla="*/ 0 60000 65536"/>
                    <a:gd name="T15" fmla="*/ 0 60000 65536"/>
                    <a:gd name="T16" fmla="*/ 0 60000 65536"/>
                    <a:gd name="T17" fmla="*/ 0 60000 65536"/>
                    <a:gd name="T18" fmla="*/ 0 w 2551"/>
                    <a:gd name="T19" fmla="*/ 0 h 2008"/>
                    <a:gd name="T20" fmla="*/ 2551 w 2551"/>
                    <a:gd name="T21" fmla="*/ 2008 h 2008"/>
                  </a:gdLst>
                  <a:ahLst/>
                  <a:cxnLst>
                    <a:cxn ang="T12">
                      <a:pos x="T0" y="T1"/>
                    </a:cxn>
                    <a:cxn ang="T13">
                      <a:pos x="T2" y="T3"/>
                    </a:cxn>
                    <a:cxn ang="T14">
                      <a:pos x="T4" y="T5"/>
                    </a:cxn>
                    <a:cxn ang="T15">
                      <a:pos x="T6" y="T7"/>
                    </a:cxn>
                    <a:cxn ang="T16">
                      <a:pos x="T8" y="T9"/>
                    </a:cxn>
                    <a:cxn ang="T17">
                      <a:pos x="T10" y="T11"/>
                    </a:cxn>
                  </a:cxnLst>
                  <a:rect l="T18" t="T19" r="T20" b="T21"/>
                  <a:pathLst>
                    <a:path w="2551" h="2008">
                      <a:moveTo>
                        <a:pt x="2551" y="2008"/>
                      </a:moveTo>
                      <a:lnTo>
                        <a:pt x="2551" y="0"/>
                      </a:lnTo>
                      <a:lnTo>
                        <a:pt x="1274" y="97"/>
                      </a:lnTo>
                      <a:lnTo>
                        <a:pt x="0" y="0"/>
                      </a:lnTo>
                      <a:lnTo>
                        <a:pt x="0" y="2008"/>
                      </a:lnTo>
                      <a:lnTo>
                        <a:pt x="2551" y="2008"/>
                      </a:lnTo>
                    </a:path>
                  </a:pathLst>
                </a:custGeom>
                <a:solidFill>
                  <a:schemeClr val="accent5"/>
                </a:solidFill>
                <a:ln w="9525" cmpd="sng">
                  <a:noFill/>
                  <a:prstDash val="solid"/>
                  <a:round/>
                  <a:headEnd/>
                  <a:tailEnd/>
                </a:ln>
              </p:spPr>
              <p:txBody>
                <a:bodyPr/>
                <a:lstStyle/>
                <a:p>
                  <a:endParaRPr lang="en-US" sz="1400"/>
                </a:p>
              </p:txBody>
            </p:sp>
            <p:sp>
              <p:nvSpPr>
                <p:cNvPr id="13" name="Rectangle 11"/>
                <p:cNvSpPr>
                  <a:spLocks noChangeArrowheads="1"/>
                </p:cNvSpPr>
                <p:nvPr/>
              </p:nvSpPr>
              <p:spPr bwMode="gray">
                <a:xfrm>
                  <a:off x="2104" y="1522"/>
                  <a:ext cx="153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a:defRPr sz="1400">
                      <a:solidFill>
                        <a:schemeClr val="tx1"/>
                      </a:solidFill>
                      <a:latin typeface="Arial" charset="0"/>
                    </a:defRPr>
                  </a:lvl1pPr>
                  <a:lvl2pPr marL="182563" indent="-182563">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marL="0" lvl="1" indent="0">
                    <a:spcAft>
                      <a:spcPct val="20000"/>
                    </a:spcAft>
                    <a:buSzPct val="100000"/>
                  </a:pPr>
                  <a:endParaRPr lang="en-US" altLang="en-US" dirty="0">
                    <a:solidFill>
                      <a:schemeClr val="accent2"/>
                    </a:solidFill>
                  </a:endParaRPr>
                </a:p>
              </p:txBody>
            </p:sp>
          </p:grpSp>
          <p:sp>
            <p:nvSpPr>
              <p:cNvPr id="11" name="AutoShape 12"/>
              <p:cNvSpPr>
                <a:spLocks noChangeArrowheads="1"/>
              </p:cNvSpPr>
              <p:nvPr/>
            </p:nvSpPr>
            <p:spPr bwMode="gray">
              <a:xfrm rot="5400000" flipV="1">
                <a:off x="2630" y="324"/>
                <a:ext cx="453" cy="1680"/>
              </a:xfrm>
              <a:prstGeom prst="homePlate">
                <a:avLst>
                  <a:gd name="adj" fmla="val 25000"/>
                </a:avLst>
              </a:prstGeom>
              <a:solidFill>
                <a:srgbClr val="FFE88C"/>
              </a:solidFill>
              <a:ln w="9525">
                <a:noFill/>
                <a:miter lim="800000"/>
                <a:headEnd/>
                <a:tailEnd/>
              </a:ln>
            </p:spPr>
            <p:txBody>
              <a:bodyPr vert="eaVert" lIns="0" tIns="9144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endParaRPr lang="en-US" altLang="en-US" dirty="0">
                  <a:solidFill>
                    <a:schemeClr val="accent2"/>
                  </a:solidFill>
                </a:endParaRPr>
              </a:p>
            </p:txBody>
          </p:sp>
        </p:grpSp>
        <p:sp>
          <p:nvSpPr>
            <p:cNvPr id="8" name="Freeform 13"/>
            <p:cNvSpPr>
              <a:spLocks/>
            </p:cNvSpPr>
            <p:nvPr/>
          </p:nvSpPr>
          <p:spPr bwMode="gray">
            <a:xfrm>
              <a:off x="414000" y="1864384"/>
              <a:ext cx="2673398" cy="3744464"/>
            </a:xfrm>
            <a:custGeom>
              <a:avLst/>
              <a:gdLst>
                <a:gd name="T0" fmla="*/ 2551 w 2551"/>
                <a:gd name="T1" fmla="*/ 2008 h 2008"/>
                <a:gd name="T2" fmla="*/ 2551 w 2551"/>
                <a:gd name="T3" fmla="*/ 0 h 2008"/>
                <a:gd name="T4" fmla="*/ 1274 w 2551"/>
                <a:gd name="T5" fmla="*/ 97 h 2008"/>
                <a:gd name="T6" fmla="*/ 0 w 2551"/>
                <a:gd name="T7" fmla="*/ 0 h 2008"/>
                <a:gd name="T8" fmla="*/ 0 w 2551"/>
                <a:gd name="T9" fmla="*/ 2008 h 2008"/>
                <a:gd name="T10" fmla="*/ 2551 w 2551"/>
                <a:gd name="T11" fmla="*/ 2008 h 2008"/>
                <a:gd name="T12" fmla="*/ 0 60000 65536"/>
                <a:gd name="T13" fmla="*/ 0 60000 65536"/>
                <a:gd name="T14" fmla="*/ 0 60000 65536"/>
                <a:gd name="T15" fmla="*/ 0 60000 65536"/>
                <a:gd name="T16" fmla="*/ 0 60000 65536"/>
                <a:gd name="T17" fmla="*/ 0 60000 65536"/>
                <a:gd name="T18" fmla="*/ 0 w 2551"/>
                <a:gd name="T19" fmla="*/ 0 h 2008"/>
                <a:gd name="T20" fmla="*/ 2551 w 2551"/>
                <a:gd name="T21" fmla="*/ 2008 h 2008"/>
              </a:gdLst>
              <a:ahLst/>
              <a:cxnLst>
                <a:cxn ang="T12">
                  <a:pos x="T0" y="T1"/>
                </a:cxn>
                <a:cxn ang="T13">
                  <a:pos x="T2" y="T3"/>
                </a:cxn>
                <a:cxn ang="T14">
                  <a:pos x="T4" y="T5"/>
                </a:cxn>
                <a:cxn ang="T15">
                  <a:pos x="T6" y="T7"/>
                </a:cxn>
                <a:cxn ang="T16">
                  <a:pos x="T8" y="T9"/>
                </a:cxn>
                <a:cxn ang="T17">
                  <a:pos x="T10" y="T11"/>
                </a:cxn>
              </a:cxnLst>
              <a:rect l="T18" t="T19" r="T20" b="T21"/>
              <a:pathLst>
                <a:path w="2551" h="2008">
                  <a:moveTo>
                    <a:pt x="2551" y="2008"/>
                  </a:moveTo>
                  <a:lnTo>
                    <a:pt x="2551" y="0"/>
                  </a:lnTo>
                  <a:lnTo>
                    <a:pt x="1274" y="97"/>
                  </a:lnTo>
                  <a:lnTo>
                    <a:pt x="0" y="0"/>
                  </a:lnTo>
                  <a:lnTo>
                    <a:pt x="0" y="2008"/>
                  </a:lnTo>
                  <a:lnTo>
                    <a:pt x="2551" y="2008"/>
                  </a:lnTo>
                </a:path>
              </a:pathLst>
            </a:custGeom>
            <a:solidFill>
              <a:schemeClr val="accent5"/>
            </a:solidFill>
            <a:ln w="9525" cmpd="sng">
              <a:noFill/>
              <a:prstDash val="solid"/>
              <a:round/>
              <a:headEnd/>
              <a:tailEnd/>
            </a:ln>
          </p:spPr>
          <p:txBody>
            <a:bodyPr/>
            <a:lstStyle/>
            <a:p>
              <a:endParaRPr lang="en-US" sz="1400"/>
            </a:p>
          </p:txBody>
        </p:sp>
        <p:sp>
          <p:nvSpPr>
            <p:cNvPr id="9" name="AutoShape 15"/>
            <p:cNvSpPr>
              <a:spLocks noChangeArrowheads="1"/>
            </p:cNvSpPr>
            <p:nvPr/>
          </p:nvSpPr>
          <p:spPr bwMode="gray">
            <a:xfrm rot="5400000" flipV="1">
              <a:off x="1413086" y="259959"/>
              <a:ext cx="672045" cy="2671807"/>
            </a:xfrm>
            <a:prstGeom prst="homePlate">
              <a:avLst>
                <a:gd name="adj" fmla="val 25000"/>
              </a:avLst>
            </a:prstGeom>
            <a:solidFill>
              <a:srgbClr val="FFE88C"/>
            </a:solidFill>
            <a:ln w="9525">
              <a:noFill/>
              <a:miter lim="800000"/>
              <a:headEnd/>
              <a:tailEnd/>
            </a:ln>
          </p:spPr>
          <p:txBody>
            <a:bodyPr vert="eaVert" lIns="0" tIns="9144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endParaRPr lang="en-US" altLang="en-US" dirty="0">
                <a:solidFill>
                  <a:schemeClr val="accent2"/>
                </a:solidFill>
              </a:endParaRPr>
            </a:p>
          </p:txBody>
        </p:sp>
      </p:grpSp>
      <p:sp>
        <p:nvSpPr>
          <p:cNvPr id="2" name="Fußzeilenplatzhalter 1"/>
          <p:cNvSpPr>
            <a:spLocks noGrp="1"/>
          </p:cNvSpPr>
          <p:nvPr>
            <p:ph type="ftr" sz="quarter" idx="31"/>
          </p:nvPr>
        </p:nvSpPr>
        <p:spPr/>
        <p:txBody>
          <a:bodyPr/>
          <a:lstStyle/>
          <a:p>
            <a:r>
              <a:rPr lang="en-US" smtClean="0"/>
              <a:t>GoTeach | October 2019</a:t>
            </a:r>
            <a:endParaRPr lang="en-US" dirty="0" smtClean="0"/>
          </a:p>
        </p:txBody>
      </p:sp>
      <p:sp>
        <p:nvSpPr>
          <p:cNvPr id="3" name="Textplatzhalter 2"/>
          <p:cNvSpPr>
            <a:spLocks noGrp="1"/>
          </p:cNvSpPr>
          <p:nvPr>
            <p:ph type="body" sz="quarter" idx="32"/>
          </p:nvPr>
        </p:nvSpPr>
        <p:spPr>
          <a:xfrm>
            <a:off x="414432" y="2036496"/>
            <a:ext cx="4123771" cy="3939798"/>
          </a:xfrm>
        </p:spPr>
        <p:txBody>
          <a:bodyPr/>
          <a:lstStyle/>
          <a:p>
            <a:pPr marL="0" indent="0">
              <a:buNone/>
            </a:pPr>
            <a:r>
              <a:rPr lang="en-US" sz="1050" b="0" dirty="0"/>
              <a:t>Teach For All </a:t>
            </a:r>
            <a:r>
              <a:rPr lang="en-US" sz="1050" b="0" dirty="0" smtClean="0"/>
              <a:t>(TFA) is </a:t>
            </a:r>
            <a:r>
              <a:rPr lang="en-US" sz="1050" b="0" dirty="0"/>
              <a:t>a global network, currently comprising </a:t>
            </a:r>
            <a:r>
              <a:rPr lang="en-US" sz="1050" b="0" dirty="0" smtClean="0"/>
              <a:t>more than 50 </a:t>
            </a:r>
            <a:r>
              <a:rPr lang="en-US" sz="1050" b="0" dirty="0"/>
              <a:t>independent, locally led and funded partners with a shared vision to develop collective leadership in classrooms and communities in order to ensure that all children can fulfill their potential. </a:t>
            </a:r>
            <a:endParaRPr lang="en-US" sz="1050" b="0" dirty="0" smtClean="0"/>
          </a:p>
          <a:p>
            <a:pPr marL="0" indent="0">
              <a:buNone/>
            </a:pPr>
            <a:r>
              <a:rPr lang="en-US" sz="1050" b="0" dirty="0" smtClean="0"/>
              <a:t>Teach </a:t>
            </a:r>
            <a:r>
              <a:rPr lang="en-US" sz="1050" b="0" dirty="0"/>
              <a:t>For All aims to ensure that students gain the skills, awareness, agency, and mindset they require to enter the world of work and pursue meaningful careers, to grow as civic leaders and to be in a position to shape a better future for themselves and all of us. </a:t>
            </a:r>
            <a:endParaRPr lang="en-US" sz="1050" b="0" dirty="0" smtClean="0"/>
          </a:p>
          <a:p>
            <a:pPr marL="0" indent="0">
              <a:buNone/>
            </a:pPr>
            <a:r>
              <a:rPr lang="en-US" sz="1050" b="0" dirty="0" smtClean="0"/>
              <a:t>TFA network partners recruit and develop promising university graduates and young professionals with diverse backgrounds to commit to teach for at least two years in under-resourced schools and communities.</a:t>
            </a:r>
          </a:p>
          <a:p>
            <a:pPr marL="0" indent="0">
              <a:buNone/>
            </a:pPr>
            <a:r>
              <a:rPr lang="en-US" sz="1050" b="0" dirty="0"/>
              <a:t>Through the network’s shared approach, Teach For All partners strive for both immediate and long-term impact: developing effective teachers to provide quality education and expanded opportunities for marginalized students today, and investing in their development as collaborative leaders who will continue to pursue lasting change for children, within and beyond the education sector, throughout their careers.</a:t>
            </a:r>
            <a:endParaRPr lang="de-DE" sz="1050" b="0" dirty="0"/>
          </a:p>
          <a:p>
            <a:pPr marL="0" indent="0">
              <a:buNone/>
            </a:pPr>
            <a:r>
              <a:rPr lang="en-US" sz="1050" b="0" dirty="0" smtClean="0"/>
              <a:t>For more information visit: </a:t>
            </a:r>
            <a:r>
              <a:rPr lang="en-US" sz="1050" b="0" dirty="0" smtClean="0">
                <a:hlinkClick r:id="rId3"/>
              </a:rPr>
              <a:t>https://teachforall.org</a:t>
            </a:r>
            <a:r>
              <a:rPr lang="en-US" sz="1050" b="0" dirty="0" smtClean="0"/>
              <a:t> </a:t>
            </a:r>
          </a:p>
        </p:txBody>
      </p:sp>
      <p:sp>
        <p:nvSpPr>
          <p:cNvPr id="4" name="Textplatzhalter 3"/>
          <p:cNvSpPr>
            <a:spLocks noGrp="1"/>
          </p:cNvSpPr>
          <p:nvPr>
            <p:ph type="body" sz="quarter" idx="33"/>
          </p:nvPr>
        </p:nvSpPr>
        <p:spPr>
          <a:xfrm>
            <a:off x="4852598" y="2036496"/>
            <a:ext cx="3976848" cy="3480586"/>
          </a:xfrm>
        </p:spPr>
        <p:txBody>
          <a:bodyPr/>
          <a:lstStyle/>
          <a:p>
            <a:pPr marL="0" indent="0">
              <a:buNone/>
            </a:pPr>
            <a:r>
              <a:rPr lang="en-US" sz="1050" b="0" dirty="0"/>
              <a:t>SOS Children's Villages is the world’s largest non-governmental </a:t>
            </a:r>
            <a:r>
              <a:rPr lang="en-US" sz="1050" b="0" dirty="0" smtClean="0"/>
              <a:t>organization </a:t>
            </a:r>
            <a:r>
              <a:rPr lang="en-US" sz="1050" b="0" dirty="0"/>
              <a:t>focused on supporting children and young people without parental care, or at risk of losing it. Founded in 1949 as a non-denominational </a:t>
            </a:r>
            <a:r>
              <a:rPr lang="en-US" sz="1050" b="0" dirty="0" smtClean="0"/>
              <a:t>organization</a:t>
            </a:r>
            <a:r>
              <a:rPr lang="en-US" sz="1050" b="0" dirty="0"/>
              <a:t>, its presence grew to 136 countries and territories today</a:t>
            </a:r>
            <a:r>
              <a:rPr lang="en-US" sz="1050" b="0" dirty="0" smtClean="0"/>
              <a:t>. </a:t>
            </a:r>
          </a:p>
          <a:p>
            <a:pPr marL="0" indent="0">
              <a:buNone/>
            </a:pPr>
            <a:r>
              <a:rPr lang="en-US" sz="1050" b="0" dirty="0" smtClean="0"/>
              <a:t>The organization’s </a:t>
            </a:r>
            <a:r>
              <a:rPr lang="en-US" sz="1050" b="0" dirty="0"/>
              <a:t>work is anchored in the UN Convention on the Rights of the Child and the UN Guidelines for the Alternative Care of Children. It operates more than 2,600 locally led </a:t>
            </a:r>
            <a:r>
              <a:rPr lang="en-US" sz="1050" b="0" dirty="0" smtClean="0"/>
              <a:t>programs</a:t>
            </a:r>
            <a:r>
              <a:rPr lang="en-US" sz="1050" b="0" dirty="0"/>
              <a:t>, directly reaching more than a million children, young people and families. </a:t>
            </a:r>
            <a:endParaRPr lang="de-DE" sz="1050" b="0" dirty="0"/>
          </a:p>
          <a:p>
            <a:pPr marL="0" indent="0">
              <a:buNone/>
            </a:pPr>
            <a:r>
              <a:rPr lang="en-US" sz="1050" b="0" dirty="0"/>
              <a:t>Many SOS Children’s Villages are affiliated with kindergartens, schools, educational centers, medical centers or emergency relief programs</a:t>
            </a:r>
            <a:r>
              <a:rPr lang="en-US" sz="1050" b="0" dirty="0" smtClean="0"/>
              <a:t>, which </a:t>
            </a:r>
            <a:r>
              <a:rPr lang="en-US" sz="1050" b="0" dirty="0"/>
              <a:t>are also available to needy children and families in the neighborhood</a:t>
            </a:r>
            <a:r>
              <a:rPr lang="en-US" sz="1050" b="0" dirty="0" smtClean="0"/>
              <a:t>. SOS </a:t>
            </a:r>
            <a:r>
              <a:rPr lang="en-US" sz="1050" b="0" dirty="0"/>
              <a:t>Children’s Villages partners with donors, communities, governments and other </a:t>
            </a:r>
            <a:r>
              <a:rPr lang="en-US" sz="1050" b="0" dirty="0" smtClean="0"/>
              <a:t>organizations </a:t>
            </a:r>
            <a:r>
              <a:rPr lang="en-US" sz="1050" b="0" dirty="0"/>
              <a:t>to reach the children and young people who need support, and advocates for governments to uphold their obligations with regard to children’s rights</a:t>
            </a:r>
            <a:r>
              <a:rPr lang="en-US" sz="1050" b="0" dirty="0" smtClean="0"/>
              <a:t>. By </a:t>
            </a:r>
            <a:r>
              <a:rPr lang="en-US" sz="1050" b="0" dirty="0"/>
              <a:t>promoting social development, strengthening families, and ensuring education and healthcare, SOS Children’s Villages also makes a lasting contribution to positive change and growth in communities.</a:t>
            </a:r>
            <a:endParaRPr lang="de-DE" sz="1050" b="0" dirty="0"/>
          </a:p>
          <a:p>
            <a:pPr marL="0" indent="0">
              <a:buNone/>
            </a:pPr>
            <a:r>
              <a:rPr lang="en-US" sz="1050" b="0" dirty="0"/>
              <a:t>For more information visit</a:t>
            </a:r>
            <a:r>
              <a:rPr lang="en-US" sz="1000" b="0" dirty="0" smtClean="0"/>
              <a:t>: </a:t>
            </a:r>
            <a:r>
              <a:rPr lang="de-DE" sz="1000" b="0" u="sng" dirty="0">
                <a:solidFill>
                  <a:schemeClr val="accent2"/>
                </a:solidFill>
                <a:hlinkClick r:id="rId4"/>
              </a:rPr>
              <a:t>https://www.sos-childrensvillages.org</a:t>
            </a:r>
            <a:r>
              <a:rPr lang="de-DE" sz="1000" b="0" dirty="0">
                <a:solidFill>
                  <a:schemeClr val="accent2"/>
                </a:solidFill>
              </a:rPr>
              <a:t> </a:t>
            </a:r>
          </a:p>
          <a:p>
            <a:pPr marL="0" indent="0">
              <a:buNone/>
            </a:pPr>
            <a:endParaRPr lang="de-DE" sz="1000" b="0" dirty="0"/>
          </a:p>
          <a:p>
            <a:pPr marL="0" indent="0">
              <a:buNone/>
            </a:pPr>
            <a:endParaRPr lang="de-DE" sz="1200" dirty="0"/>
          </a:p>
        </p:txBody>
      </p:sp>
      <p:sp>
        <p:nvSpPr>
          <p:cNvPr id="5" name="Titel 4"/>
          <p:cNvSpPr>
            <a:spLocks noGrp="1"/>
          </p:cNvSpPr>
          <p:nvPr>
            <p:ph type="title"/>
          </p:nvPr>
        </p:nvSpPr>
        <p:spPr/>
        <p:txBody>
          <a:bodyPr/>
          <a:lstStyle/>
          <a:p>
            <a:r>
              <a:rPr lang="de-DE" dirty="0" err="1" smtClean="0"/>
              <a:t>Our</a:t>
            </a:r>
            <a:r>
              <a:rPr lang="de-DE" dirty="0" smtClean="0"/>
              <a:t> </a:t>
            </a:r>
            <a:r>
              <a:rPr lang="de-DE" dirty="0" err="1" smtClean="0"/>
              <a:t>partners</a:t>
            </a:r>
            <a:endParaRPr lang="de-DE" dirty="0"/>
          </a:p>
        </p:txBody>
      </p:sp>
      <p:pic>
        <p:nvPicPr>
          <p:cNvPr id="14" name="Picture 213"/>
          <p:cNvPicPr>
            <a:picLocks noChangeAspect="1" noChangeArrowheads="1"/>
          </p:cNvPicPr>
          <p:nvPr>
            <p:custDataLst>
              <p:tags r:id="rId1"/>
            </p:custDataLst>
          </p:nvPr>
        </p:nvPicPr>
        <p:blipFill>
          <a:blip r:embed="rId5">
            <a:extLst>
              <a:ext uri="{28A0092B-C50C-407E-A947-70E740481C1C}">
                <a14:useLocalDpi xmlns:a14="http://schemas.microsoft.com/office/drawing/2010/main"/>
              </a:ext>
            </a:extLst>
          </a:blip>
          <a:srcRect/>
          <a:stretch>
            <a:fillRect/>
          </a:stretch>
        </p:blipFill>
        <p:spPr bwMode="auto">
          <a:xfrm>
            <a:off x="1462032" y="1182674"/>
            <a:ext cx="2032254" cy="56259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Y:\GoTeach 3.0\07_SOS\07_08 Communication\05 Material Texte\Logos\SOS_Logo_Claim_BLUE_neg_English.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93816" y="1170124"/>
            <a:ext cx="2080290" cy="575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3393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31"/>
          </p:nvPr>
        </p:nvSpPr>
        <p:spPr/>
        <p:txBody>
          <a:bodyPr/>
          <a:lstStyle/>
          <a:p>
            <a:r>
              <a:rPr lang="en-US" smtClean="0"/>
              <a:t>GoTeach | October 2019</a:t>
            </a:r>
            <a:endParaRPr lang="en-US" dirty="0" smtClean="0"/>
          </a:p>
        </p:txBody>
      </p:sp>
      <p:sp>
        <p:nvSpPr>
          <p:cNvPr id="3" name="Titel 2"/>
          <p:cNvSpPr>
            <a:spLocks noGrp="1"/>
          </p:cNvSpPr>
          <p:nvPr>
            <p:ph type="title"/>
          </p:nvPr>
        </p:nvSpPr>
        <p:spPr/>
        <p:txBody>
          <a:bodyPr/>
          <a:lstStyle/>
          <a:p>
            <a:r>
              <a:rPr lang="de-DE" dirty="0" smtClean="0"/>
              <a:t>Menu </a:t>
            </a:r>
            <a:r>
              <a:rPr lang="de-DE" dirty="0" err="1" smtClean="0"/>
              <a:t>of</a:t>
            </a:r>
            <a:r>
              <a:rPr lang="de-DE" dirty="0" smtClean="0"/>
              <a:t> </a:t>
            </a:r>
            <a:r>
              <a:rPr lang="de-DE" dirty="0" err="1" smtClean="0"/>
              <a:t>Activities</a:t>
            </a:r>
            <a:r>
              <a:rPr lang="de-DE" dirty="0" smtClean="0"/>
              <a:t> (1/2)</a:t>
            </a:r>
            <a:endParaRPr lang="de-DE" dirty="0"/>
          </a:p>
        </p:txBody>
      </p:sp>
      <p:sp>
        <p:nvSpPr>
          <p:cNvPr id="5" name="AutoShape 4"/>
          <p:cNvSpPr>
            <a:spLocks noChangeArrowheads="1"/>
          </p:cNvSpPr>
          <p:nvPr/>
        </p:nvSpPr>
        <p:spPr bwMode="gray">
          <a:xfrm>
            <a:off x="413998" y="1952441"/>
            <a:ext cx="3075352" cy="544417"/>
          </a:xfrm>
          <a:prstGeom prst="rect">
            <a:avLst/>
          </a:prstGeom>
          <a:solidFill>
            <a:schemeClr val="accent3">
              <a:lumMod val="40000"/>
              <a:lumOff val="60000"/>
            </a:schemeClr>
          </a:solidFill>
          <a:ln w="9525" algn="ctr">
            <a:noFill/>
            <a:miter lim="800000"/>
            <a:headEnd/>
            <a:tailEnd/>
          </a:ln>
        </p:spPr>
        <p:txBody>
          <a:bodyPr lIns="72000" tIns="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dirty="0" smtClean="0">
                <a:solidFill>
                  <a:schemeClr val="accent2"/>
                </a:solidFill>
                <a:latin typeface="+mn-lt"/>
              </a:rPr>
              <a:t>1. Mentoring</a:t>
            </a:r>
            <a:endParaRPr lang="en-US" altLang="en-US" dirty="0">
              <a:solidFill>
                <a:schemeClr val="accent2"/>
              </a:solidFill>
              <a:latin typeface="+mn-lt"/>
            </a:endParaRPr>
          </a:p>
        </p:txBody>
      </p:sp>
      <p:sp>
        <p:nvSpPr>
          <p:cNvPr id="6" name="Rectangle 5"/>
          <p:cNvSpPr>
            <a:spLocks noChangeArrowheads="1"/>
          </p:cNvSpPr>
          <p:nvPr/>
        </p:nvSpPr>
        <p:spPr bwMode="gray">
          <a:xfrm>
            <a:off x="3928262" y="1952441"/>
            <a:ext cx="4814100" cy="544417"/>
          </a:xfrm>
          <a:prstGeom prst="rect">
            <a:avLst/>
          </a:prstGeom>
          <a:solidFill>
            <a:schemeClr val="accent5"/>
          </a:solidFill>
          <a:ln w="9525" algn="ctr">
            <a:noFill/>
            <a:miter lim="800000"/>
            <a:headEnd/>
            <a:tailEnd/>
          </a:ln>
        </p:spPr>
        <p:txBody>
          <a:bodyPr lIns="72000" tIns="0" rIns="4572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200" dirty="0" smtClean="0">
                <a:solidFill>
                  <a:schemeClr val="accent2"/>
                </a:solidFill>
                <a:latin typeface="+mn-lt"/>
              </a:rPr>
              <a:t>Mentor a student, supporting them to develop the skills and attitudes needed to progress into employment, training or further education</a:t>
            </a:r>
            <a:endParaRPr lang="en-US" altLang="en-US" sz="1200" dirty="0">
              <a:solidFill>
                <a:schemeClr val="accent2"/>
              </a:solidFill>
              <a:latin typeface="+mn-lt"/>
            </a:endParaRPr>
          </a:p>
        </p:txBody>
      </p:sp>
      <p:sp>
        <p:nvSpPr>
          <p:cNvPr id="7" name="AutoShape 7"/>
          <p:cNvSpPr>
            <a:spLocks noChangeArrowheads="1"/>
          </p:cNvSpPr>
          <p:nvPr/>
        </p:nvSpPr>
        <p:spPr bwMode="gray">
          <a:xfrm>
            <a:off x="413998" y="2739071"/>
            <a:ext cx="3075352" cy="544417"/>
          </a:xfrm>
          <a:prstGeom prst="rect">
            <a:avLst/>
          </a:prstGeom>
          <a:solidFill>
            <a:schemeClr val="accent3">
              <a:lumMod val="40000"/>
              <a:lumOff val="60000"/>
            </a:schemeClr>
          </a:solidFill>
          <a:ln w="9525" algn="ctr">
            <a:noFill/>
            <a:miter lim="800000"/>
            <a:headEnd/>
            <a:tailEnd/>
          </a:ln>
        </p:spPr>
        <p:txBody>
          <a:bodyPr lIns="72000" tIns="0" rIns="0" bIns="0" anchor="ctr"/>
          <a:lstStyle/>
          <a:p>
            <a:pPr>
              <a:spcAft>
                <a:spcPct val="20000"/>
              </a:spcAft>
              <a:buClr>
                <a:srgbClr val="000000"/>
              </a:buClr>
              <a:buSzPct val="100000"/>
            </a:pPr>
            <a:r>
              <a:rPr lang="en-US" altLang="en-US" sz="1400" dirty="0" smtClean="0">
                <a:solidFill>
                  <a:schemeClr val="accent2"/>
                </a:solidFill>
              </a:rPr>
              <a:t>2. CV &amp; Interview </a:t>
            </a:r>
          </a:p>
          <a:p>
            <a:pPr>
              <a:spcAft>
                <a:spcPct val="20000"/>
              </a:spcAft>
              <a:buClr>
                <a:srgbClr val="000000"/>
              </a:buClr>
              <a:buSzPct val="100000"/>
            </a:pPr>
            <a:r>
              <a:rPr lang="en-US" altLang="en-US" sz="1400" dirty="0" smtClean="0">
                <a:solidFill>
                  <a:schemeClr val="accent2"/>
                </a:solidFill>
              </a:rPr>
              <a:t>Session</a:t>
            </a:r>
            <a:endParaRPr lang="en-US" altLang="en-US" sz="1400" dirty="0">
              <a:solidFill>
                <a:schemeClr val="accent2"/>
              </a:solidFill>
            </a:endParaRPr>
          </a:p>
        </p:txBody>
      </p:sp>
      <p:sp>
        <p:nvSpPr>
          <p:cNvPr id="8" name="Rectangle 8"/>
          <p:cNvSpPr>
            <a:spLocks noChangeArrowheads="1"/>
          </p:cNvSpPr>
          <p:nvPr/>
        </p:nvSpPr>
        <p:spPr bwMode="gray">
          <a:xfrm>
            <a:off x="3928262" y="2739071"/>
            <a:ext cx="4814100" cy="544417"/>
          </a:xfrm>
          <a:prstGeom prst="rect">
            <a:avLst/>
          </a:prstGeom>
          <a:solidFill>
            <a:schemeClr val="accent5"/>
          </a:solidFill>
          <a:ln w="9525" algn="ctr">
            <a:noFill/>
            <a:miter lim="800000"/>
            <a:headEnd/>
            <a:tailEnd/>
          </a:ln>
        </p:spPr>
        <p:txBody>
          <a:bodyPr lIns="72000" tIns="0" rIns="45720" bIns="0" anchor="ctr"/>
          <a:lstStyle/>
          <a:p>
            <a:pPr>
              <a:spcAft>
                <a:spcPct val="20000"/>
              </a:spcAft>
              <a:buClr>
                <a:srgbClr val="000000"/>
              </a:buClr>
              <a:buSzPct val="100000"/>
            </a:pPr>
            <a:r>
              <a:rPr lang="en-US" altLang="en-US" sz="1200" dirty="0" smtClean="0">
                <a:solidFill>
                  <a:schemeClr val="accent2"/>
                </a:solidFill>
              </a:rPr>
              <a:t>Run a CV &amp; Interview Skills workshop for young people – helping them to create an impactful CV and learn how to prepare for an interview</a:t>
            </a:r>
            <a:endParaRPr lang="en-US" altLang="en-US" sz="1200" dirty="0">
              <a:solidFill>
                <a:schemeClr val="accent2"/>
              </a:solidFill>
            </a:endParaRPr>
          </a:p>
        </p:txBody>
      </p:sp>
      <p:sp>
        <p:nvSpPr>
          <p:cNvPr id="9" name="AutoShape 10"/>
          <p:cNvSpPr>
            <a:spLocks noChangeArrowheads="1"/>
          </p:cNvSpPr>
          <p:nvPr/>
        </p:nvSpPr>
        <p:spPr bwMode="gray">
          <a:xfrm>
            <a:off x="413998" y="3523834"/>
            <a:ext cx="3075352" cy="544417"/>
          </a:xfrm>
          <a:prstGeom prst="rect">
            <a:avLst/>
          </a:prstGeom>
          <a:solidFill>
            <a:schemeClr val="accent3">
              <a:lumMod val="40000"/>
              <a:lumOff val="60000"/>
            </a:schemeClr>
          </a:solidFill>
          <a:ln w="9525" algn="ctr">
            <a:noFill/>
            <a:miter lim="800000"/>
            <a:headEnd/>
            <a:tailEnd/>
          </a:ln>
        </p:spPr>
        <p:txBody>
          <a:bodyPr lIns="72000" tIns="0" rIns="0" bIns="0" anchor="ctr"/>
          <a:lstStyle/>
          <a:p>
            <a:pPr>
              <a:spcAft>
                <a:spcPct val="20000"/>
              </a:spcAft>
              <a:buClr>
                <a:srgbClr val="000000"/>
              </a:buClr>
              <a:buSzPct val="100000"/>
            </a:pPr>
            <a:r>
              <a:rPr lang="en-US" altLang="en-US" sz="1400" dirty="0" smtClean="0">
                <a:solidFill>
                  <a:schemeClr val="accent2"/>
                </a:solidFill>
              </a:rPr>
              <a:t>3. Site Visit</a:t>
            </a:r>
            <a:endParaRPr lang="en-US" altLang="en-US" sz="1400" dirty="0">
              <a:solidFill>
                <a:schemeClr val="accent2"/>
              </a:solidFill>
            </a:endParaRPr>
          </a:p>
        </p:txBody>
      </p:sp>
      <p:sp>
        <p:nvSpPr>
          <p:cNvPr id="10" name="Rectangle 11"/>
          <p:cNvSpPr>
            <a:spLocks noChangeArrowheads="1"/>
          </p:cNvSpPr>
          <p:nvPr/>
        </p:nvSpPr>
        <p:spPr bwMode="gray">
          <a:xfrm>
            <a:off x="3928262" y="3523834"/>
            <a:ext cx="4814100" cy="544417"/>
          </a:xfrm>
          <a:prstGeom prst="rect">
            <a:avLst/>
          </a:prstGeom>
          <a:solidFill>
            <a:schemeClr val="accent5"/>
          </a:solidFill>
          <a:ln w="9525" algn="ctr">
            <a:noFill/>
            <a:miter lim="800000"/>
            <a:headEnd/>
            <a:tailEnd/>
          </a:ln>
        </p:spPr>
        <p:txBody>
          <a:bodyPr lIns="72000" tIns="0" rIns="4572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200" dirty="0" smtClean="0">
                <a:solidFill>
                  <a:schemeClr val="accent2"/>
                </a:solidFill>
                <a:latin typeface="+mn-lt"/>
              </a:rPr>
              <a:t>Provide an immersive and interactive site visit at a local site or office. This includes a site tour, career Q&amp;A with DPDHL colleagues, and logistics-themed problem solving and teamwork activities. </a:t>
            </a:r>
            <a:endParaRPr lang="en-US" altLang="en-US" dirty="0">
              <a:solidFill>
                <a:schemeClr val="accent2"/>
              </a:solidFill>
              <a:latin typeface="+mn-lt"/>
            </a:endParaRPr>
          </a:p>
        </p:txBody>
      </p:sp>
      <p:sp>
        <p:nvSpPr>
          <p:cNvPr id="11" name="AutoShape 13"/>
          <p:cNvSpPr>
            <a:spLocks noChangeArrowheads="1"/>
          </p:cNvSpPr>
          <p:nvPr/>
        </p:nvSpPr>
        <p:spPr bwMode="gray">
          <a:xfrm>
            <a:off x="413998" y="4313831"/>
            <a:ext cx="3075352" cy="542917"/>
          </a:xfrm>
          <a:prstGeom prst="rect">
            <a:avLst/>
          </a:prstGeom>
          <a:solidFill>
            <a:schemeClr val="accent3">
              <a:lumMod val="40000"/>
              <a:lumOff val="60000"/>
            </a:schemeClr>
          </a:solidFill>
          <a:ln w="9525" algn="ctr">
            <a:noFill/>
            <a:miter lim="800000"/>
            <a:headEnd/>
            <a:tailEnd/>
          </a:ln>
        </p:spPr>
        <p:txBody>
          <a:bodyPr lIns="72000" tIns="0" rIns="0" bIns="0" anchor="ctr"/>
          <a:lstStyle/>
          <a:p>
            <a:pPr>
              <a:spcAft>
                <a:spcPct val="20000"/>
              </a:spcAft>
              <a:buClr>
                <a:srgbClr val="000000"/>
              </a:buClr>
              <a:buSzPct val="100000"/>
            </a:pPr>
            <a:r>
              <a:rPr lang="en-US" altLang="en-US" sz="1400" dirty="0" smtClean="0">
                <a:solidFill>
                  <a:schemeClr val="accent2"/>
                </a:solidFill>
              </a:rPr>
              <a:t>4. Classroom </a:t>
            </a:r>
          </a:p>
          <a:p>
            <a:pPr>
              <a:spcAft>
                <a:spcPct val="20000"/>
              </a:spcAft>
              <a:buClr>
                <a:srgbClr val="000000"/>
              </a:buClr>
              <a:buSzPct val="100000"/>
            </a:pPr>
            <a:r>
              <a:rPr lang="en-US" altLang="en-US" sz="1400" dirty="0" smtClean="0">
                <a:solidFill>
                  <a:schemeClr val="accent2"/>
                </a:solidFill>
              </a:rPr>
              <a:t>Session</a:t>
            </a:r>
            <a:endParaRPr lang="en-US" altLang="en-US" sz="1400" dirty="0">
              <a:solidFill>
                <a:schemeClr val="accent2"/>
              </a:solidFill>
            </a:endParaRPr>
          </a:p>
        </p:txBody>
      </p:sp>
      <p:sp>
        <p:nvSpPr>
          <p:cNvPr id="12" name="Rectangle 14"/>
          <p:cNvSpPr>
            <a:spLocks noChangeArrowheads="1"/>
          </p:cNvSpPr>
          <p:nvPr/>
        </p:nvSpPr>
        <p:spPr bwMode="gray">
          <a:xfrm>
            <a:off x="3928262" y="4313831"/>
            <a:ext cx="4814100" cy="542917"/>
          </a:xfrm>
          <a:prstGeom prst="rect">
            <a:avLst/>
          </a:prstGeom>
          <a:solidFill>
            <a:schemeClr val="accent5"/>
          </a:solidFill>
          <a:ln w="9525" algn="ctr">
            <a:noFill/>
            <a:miter lim="800000"/>
            <a:headEnd/>
            <a:tailEnd/>
          </a:ln>
        </p:spPr>
        <p:txBody>
          <a:bodyPr lIns="72000" tIns="0" rIns="4572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200" dirty="0" smtClean="0">
                <a:solidFill>
                  <a:schemeClr val="accent2"/>
                </a:solidFill>
                <a:latin typeface="+mn-lt"/>
              </a:rPr>
              <a:t>Inspire students in the classroom by delivering a guest teacher lesson. As a role model, you will help the students think differently about the world of work and careers in the logistics industry.</a:t>
            </a:r>
            <a:endParaRPr lang="en-US" altLang="en-US" dirty="0">
              <a:solidFill>
                <a:schemeClr val="accent2"/>
              </a:solidFill>
              <a:latin typeface="+mn-lt"/>
            </a:endParaRPr>
          </a:p>
        </p:txBody>
      </p:sp>
      <p:sp>
        <p:nvSpPr>
          <p:cNvPr id="15" name="Rectangle 18"/>
          <p:cNvSpPr>
            <a:spLocks noChangeArrowheads="1"/>
          </p:cNvSpPr>
          <p:nvPr>
            <p:custDataLst>
              <p:tags r:id="rId1"/>
            </p:custDataLst>
          </p:nvPr>
        </p:nvSpPr>
        <p:spPr bwMode="gray">
          <a:xfrm>
            <a:off x="419100" y="1504423"/>
            <a:ext cx="3888000" cy="298450"/>
          </a:xfrm>
          <a:prstGeom prst="rect">
            <a:avLst/>
          </a:prstGeom>
          <a:noFill/>
          <a:ln w="9525">
            <a:noFill/>
            <a:miter lim="800000"/>
            <a:headEnd/>
            <a:tailEnd/>
          </a:ln>
        </p:spPr>
        <p:txBody>
          <a:bodyPr lIns="0" tIns="36000" rIns="108000" bIns="36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dirty="0" smtClean="0">
                <a:solidFill>
                  <a:schemeClr val="accent2"/>
                </a:solidFill>
                <a:latin typeface="+mn-lt"/>
              </a:rPr>
              <a:t>Activity</a:t>
            </a:r>
            <a:endParaRPr lang="en-US" altLang="en-US" dirty="0">
              <a:solidFill>
                <a:schemeClr val="accent2"/>
              </a:solidFill>
              <a:latin typeface="+mn-lt"/>
            </a:endParaRPr>
          </a:p>
        </p:txBody>
      </p:sp>
      <p:sp>
        <p:nvSpPr>
          <p:cNvPr id="16" name="Rectangle 19"/>
          <p:cNvSpPr>
            <a:spLocks noChangeArrowheads="1"/>
          </p:cNvSpPr>
          <p:nvPr>
            <p:custDataLst>
              <p:tags r:id="rId2"/>
            </p:custDataLst>
          </p:nvPr>
        </p:nvSpPr>
        <p:spPr bwMode="gray">
          <a:xfrm>
            <a:off x="3939988" y="1504423"/>
            <a:ext cx="3888000" cy="298450"/>
          </a:xfrm>
          <a:prstGeom prst="rect">
            <a:avLst/>
          </a:prstGeom>
          <a:noFill/>
          <a:ln w="9525">
            <a:noFill/>
            <a:miter lim="800000"/>
            <a:headEnd/>
            <a:tailEnd/>
          </a:ln>
        </p:spPr>
        <p:txBody>
          <a:bodyPr lIns="0" tIns="36000" rIns="108000" bIns="36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dirty="0" smtClean="0">
                <a:solidFill>
                  <a:schemeClr val="accent2"/>
                </a:solidFill>
                <a:latin typeface="+mn-lt"/>
              </a:rPr>
              <a:t>Objective</a:t>
            </a:r>
            <a:endParaRPr lang="en-US" altLang="en-US" dirty="0">
              <a:solidFill>
                <a:schemeClr val="accent2"/>
              </a:solidFill>
              <a:latin typeface="+mn-lt"/>
            </a:endParaRPr>
          </a:p>
        </p:txBody>
      </p:sp>
      <p:cxnSp>
        <p:nvCxnSpPr>
          <p:cNvPr id="17" name="Gerade Verbindung 8"/>
          <p:cNvCxnSpPr/>
          <p:nvPr/>
        </p:nvCxnSpPr>
        <p:spPr bwMode="gray">
          <a:xfrm>
            <a:off x="413999" y="1802645"/>
            <a:ext cx="307535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8"/>
          <p:cNvCxnSpPr/>
          <p:nvPr/>
        </p:nvCxnSpPr>
        <p:spPr bwMode="gray">
          <a:xfrm>
            <a:off x="3928262" y="1802645"/>
            <a:ext cx="481410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AutoShape 28"/>
          <p:cNvSpPr>
            <a:spLocks noChangeArrowheads="1"/>
          </p:cNvSpPr>
          <p:nvPr/>
        </p:nvSpPr>
        <p:spPr bwMode="gray">
          <a:xfrm>
            <a:off x="3591637" y="198984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endParaRPr lang="en-US">
              <a:solidFill>
                <a:schemeClr val="accent2"/>
              </a:solidFill>
            </a:endParaRPr>
          </a:p>
        </p:txBody>
      </p:sp>
      <p:sp>
        <p:nvSpPr>
          <p:cNvPr id="20" name="AutoShape 28"/>
          <p:cNvSpPr>
            <a:spLocks noChangeArrowheads="1"/>
          </p:cNvSpPr>
          <p:nvPr/>
        </p:nvSpPr>
        <p:spPr bwMode="gray">
          <a:xfrm>
            <a:off x="3591637" y="277647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endParaRPr lang="en-US">
              <a:solidFill>
                <a:schemeClr val="accent2"/>
              </a:solidFill>
            </a:endParaRPr>
          </a:p>
        </p:txBody>
      </p:sp>
      <p:sp>
        <p:nvSpPr>
          <p:cNvPr id="21" name="AutoShape 28"/>
          <p:cNvSpPr>
            <a:spLocks noChangeArrowheads="1"/>
          </p:cNvSpPr>
          <p:nvPr/>
        </p:nvSpPr>
        <p:spPr bwMode="gray">
          <a:xfrm>
            <a:off x="3591637" y="3561233"/>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endParaRPr lang="en-US">
              <a:solidFill>
                <a:schemeClr val="accent2"/>
              </a:solidFill>
            </a:endParaRPr>
          </a:p>
        </p:txBody>
      </p:sp>
      <p:sp>
        <p:nvSpPr>
          <p:cNvPr id="22" name="AutoShape 28"/>
          <p:cNvSpPr>
            <a:spLocks noChangeArrowheads="1"/>
          </p:cNvSpPr>
          <p:nvPr/>
        </p:nvSpPr>
        <p:spPr bwMode="gray">
          <a:xfrm>
            <a:off x="3591637" y="435048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endParaRPr lang="en-US">
              <a:solidFill>
                <a:schemeClr val="accent2"/>
              </a:solidFill>
            </a:endParaRPr>
          </a:p>
        </p:txBody>
      </p:sp>
      <p:grpSp>
        <p:nvGrpSpPr>
          <p:cNvPr id="26" name="Gruppieren 25"/>
          <p:cNvGrpSpPr/>
          <p:nvPr/>
        </p:nvGrpSpPr>
        <p:grpSpPr>
          <a:xfrm>
            <a:off x="413998" y="5098961"/>
            <a:ext cx="8328364" cy="542917"/>
            <a:chOff x="413998" y="4835621"/>
            <a:chExt cx="8328364" cy="542917"/>
          </a:xfrm>
        </p:grpSpPr>
        <p:sp>
          <p:nvSpPr>
            <p:cNvPr id="13" name="AutoShape 16"/>
            <p:cNvSpPr>
              <a:spLocks noChangeArrowheads="1"/>
            </p:cNvSpPr>
            <p:nvPr/>
          </p:nvSpPr>
          <p:spPr bwMode="gray">
            <a:xfrm>
              <a:off x="413998" y="4835621"/>
              <a:ext cx="3075352" cy="542917"/>
            </a:xfrm>
            <a:prstGeom prst="rect">
              <a:avLst/>
            </a:prstGeom>
            <a:solidFill>
              <a:schemeClr val="accent3">
                <a:lumMod val="40000"/>
                <a:lumOff val="60000"/>
              </a:schemeClr>
            </a:solidFill>
            <a:ln w="9525" algn="ctr">
              <a:noFill/>
              <a:miter lim="800000"/>
              <a:headEnd/>
              <a:tailEnd/>
            </a:ln>
          </p:spPr>
          <p:txBody>
            <a:bodyPr lIns="72000" tIns="0" rIns="0" bIns="0" anchor="ctr"/>
            <a:lstStyle/>
            <a:p>
              <a:pPr>
                <a:spcAft>
                  <a:spcPct val="20000"/>
                </a:spcAft>
                <a:buClr>
                  <a:srgbClr val="000000"/>
                </a:buClr>
                <a:buSzPct val="100000"/>
              </a:pPr>
              <a:r>
                <a:rPr lang="en-US" altLang="en-US" sz="1400" dirty="0" smtClean="0">
                  <a:solidFill>
                    <a:schemeClr val="accent2"/>
                  </a:solidFill>
                </a:rPr>
                <a:t>5. Employability </a:t>
              </a:r>
            </a:p>
            <a:p>
              <a:pPr>
                <a:spcAft>
                  <a:spcPct val="20000"/>
                </a:spcAft>
                <a:buClr>
                  <a:srgbClr val="000000"/>
                </a:buClr>
                <a:buSzPct val="100000"/>
              </a:pPr>
              <a:r>
                <a:rPr lang="en-US" altLang="en-US" sz="1400" dirty="0" smtClean="0">
                  <a:solidFill>
                    <a:schemeClr val="accent2"/>
                  </a:solidFill>
                </a:rPr>
                <a:t>Workshop</a:t>
              </a:r>
              <a:endParaRPr lang="en-US" altLang="en-US" sz="1400" dirty="0">
                <a:solidFill>
                  <a:schemeClr val="accent2"/>
                </a:solidFill>
              </a:endParaRPr>
            </a:p>
          </p:txBody>
        </p:sp>
        <p:sp>
          <p:nvSpPr>
            <p:cNvPr id="14" name="Rectangle 17"/>
            <p:cNvSpPr>
              <a:spLocks noChangeArrowheads="1"/>
            </p:cNvSpPr>
            <p:nvPr/>
          </p:nvSpPr>
          <p:spPr bwMode="gray">
            <a:xfrm>
              <a:off x="3928262" y="4835621"/>
              <a:ext cx="4814100" cy="542917"/>
            </a:xfrm>
            <a:prstGeom prst="rect">
              <a:avLst/>
            </a:prstGeom>
            <a:solidFill>
              <a:schemeClr val="accent5"/>
            </a:solidFill>
            <a:ln w="9525" algn="ctr">
              <a:noFill/>
              <a:miter lim="800000"/>
              <a:headEnd/>
              <a:tailEnd/>
            </a:ln>
          </p:spPr>
          <p:txBody>
            <a:bodyPr lIns="72000" tIns="0" rIns="4572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200" dirty="0" smtClean="0">
                  <a:solidFill>
                    <a:schemeClr val="accent2"/>
                  </a:solidFill>
                  <a:latin typeface="+mn-lt"/>
                </a:rPr>
                <a:t>Run a workshop that supports young people to develop employability skills and helps attract more young people into Logistics.</a:t>
              </a:r>
              <a:endParaRPr lang="en-US" altLang="en-US" dirty="0">
                <a:solidFill>
                  <a:schemeClr val="accent2"/>
                </a:solidFill>
                <a:latin typeface="+mn-lt"/>
              </a:endParaRPr>
            </a:p>
          </p:txBody>
        </p:sp>
        <p:sp>
          <p:nvSpPr>
            <p:cNvPr id="23" name="AutoShape 28"/>
            <p:cNvSpPr>
              <a:spLocks noChangeArrowheads="1"/>
            </p:cNvSpPr>
            <p:nvPr/>
          </p:nvSpPr>
          <p:spPr bwMode="gray">
            <a:xfrm>
              <a:off x="3591637" y="487227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endParaRPr lang="en-US">
                <a:solidFill>
                  <a:schemeClr val="accent2"/>
                </a:solidFill>
              </a:endParaRPr>
            </a:p>
          </p:txBody>
        </p:sp>
      </p:grpSp>
      <p:pic>
        <p:nvPicPr>
          <p:cNvPr id="31" name="Picture 3" descr="Y:\GoTeach 3.0\05_Teach For All\9 - Communication TFAll Partnership\4_Images\01_Images_Teach For All\Teach For All 2013\Chile.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035571" y="3523834"/>
            <a:ext cx="1462144" cy="55039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4"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043936" y="1953269"/>
            <a:ext cx="1445414" cy="542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845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35571" y="5098961"/>
            <a:ext cx="1453779" cy="5319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35571" y="4313832"/>
            <a:ext cx="1453779" cy="546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35570" y="2739071"/>
            <a:ext cx="1453779" cy="586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5610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31"/>
          </p:nvPr>
        </p:nvSpPr>
        <p:spPr/>
        <p:txBody>
          <a:bodyPr/>
          <a:lstStyle/>
          <a:p>
            <a:r>
              <a:rPr lang="en-US" smtClean="0"/>
              <a:t>GoTeach | October 2019</a:t>
            </a:r>
            <a:endParaRPr lang="en-US" dirty="0" smtClean="0"/>
          </a:p>
        </p:txBody>
      </p:sp>
      <p:sp>
        <p:nvSpPr>
          <p:cNvPr id="3" name="Titel 2"/>
          <p:cNvSpPr>
            <a:spLocks noGrp="1"/>
          </p:cNvSpPr>
          <p:nvPr>
            <p:ph type="title"/>
          </p:nvPr>
        </p:nvSpPr>
        <p:spPr/>
        <p:txBody>
          <a:bodyPr/>
          <a:lstStyle/>
          <a:p>
            <a:r>
              <a:rPr lang="de-DE" dirty="0" smtClean="0"/>
              <a:t>Menu </a:t>
            </a:r>
            <a:r>
              <a:rPr lang="de-DE" dirty="0" err="1" smtClean="0"/>
              <a:t>of</a:t>
            </a:r>
            <a:r>
              <a:rPr lang="de-DE" dirty="0" smtClean="0"/>
              <a:t> </a:t>
            </a:r>
            <a:r>
              <a:rPr lang="de-DE" dirty="0" err="1" smtClean="0"/>
              <a:t>Activities</a:t>
            </a:r>
            <a:r>
              <a:rPr lang="de-DE" dirty="0" smtClean="0"/>
              <a:t> (2/2)</a:t>
            </a:r>
            <a:endParaRPr lang="de-DE" dirty="0"/>
          </a:p>
        </p:txBody>
      </p:sp>
      <p:sp>
        <p:nvSpPr>
          <p:cNvPr id="5" name="AutoShape 4"/>
          <p:cNvSpPr>
            <a:spLocks noChangeArrowheads="1"/>
          </p:cNvSpPr>
          <p:nvPr/>
        </p:nvSpPr>
        <p:spPr bwMode="gray">
          <a:xfrm>
            <a:off x="413998" y="1952441"/>
            <a:ext cx="3075352" cy="544417"/>
          </a:xfrm>
          <a:prstGeom prst="rect">
            <a:avLst/>
          </a:prstGeom>
          <a:solidFill>
            <a:schemeClr val="accent3">
              <a:lumMod val="40000"/>
              <a:lumOff val="60000"/>
            </a:schemeClr>
          </a:solidFill>
          <a:ln w="9525" algn="ctr">
            <a:noFill/>
            <a:miter lim="800000"/>
            <a:headEnd/>
            <a:tailEnd/>
          </a:ln>
        </p:spPr>
        <p:txBody>
          <a:bodyPr lIns="72000" tIns="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dirty="0" smtClean="0">
                <a:solidFill>
                  <a:schemeClr val="accent2"/>
                </a:solidFill>
                <a:latin typeface="+mn-lt"/>
              </a:rPr>
              <a:t>6. Career Session</a:t>
            </a:r>
            <a:endParaRPr lang="en-US" altLang="en-US" dirty="0">
              <a:solidFill>
                <a:schemeClr val="accent2"/>
              </a:solidFill>
              <a:latin typeface="+mn-lt"/>
            </a:endParaRPr>
          </a:p>
        </p:txBody>
      </p:sp>
      <p:sp>
        <p:nvSpPr>
          <p:cNvPr id="6" name="Rectangle 5"/>
          <p:cNvSpPr>
            <a:spLocks noChangeArrowheads="1"/>
          </p:cNvSpPr>
          <p:nvPr/>
        </p:nvSpPr>
        <p:spPr bwMode="gray">
          <a:xfrm>
            <a:off x="3928262" y="1952441"/>
            <a:ext cx="4814100" cy="544417"/>
          </a:xfrm>
          <a:prstGeom prst="rect">
            <a:avLst/>
          </a:prstGeom>
          <a:solidFill>
            <a:schemeClr val="accent5"/>
          </a:solidFill>
          <a:ln w="9525" algn="ctr">
            <a:noFill/>
            <a:miter lim="800000"/>
            <a:headEnd/>
            <a:tailEnd/>
          </a:ln>
        </p:spPr>
        <p:txBody>
          <a:bodyPr lIns="72000" tIns="0" rIns="4572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200" dirty="0" smtClean="0">
                <a:solidFill>
                  <a:schemeClr val="accent2"/>
                </a:solidFill>
                <a:latin typeface="+mn-lt"/>
              </a:rPr>
              <a:t>Help students develop their career plan and provide an insight into career opportunities and apprenticeships. </a:t>
            </a:r>
            <a:endParaRPr lang="en-US" altLang="en-US" dirty="0">
              <a:solidFill>
                <a:schemeClr val="accent2"/>
              </a:solidFill>
              <a:latin typeface="+mn-lt"/>
            </a:endParaRPr>
          </a:p>
        </p:txBody>
      </p:sp>
      <p:sp>
        <p:nvSpPr>
          <p:cNvPr id="15" name="Rectangle 18"/>
          <p:cNvSpPr>
            <a:spLocks noChangeArrowheads="1"/>
          </p:cNvSpPr>
          <p:nvPr>
            <p:custDataLst>
              <p:tags r:id="rId1"/>
            </p:custDataLst>
          </p:nvPr>
        </p:nvSpPr>
        <p:spPr bwMode="gray">
          <a:xfrm>
            <a:off x="419100" y="1504423"/>
            <a:ext cx="3888000" cy="298450"/>
          </a:xfrm>
          <a:prstGeom prst="rect">
            <a:avLst/>
          </a:prstGeom>
          <a:noFill/>
          <a:ln w="9525">
            <a:noFill/>
            <a:miter lim="800000"/>
            <a:headEnd/>
            <a:tailEnd/>
          </a:ln>
        </p:spPr>
        <p:txBody>
          <a:bodyPr lIns="0" tIns="36000" rIns="108000" bIns="36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dirty="0" smtClean="0">
                <a:solidFill>
                  <a:schemeClr val="accent2"/>
                </a:solidFill>
                <a:latin typeface="+mn-lt"/>
              </a:rPr>
              <a:t>Activity</a:t>
            </a:r>
            <a:endParaRPr lang="en-US" altLang="en-US" dirty="0">
              <a:solidFill>
                <a:schemeClr val="accent2"/>
              </a:solidFill>
              <a:latin typeface="+mn-lt"/>
            </a:endParaRPr>
          </a:p>
        </p:txBody>
      </p:sp>
      <p:sp>
        <p:nvSpPr>
          <p:cNvPr id="16" name="Rectangle 19"/>
          <p:cNvSpPr>
            <a:spLocks noChangeArrowheads="1"/>
          </p:cNvSpPr>
          <p:nvPr>
            <p:custDataLst>
              <p:tags r:id="rId2"/>
            </p:custDataLst>
          </p:nvPr>
        </p:nvSpPr>
        <p:spPr bwMode="gray">
          <a:xfrm>
            <a:off x="3939988" y="1504423"/>
            <a:ext cx="3888000" cy="298450"/>
          </a:xfrm>
          <a:prstGeom prst="rect">
            <a:avLst/>
          </a:prstGeom>
          <a:noFill/>
          <a:ln w="9525">
            <a:noFill/>
            <a:miter lim="800000"/>
            <a:headEnd/>
            <a:tailEnd/>
          </a:ln>
        </p:spPr>
        <p:txBody>
          <a:bodyPr lIns="0" tIns="36000" rIns="108000" bIns="36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dirty="0" smtClean="0">
                <a:solidFill>
                  <a:schemeClr val="accent2"/>
                </a:solidFill>
                <a:latin typeface="+mn-lt"/>
              </a:rPr>
              <a:t>Objective</a:t>
            </a:r>
            <a:endParaRPr lang="en-US" altLang="en-US" dirty="0">
              <a:solidFill>
                <a:schemeClr val="accent2"/>
              </a:solidFill>
              <a:latin typeface="+mn-lt"/>
            </a:endParaRPr>
          </a:p>
        </p:txBody>
      </p:sp>
      <p:cxnSp>
        <p:nvCxnSpPr>
          <p:cNvPr id="17" name="Gerade Verbindung 8"/>
          <p:cNvCxnSpPr/>
          <p:nvPr/>
        </p:nvCxnSpPr>
        <p:spPr bwMode="gray">
          <a:xfrm>
            <a:off x="413999" y="1802645"/>
            <a:ext cx="307535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8"/>
          <p:cNvCxnSpPr/>
          <p:nvPr/>
        </p:nvCxnSpPr>
        <p:spPr bwMode="gray">
          <a:xfrm>
            <a:off x="3928262" y="1802645"/>
            <a:ext cx="481410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AutoShape 28"/>
          <p:cNvSpPr>
            <a:spLocks noChangeArrowheads="1"/>
          </p:cNvSpPr>
          <p:nvPr/>
        </p:nvSpPr>
        <p:spPr bwMode="gray">
          <a:xfrm>
            <a:off x="3591637" y="198984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endParaRPr lang="en-US">
              <a:solidFill>
                <a:schemeClr val="accent2"/>
              </a:solidFill>
            </a:endParaRPr>
          </a:p>
        </p:txBody>
      </p:sp>
      <p:grpSp>
        <p:nvGrpSpPr>
          <p:cNvPr id="26" name="Gruppieren 25"/>
          <p:cNvGrpSpPr/>
          <p:nvPr/>
        </p:nvGrpSpPr>
        <p:grpSpPr>
          <a:xfrm>
            <a:off x="413998" y="5172111"/>
            <a:ext cx="8328364" cy="542917"/>
            <a:chOff x="413998" y="4835621"/>
            <a:chExt cx="8328364" cy="542917"/>
          </a:xfrm>
        </p:grpSpPr>
        <p:sp>
          <p:nvSpPr>
            <p:cNvPr id="13" name="AutoShape 16"/>
            <p:cNvSpPr>
              <a:spLocks noChangeArrowheads="1"/>
            </p:cNvSpPr>
            <p:nvPr/>
          </p:nvSpPr>
          <p:spPr bwMode="gray">
            <a:xfrm>
              <a:off x="413998" y="4835621"/>
              <a:ext cx="3075352" cy="542917"/>
            </a:xfrm>
            <a:prstGeom prst="rect">
              <a:avLst/>
            </a:prstGeom>
            <a:solidFill>
              <a:schemeClr val="accent3">
                <a:lumMod val="40000"/>
                <a:lumOff val="60000"/>
              </a:schemeClr>
            </a:solidFill>
            <a:ln w="9525" algn="ctr">
              <a:noFill/>
              <a:miter lim="800000"/>
              <a:headEnd/>
              <a:tailEnd/>
            </a:ln>
          </p:spPr>
          <p:txBody>
            <a:bodyPr lIns="72000" tIns="0" rIns="0" bIns="0" anchor="ctr"/>
            <a:lstStyle/>
            <a:p>
              <a:pPr>
                <a:spcAft>
                  <a:spcPct val="20000"/>
                </a:spcAft>
                <a:buClr>
                  <a:srgbClr val="000000"/>
                </a:buClr>
                <a:buSzPct val="100000"/>
              </a:pPr>
              <a:r>
                <a:rPr lang="en-US" altLang="en-US" sz="1400" dirty="0" smtClean="0">
                  <a:solidFill>
                    <a:schemeClr val="accent2"/>
                  </a:solidFill>
                </a:rPr>
                <a:t>10. Entrepreneur-</a:t>
              </a:r>
            </a:p>
            <a:p>
              <a:pPr>
                <a:spcAft>
                  <a:spcPct val="20000"/>
                </a:spcAft>
                <a:buClr>
                  <a:srgbClr val="000000"/>
                </a:buClr>
                <a:buSzPct val="100000"/>
              </a:pPr>
              <a:r>
                <a:rPr lang="en-US" altLang="en-US" sz="1400" dirty="0" smtClean="0">
                  <a:solidFill>
                    <a:schemeClr val="accent2"/>
                  </a:solidFill>
                </a:rPr>
                <a:t>ship Training</a:t>
              </a:r>
              <a:endParaRPr lang="en-US" altLang="en-US" sz="1400" dirty="0">
                <a:solidFill>
                  <a:schemeClr val="accent2"/>
                </a:solidFill>
              </a:endParaRPr>
            </a:p>
          </p:txBody>
        </p:sp>
        <p:sp>
          <p:nvSpPr>
            <p:cNvPr id="14" name="Rectangle 17"/>
            <p:cNvSpPr>
              <a:spLocks noChangeArrowheads="1"/>
            </p:cNvSpPr>
            <p:nvPr/>
          </p:nvSpPr>
          <p:spPr bwMode="gray">
            <a:xfrm>
              <a:off x="3928262" y="4835621"/>
              <a:ext cx="4814100" cy="542917"/>
            </a:xfrm>
            <a:prstGeom prst="rect">
              <a:avLst/>
            </a:prstGeom>
            <a:solidFill>
              <a:schemeClr val="accent5"/>
            </a:solidFill>
            <a:ln w="9525" algn="ctr">
              <a:noFill/>
              <a:miter lim="800000"/>
              <a:headEnd/>
              <a:tailEnd/>
            </a:ln>
          </p:spPr>
          <p:txBody>
            <a:bodyPr lIns="72000" tIns="0" rIns="4572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200" dirty="0" smtClean="0">
                  <a:solidFill>
                    <a:schemeClr val="accent2"/>
                  </a:solidFill>
                  <a:latin typeface="+mn-lt"/>
                </a:rPr>
                <a:t>Train young people to start their own business covering areas like business plan writing, promoting their business, looking for funds etc.</a:t>
              </a:r>
              <a:endParaRPr lang="en-US" altLang="en-US" sz="1200" dirty="0">
                <a:solidFill>
                  <a:schemeClr val="accent2"/>
                </a:solidFill>
                <a:latin typeface="+mn-lt"/>
              </a:endParaRPr>
            </a:p>
          </p:txBody>
        </p:sp>
        <p:sp>
          <p:nvSpPr>
            <p:cNvPr id="23" name="AutoShape 28"/>
            <p:cNvSpPr>
              <a:spLocks noChangeArrowheads="1"/>
            </p:cNvSpPr>
            <p:nvPr/>
          </p:nvSpPr>
          <p:spPr bwMode="gray">
            <a:xfrm>
              <a:off x="3591637" y="487227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endParaRPr lang="en-US">
                <a:solidFill>
                  <a:schemeClr val="accent2"/>
                </a:solidFill>
              </a:endParaRPr>
            </a:p>
          </p:txBody>
        </p:sp>
      </p:grpSp>
      <p:grpSp>
        <p:nvGrpSpPr>
          <p:cNvPr id="4" name="Gruppieren 3"/>
          <p:cNvGrpSpPr/>
          <p:nvPr/>
        </p:nvGrpSpPr>
        <p:grpSpPr>
          <a:xfrm>
            <a:off x="413998" y="2636109"/>
            <a:ext cx="8328364" cy="696807"/>
            <a:chOff x="413998" y="2739070"/>
            <a:chExt cx="8328364" cy="544418"/>
          </a:xfrm>
        </p:grpSpPr>
        <p:sp>
          <p:nvSpPr>
            <p:cNvPr id="7" name="AutoShape 7"/>
            <p:cNvSpPr>
              <a:spLocks noChangeArrowheads="1"/>
            </p:cNvSpPr>
            <p:nvPr/>
          </p:nvSpPr>
          <p:spPr bwMode="gray">
            <a:xfrm>
              <a:off x="413998" y="2739071"/>
              <a:ext cx="3075352" cy="544417"/>
            </a:xfrm>
            <a:prstGeom prst="rect">
              <a:avLst/>
            </a:prstGeom>
            <a:solidFill>
              <a:schemeClr val="accent3">
                <a:lumMod val="40000"/>
                <a:lumOff val="60000"/>
              </a:schemeClr>
            </a:solidFill>
            <a:ln w="9525" algn="ctr">
              <a:noFill/>
              <a:miter lim="800000"/>
              <a:headEnd/>
              <a:tailEnd/>
            </a:ln>
          </p:spPr>
          <p:txBody>
            <a:bodyPr lIns="72000" tIns="0" rIns="0" bIns="0" anchor="ctr"/>
            <a:lstStyle/>
            <a:p>
              <a:pPr>
                <a:spcAft>
                  <a:spcPct val="20000"/>
                </a:spcAft>
                <a:buClr>
                  <a:srgbClr val="000000"/>
                </a:buClr>
                <a:buSzPct val="100000"/>
              </a:pPr>
              <a:r>
                <a:rPr lang="en-US" altLang="en-US" sz="1400" dirty="0" smtClean="0">
                  <a:solidFill>
                    <a:schemeClr val="accent2"/>
                  </a:solidFill>
                </a:rPr>
                <a:t>7. Internship</a:t>
              </a:r>
              <a:endParaRPr lang="en-US" altLang="en-US" sz="1400" dirty="0">
                <a:solidFill>
                  <a:schemeClr val="accent2"/>
                </a:solidFill>
              </a:endParaRPr>
            </a:p>
          </p:txBody>
        </p:sp>
        <p:sp>
          <p:nvSpPr>
            <p:cNvPr id="8" name="Rectangle 8"/>
            <p:cNvSpPr>
              <a:spLocks noChangeArrowheads="1"/>
            </p:cNvSpPr>
            <p:nvPr/>
          </p:nvSpPr>
          <p:spPr bwMode="gray">
            <a:xfrm>
              <a:off x="3928262" y="2739071"/>
              <a:ext cx="4814100" cy="544417"/>
            </a:xfrm>
            <a:prstGeom prst="rect">
              <a:avLst/>
            </a:prstGeom>
            <a:solidFill>
              <a:schemeClr val="accent5"/>
            </a:solidFill>
            <a:ln w="9525" algn="ctr">
              <a:noFill/>
              <a:miter lim="800000"/>
              <a:headEnd/>
              <a:tailEnd/>
            </a:ln>
          </p:spPr>
          <p:txBody>
            <a:bodyPr lIns="72000" tIns="0" rIns="4572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200" dirty="0" smtClean="0">
                  <a:solidFill>
                    <a:schemeClr val="accent2"/>
                  </a:solidFill>
                  <a:latin typeface="+mn-lt"/>
                </a:rPr>
                <a:t>Provide a students with an opportunity to experience the working week in a real business environment, doing a job that benefits the employer and put into practice what employability skills they have already developed.</a:t>
              </a:r>
              <a:endParaRPr lang="en-US" altLang="en-US" sz="1200" dirty="0">
                <a:solidFill>
                  <a:schemeClr val="accent2"/>
                </a:solidFill>
                <a:latin typeface="+mn-lt"/>
              </a:endParaRPr>
            </a:p>
          </p:txBody>
        </p:sp>
        <p:sp>
          <p:nvSpPr>
            <p:cNvPr id="20" name="AutoShape 28"/>
            <p:cNvSpPr>
              <a:spLocks noChangeArrowheads="1"/>
            </p:cNvSpPr>
            <p:nvPr/>
          </p:nvSpPr>
          <p:spPr bwMode="gray">
            <a:xfrm>
              <a:off x="3591637" y="277647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endParaRPr lang="en-US">
                <a:solidFill>
                  <a:schemeClr val="accent2"/>
                </a:solidFill>
              </a:endParaRPr>
            </a:p>
          </p:txBody>
        </p:sp>
        <p:pic>
          <p:nvPicPr>
            <p:cNvPr id="24"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289"/>
            <a:stretch/>
          </p:blipFill>
          <p:spPr bwMode="auto">
            <a:xfrm flipH="1">
              <a:off x="2033537" y="2739070"/>
              <a:ext cx="1455811" cy="5444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7" name="Picture 15" descr="130909 GVD Lebenslaufcheck 1"/>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035572" y="1959872"/>
            <a:ext cx="1462144" cy="536986"/>
          </a:xfrm>
          <a:prstGeom prst="rect">
            <a:avLst/>
          </a:prstGeom>
          <a:noFill/>
          <a:ln>
            <a:noFill/>
          </a:ln>
        </p:spPr>
      </p:pic>
      <p:pic>
        <p:nvPicPr>
          <p:cNvPr id="29" name="Picture 15"/>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035572" y="5172110"/>
            <a:ext cx="1453776" cy="542917"/>
          </a:xfrm>
          <a:prstGeom prst="rect">
            <a:avLst/>
          </a:prstGeom>
          <a:noFill/>
          <a:ln>
            <a:noFill/>
          </a:ln>
        </p:spPr>
      </p:pic>
      <p:grpSp>
        <p:nvGrpSpPr>
          <p:cNvPr id="28" name="Gruppieren 27"/>
          <p:cNvGrpSpPr/>
          <p:nvPr/>
        </p:nvGrpSpPr>
        <p:grpSpPr>
          <a:xfrm>
            <a:off x="413998" y="3499120"/>
            <a:ext cx="8328364" cy="559312"/>
            <a:chOff x="413998" y="3523834"/>
            <a:chExt cx="8328364" cy="559312"/>
          </a:xfrm>
        </p:grpSpPr>
        <p:sp>
          <p:nvSpPr>
            <p:cNvPr id="9" name="AutoShape 10"/>
            <p:cNvSpPr>
              <a:spLocks noChangeArrowheads="1"/>
            </p:cNvSpPr>
            <p:nvPr/>
          </p:nvSpPr>
          <p:spPr bwMode="gray">
            <a:xfrm>
              <a:off x="413998" y="3523834"/>
              <a:ext cx="3075352" cy="544417"/>
            </a:xfrm>
            <a:prstGeom prst="rect">
              <a:avLst/>
            </a:prstGeom>
            <a:solidFill>
              <a:schemeClr val="accent3">
                <a:lumMod val="40000"/>
                <a:lumOff val="60000"/>
              </a:schemeClr>
            </a:solidFill>
            <a:ln w="9525" algn="ctr">
              <a:noFill/>
              <a:miter lim="800000"/>
              <a:headEnd/>
              <a:tailEnd/>
            </a:ln>
          </p:spPr>
          <p:txBody>
            <a:bodyPr lIns="72000" tIns="0" rIns="0" bIns="0" anchor="ctr"/>
            <a:lstStyle/>
            <a:p>
              <a:pPr>
                <a:spcAft>
                  <a:spcPct val="20000"/>
                </a:spcAft>
                <a:buClr>
                  <a:srgbClr val="000000"/>
                </a:buClr>
                <a:buSzPct val="100000"/>
              </a:pPr>
              <a:r>
                <a:rPr lang="en-US" altLang="en-US" sz="1400" dirty="0" smtClean="0">
                  <a:solidFill>
                    <a:schemeClr val="accent2"/>
                  </a:solidFill>
                </a:rPr>
                <a:t>8. Job Shadowing</a:t>
              </a:r>
              <a:endParaRPr lang="en-US" altLang="en-US" sz="1400" dirty="0">
                <a:solidFill>
                  <a:schemeClr val="accent2"/>
                </a:solidFill>
              </a:endParaRPr>
            </a:p>
          </p:txBody>
        </p:sp>
        <p:sp>
          <p:nvSpPr>
            <p:cNvPr id="10" name="Rectangle 11"/>
            <p:cNvSpPr>
              <a:spLocks noChangeArrowheads="1"/>
            </p:cNvSpPr>
            <p:nvPr/>
          </p:nvSpPr>
          <p:spPr bwMode="gray">
            <a:xfrm>
              <a:off x="3928262" y="3523834"/>
              <a:ext cx="4814100" cy="544417"/>
            </a:xfrm>
            <a:prstGeom prst="rect">
              <a:avLst/>
            </a:prstGeom>
            <a:solidFill>
              <a:schemeClr val="accent5"/>
            </a:solidFill>
            <a:ln w="9525" algn="ctr">
              <a:noFill/>
              <a:miter lim="800000"/>
              <a:headEnd/>
              <a:tailEnd/>
            </a:ln>
          </p:spPr>
          <p:txBody>
            <a:bodyPr lIns="72000" tIns="0" rIns="4572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200" dirty="0" smtClean="0">
                  <a:solidFill>
                    <a:schemeClr val="accent2"/>
                  </a:solidFill>
                  <a:latin typeface="+mn-lt"/>
                </a:rPr>
                <a:t>Young people accompany employees over a week or less to learn what it means to work in a certain area </a:t>
              </a:r>
              <a:endParaRPr lang="en-US" altLang="en-US" sz="1200" dirty="0">
                <a:solidFill>
                  <a:schemeClr val="accent2"/>
                </a:solidFill>
                <a:latin typeface="+mn-lt"/>
              </a:endParaRPr>
            </a:p>
          </p:txBody>
        </p:sp>
        <p:sp>
          <p:nvSpPr>
            <p:cNvPr id="21" name="AutoShape 28"/>
            <p:cNvSpPr>
              <a:spLocks noChangeArrowheads="1"/>
            </p:cNvSpPr>
            <p:nvPr/>
          </p:nvSpPr>
          <p:spPr bwMode="gray">
            <a:xfrm>
              <a:off x="3591637" y="3561233"/>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endParaRPr lang="en-US">
                <a:solidFill>
                  <a:schemeClr val="accent2"/>
                </a:solidFill>
              </a:endParaRPr>
            </a:p>
          </p:txBody>
        </p:sp>
        <p:pic>
          <p:nvPicPr>
            <p:cNvPr id="30" name="Picture 3"/>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2033536" y="3523834"/>
              <a:ext cx="1455813" cy="559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5" name="Gruppieren 24"/>
          <p:cNvGrpSpPr/>
          <p:nvPr/>
        </p:nvGrpSpPr>
        <p:grpSpPr>
          <a:xfrm>
            <a:off x="413998" y="4209536"/>
            <a:ext cx="8328364" cy="815151"/>
            <a:chOff x="413998" y="4313831"/>
            <a:chExt cx="8328364" cy="653190"/>
          </a:xfrm>
        </p:grpSpPr>
        <p:sp>
          <p:nvSpPr>
            <p:cNvPr id="11" name="AutoShape 13"/>
            <p:cNvSpPr>
              <a:spLocks noChangeArrowheads="1"/>
            </p:cNvSpPr>
            <p:nvPr/>
          </p:nvSpPr>
          <p:spPr bwMode="gray">
            <a:xfrm>
              <a:off x="413998" y="4313831"/>
              <a:ext cx="3075352" cy="653190"/>
            </a:xfrm>
            <a:prstGeom prst="rect">
              <a:avLst/>
            </a:prstGeom>
            <a:solidFill>
              <a:schemeClr val="accent3">
                <a:lumMod val="40000"/>
                <a:lumOff val="60000"/>
              </a:schemeClr>
            </a:solidFill>
            <a:ln w="9525" algn="ctr">
              <a:noFill/>
              <a:miter lim="800000"/>
              <a:headEnd/>
              <a:tailEnd/>
            </a:ln>
          </p:spPr>
          <p:txBody>
            <a:bodyPr lIns="72000" tIns="0" rIns="0" bIns="0" anchor="ctr"/>
            <a:lstStyle/>
            <a:p>
              <a:pPr>
                <a:spcAft>
                  <a:spcPct val="20000"/>
                </a:spcAft>
                <a:buClr>
                  <a:srgbClr val="000000"/>
                </a:buClr>
                <a:buSzPct val="100000"/>
              </a:pPr>
              <a:r>
                <a:rPr lang="en-US" altLang="en-US" sz="1400" dirty="0" smtClean="0">
                  <a:solidFill>
                    <a:schemeClr val="accent2"/>
                  </a:solidFill>
                </a:rPr>
                <a:t>9. Career Fair</a:t>
              </a:r>
              <a:endParaRPr lang="en-US" altLang="en-US" sz="1400" dirty="0">
                <a:solidFill>
                  <a:schemeClr val="accent2"/>
                </a:solidFill>
              </a:endParaRPr>
            </a:p>
          </p:txBody>
        </p:sp>
        <p:sp>
          <p:nvSpPr>
            <p:cNvPr id="12" name="Rectangle 14"/>
            <p:cNvSpPr>
              <a:spLocks noChangeArrowheads="1"/>
            </p:cNvSpPr>
            <p:nvPr/>
          </p:nvSpPr>
          <p:spPr bwMode="gray">
            <a:xfrm>
              <a:off x="3928262" y="4313831"/>
              <a:ext cx="4814100" cy="653190"/>
            </a:xfrm>
            <a:prstGeom prst="rect">
              <a:avLst/>
            </a:prstGeom>
            <a:solidFill>
              <a:schemeClr val="accent5"/>
            </a:solidFill>
            <a:ln w="9525" algn="ctr">
              <a:noFill/>
              <a:miter lim="800000"/>
              <a:headEnd/>
              <a:tailEnd/>
            </a:ln>
          </p:spPr>
          <p:txBody>
            <a:bodyPr lIns="72000" tIns="0" rIns="4572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200" dirty="0">
                  <a:solidFill>
                    <a:schemeClr val="accent2"/>
                  </a:solidFill>
                  <a:latin typeface="+mn-lt"/>
                </a:rPr>
                <a:t>Allow young people to obtain information about the professional work environment and  provide an insight into career opportunities and apprenticeships. Stands are set up and each department the variety of professional opportunities, as well as their own work experience</a:t>
              </a:r>
              <a:r>
                <a:rPr lang="en-US" altLang="en-US" sz="1200" dirty="0" smtClean="0">
                  <a:solidFill>
                    <a:schemeClr val="accent2"/>
                  </a:solidFill>
                  <a:latin typeface="+mn-lt"/>
                </a:rPr>
                <a:t>.</a:t>
              </a:r>
              <a:endParaRPr lang="en-US" altLang="en-US" sz="1200" dirty="0">
                <a:solidFill>
                  <a:schemeClr val="accent2"/>
                </a:solidFill>
                <a:latin typeface="+mn-lt"/>
              </a:endParaRPr>
            </a:p>
          </p:txBody>
        </p:sp>
        <p:sp>
          <p:nvSpPr>
            <p:cNvPr id="22" name="AutoShape 28"/>
            <p:cNvSpPr>
              <a:spLocks noChangeArrowheads="1"/>
            </p:cNvSpPr>
            <p:nvPr/>
          </p:nvSpPr>
          <p:spPr bwMode="gray">
            <a:xfrm>
              <a:off x="3591637" y="435048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44000" tIns="144000" rIns="144000" bIns="144000" anchor="ctr"/>
            <a:lstStyle/>
            <a:p>
              <a:endParaRPr lang="en-US">
                <a:solidFill>
                  <a:schemeClr val="accent2"/>
                </a:solidFill>
              </a:endParaRPr>
            </a:p>
          </p:txBody>
        </p:sp>
        <p:pic>
          <p:nvPicPr>
            <p:cNvPr id="489476"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33537" y="4313831"/>
              <a:ext cx="1455810" cy="6531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8343014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31"/>
          </p:nvPr>
        </p:nvSpPr>
        <p:spPr/>
        <p:txBody>
          <a:bodyPr/>
          <a:lstStyle/>
          <a:p>
            <a:r>
              <a:rPr lang="en-US" smtClean="0">
                <a:solidFill>
                  <a:srgbClr val="000000"/>
                </a:solidFill>
              </a:rPr>
              <a:t>GoTeach | October 2019</a:t>
            </a:r>
            <a:endParaRPr lang="en-US" dirty="0" smtClean="0">
              <a:solidFill>
                <a:srgbClr val="000000"/>
              </a:solidFill>
            </a:endParaRPr>
          </a:p>
        </p:txBody>
      </p:sp>
      <p:sp>
        <p:nvSpPr>
          <p:cNvPr id="3" name="Titel 2"/>
          <p:cNvSpPr>
            <a:spLocks noGrp="1"/>
          </p:cNvSpPr>
          <p:nvPr>
            <p:ph type="title"/>
          </p:nvPr>
        </p:nvSpPr>
        <p:spPr/>
        <p:txBody>
          <a:bodyPr/>
          <a:lstStyle/>
          <a:p>
            <a:r>
              <a:rPr lang="de-DE" dirty="0" smtClean="0"/>
              <a:t>Global </a:t>
            </a:r>
            <a:r>
              <a:rPr lang="de-DE" dirty="0" err="1" smtClean="0"/>
              <a:t>GoTeach</a:t>
            </a:r>
            <a:r>
              <a:rPr lang="de-DE" dirty="0" smtClean="0"/>
              <a:t> Team</a:t>
            </a:r>
            <a:endParaRPr lang="de-DE" dirty="0"/>
          </a:p>
        </p:txBody>
      </p:sp>
      <p:grpSp>
        <p:nvGrpSpPr>
          <p:cNvPr id="310" name="Gruppieren 309"/>
          <p:cNvGrpSpPr/>
          <p:nvPr/>
        </p:nvGrpSpPr>
        <p:grpSpPr>
          <a:xfrm>
            <a:off x="651486" y="1628755"/>
            <a:ext cx="7930357" cy="4267220"/>
            <a:chOff x="570327" y="1931285"/>
            <a:chExt cx="7930357" cy="4267220"/>
          </a:xfrm>
        </p:grpSpPr>
        <p:grpSp>
          <p:nvGrpSpPr>
            <p:cNvPr id="311" name="Gruppieren 216"/>
            <p:cNvGrpSpPr/>
            <p:nvPr/>
          </p:nvGrpSpPr>
          <p:grpSpPr>
            <a:xfrm>
              <a:off x="1471410" y="1931287"/>
              <a:ext cx="6172974" cy="3628931"/>
              <a:chOff x="553183" y="1409232"/>
              <a:chExt cx="7818436" cy="4351333"/>
            </a:xfrm>
          </p:grpSpPr>
          <p:grpSp>
            <p:nvGrpSpPr>
              <p:cNvPr id="359" name="Group 4"/>
              <p:cNvGrpSpPr>
                <a:grpSpLocks/>
              </p:cNvGrpSpPr>
              <p:nvPr/>
            </p:nvGrpSpPr>
            <p:grpSpPr bwMode="auto">
              <a:xfrm>
                <a:off x="3710069" y="3367100"/>
                <a:ext cx="1796128" cy="1721343"/>
                <a:chOff x="2334" y="2189"/>
                <a:chExt cx="1184" cy="1135"/>
              </a:xfrm>
            </p:grpSpPr>
            <p:sp>
              <p:nvSpPr>
                <p:cNvPr id="506" name="Freeform 5"/>
                <p:cNvSpPr>
                  <a:spLocks/>
                </p:cNvSpPr>
                <p:nvPr/>
              </p:nvSpPr>
              <p:spPr bwMode="gray">
                <a:xfrm>
                  <a:off x="2557" y="2194"/>
                  <a:ext cx="300" cy="308"/>
                </a:xfrm>
                <a:custGeom>
                  <a:avLst/>
                  <a:gdLst>
                    <a:gd name="T0" fmla="*/ 0 w 300"/>
                    <a:gd name="T1" fmla="*/ 170 h 308"/>
                    <a:gd name="T2" fmla="*/ 0 w 300"/>
                    <a:gd name="T3" fmla="*/ 179 h 308"/>
                    <a:gd name="T4" fmla="*/ 54 w 300"/>
                    <a:gd name="T5" fmla="*/ 214 h 308"/>
                    <a:gd name="T6" fmla="*/ 139 w 300"/>
                    <a:gd name="T7" fmla="*/ 272 h 308"/>
                    <a:gd name="T8" fmla="*/ 139 w 300"/>
                    <a:gd name="T9" fmla="*/ 281 h 308"/>
                    <a:gd name="T10" fmla="*/ 152 w 300"/>
                    <a:gd name="T11" fmla="*/ 281 h 308"/>
                    <a:gd name="T12" fmla="*/ 157 w 300"/>
                    <a:gd name="T13" fmla="*/ 290 h 308"/>
                    <a:gd name="T14" fmla="*/ 161 w 300"/>
                    <a:gd name="T15" fmla="*/ 286 h 308"/>
                    <a:gd name="T16" fmla="*/ 175 w 300"/>
                    <a:gd name="T17" fmla="*/ 290 h 308"/>
                    <a:gd name="T18" fmla="*/ 170 w 300"/>
                    <a:gd name="T19" fmla="*/ 304 h 308"/>
                    <a:gd name="T20" fmla="*/ 175 w 300"/>
                    <a:gd name="T21" fmla="*/ 308 h 308"/>
                    <a:gd name="T22" fmla="*/ 188 w 300"/>
                    <a:gd name="T23" fmla="*/ 299 h 308"/>
                    <a:gd name="T24" fmla="*/ 224 w 300"/>
                    <a:gd name="T25" fmla="*/ 290 h 308"/>
                    <a:gd name="T26" fmla="*/ 300 w 300"/>
                    <a:gd name="T27" fmla="*/ 237 h 308"/>
                    <a:gd name="T28" fmla="*/ 300 w 300"/>
                    <a:gd name="T29" fmla="*/ 232 h 308"/>
                    <a:gd name="T30" fmla="*/ 282 w 300"/>
                    <a:gd name="T31" fmla="*/ 219 h 308"/>
                    <a:gd name="T32" fmla="*/ 273 w 300"/>
                    <a:gd name="T33" fmla="*/ 219 h 308"/>
                    <a:gd name="T34" fmla="*/ 264 w 300"/>
                    <a:gd name="T35" fmla="*/ 214 h 308"/>
                    <a:gd name="T36" fmla="*/ 268 w 300"/>
                    <a:gd name="T37" fmla="*/ 210 h 308"/>
                    <a:gd name="T38" fmla="*/ 255 w 300"/>
                    <a:gd name="T39" fmla="*/ 192 h 308"/>
                    <a:gd name="T40" fmla="*/ 260 w 300"/>
                    <a:gd name="T41" fmla="*/ 183 h 308"/>
                    <a:gd name="T42" fmla="*/ 264 w 300"/>
                    <a:gd name="T43" fmla="*/ 170 h 308"/>
                    <a:gd name="T44" fmla="*/ 260 w 300"/>
                    <a:gd name="T45" fmla="*/ 156 h 308"/>
                    <a:gd name="T46" fmla="*/ 260 w 300"/>
                    <a:gd name="T47" fmla="*/ 138 h 308"/>
                    <a:gd name="T48" fmla="*/ 255 w 300"/>
                    <a:gd name="T49" fmla="*/ 129 h 308"/>
                    <a:gd name="T50" fmla="*/ 255 w 300"/>
                    <a:gd name="T51" fmla="*/ 94 h 308"/>
                    <a:gd name="T52" fmla="*/ 246 w 300"/>
                    <a:gd name="T53" fmla="*/ 89 h 308"/>
                    <a:gd name="T54" fmla="*/ 237 w 300"/>
                    <a:gd name="T55" fmla="*/ 76 h 308"/>
                    <a:gd name="T56" fmla="*/ 233 w 300"/>
                    <a:gd name="T57" fmla="*/ 58 h 308"/>
                    <a:gd name="T58" fmla="*/ 246 w 300"/>
                    <a:gd name="T59" fmla="*/ 40 h 308"/>
                    <a:gd name="T60" fmla="*/ 242 w 300"/>
                    <a:gd name="T61" fmla="*/ 13 h 308"/>
                    <a:gd name="T62" fmla="*/ 251 w 300"/>
                    <a:gd name="T63" fmla="*/ 4 h 308"/>
                    <a:gd name="T64" fmla="*/ 228 w 300"/>
                    <a:gd name="T65" fmla="*/ 0 h 308"/>
                    <a:gd name="T66" fmla="*/ 228 w 300"/>
                    <a:gd name="T67" fmla="*/ 4 h 308"/>
                    <a:gd name="T68" fmla="*/ 219 w 300"/>
                    <a:gd name="T69" fmla="*/ 4 h 308"/>
                    <a:gd name="T70" fmla="*/ 201 w 300"/>
                    <a:gd name="T71" fmla="*/ 9 h 308"/>
                    <a:gd name="T72" fmla="*/ 184 w 300"/>
                    <a:gd name="T73" fmla="*/ 4 h 308"/>
                    <a:gd name="T74" fmla="*/ 170 w 300"/>
                    <a:gd name="T75" fmla="*/ 9 h 308"/>
                    <a:gd name="T76" fmla="*/ 170 w 300"/>
                    <a:gd name="T77" fmla="*/ 13 h 308"/>
                    <a:gd name="T78" fmla="*/ 166 w 300"/>
                    <a:gd name="T79" fmla="*/ 9 h 308"/>
                    <a:gd name="T80" fmla="*/ 139 w 300"/>
                    <a:gd name="T81" fmla="*/ 13 h 308"/>
                    <a:gd name="T82" fmla="*/ 126 w 300"/>
                    <a:gd name="T83" fmla="*/ 27 h 308"/>
                    <a:gd name="T84" fmla="*/ 121 w 300"/>
                    <a:gd name="T85" fmla="*/ 27 h 308"/>
                    <a:gd name="T86" fmla="*/ 99 w 300"/>
                    <a:gd name="T87" fmla="*/ 36 h 308"/>
                    <a:gd name="T88" fmla="*/ 94 w 300"/>
                    <a:gd name="T89" fmla="*/ 40 h 308"/>
                    <a:gd name="T90" fmla="*/ 99 w 300"/>
                    <a:gd name="T91" fmla="*/ 53 h 308"/>
                    <a:gd name="T92" fmla="*/ 99 w 300"/>
                    <a:gd name="T93" fmla="*/ 67 h 308"/>
                    <a:gd name="T94" fmla="*/ 103 w 300"/>
                    <a:gd name="T95" fmla="*/ 85 h 308"/>
                    <a:gd name="T96" fmla="*/ 112 w 300"/>
                    <a:gd name="T97" fmla="*/ 89 h 308"/>
                    <a:gd name="T98" fmla="*/ 108 w 300"/>
                    <a:gd name="T99" fmla="*/ 98 h 308"/>
                    <a:gd name="T100" fmla="*/ 90 w 300"/>
                    <a:gd name="T101" fmla="*/ 94 h 308"/>
                    <a:gd name="T102" fmla="*/ 81 w 300"/>
                    <a:gd name="T103" fmla="*/ 107 h 308"/>
                    <a:gd name="T104" fmla="*/ 41 w 300"/>
                    <a:gd name="T105" fmla="*/ 138 h 308"/>
                    <a:gd name="T106" fmla="*/ 32 w 300"/>
                    <a:gd name="T107" fmla="*/ 138 h 308"/>
                    <a:gd name="T108" fmla="*/ 14 w 300"/>
                    <a:gd name="T109" fmla="*/ 143 h 308"/>
                    <a:gd name="T110" fmla="*/ 5 w 300"/>
                    <a:gd name="T111" fmla="*/ 156 h 308"/>
                    <a:gd name="T112" fmla="*/ 0 w 300"/>
                    <a:gd name="T113" fmla="*/ 17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8">
                      <a:moveTo>
                        <a:pt x="0" y="170"/>
                      </a:moveTo>
                      <a:lnTo>
                        <a:pt x="0" y="179"/>
                      </a:lnTo>
                      <a:lnTo>
                        <a:pt x="54" y="214"/>
                      </a:lnTo>
                      <a:lnTo>
                        <a:pt x="139" y="272"/>
                      </a:lnTo>
                      <a:lnTo>
                        <a:pt x="139" y="281"/>
                      </a:lnTo>
                      <a:lnTo>
                        <a:pt x="152" y="281"/>
                      </a:lnTo>
                      <a:lnTo>
                        <a:pt x="157" y="290"/>
                      </a:lnTo>
                      <a:lnTo>
                        <a:pt x="161" y="286"/>
                      </a:lnTo>
                      <a:lnTo>
                        <a:pt x="175" y="290"/>
                      </a:lnTo>
                      <a:lnTo>
                        <a:pt x="170" y="304"/>
                      </a:lnTo>
                      <a:lnTo>
                        <a:pt x="175" y="308"/>
                      </a:lnTo>
                      <a:lnTo>
                        <a:pt x="188" y="299"/>
                      </a:lnTo>
                      <a:lnTo>
                        <a:pt x="224" y="290"/>
                      </a:lnTo>
                      <a:lnTo>
                        <a:pt x="300" y="237"/>
                      </a:lnTo>
                      <a:lnTo>
                        <a:pt x="300" y="232"/>
                      </a:lnTo>
                      <a:lnTo>
                        <a:pt x="282" y="219"/>
                      </a:lnTo>
                      <a:lnTo>
                        <a:pt x="273" y="219"/>
                      </a:lnTo>
                      <a:lnTo>
                        <a:pt x="264" y="214"/>
                      </a:lnTo>
                      <a:lnTo>
                        <a:pt x="268" y="210"/>
                      </a:lnTo>
                      <a:lnTo>
                        <a:pt x="255" y="192"/>
                      </a:lnTo>
                      <a:lnTo>
                        <a:pt x="260" y="183"/>
                      </a:lnTo>
                      <a:lnTo>
                        <a:pt x="264" y="170"/>
                      </a:lnTo>
                      <a:lnTo>
                        <a:pt x="260" y="156"/>
                      </a:lnTo>
                      <a:lnTo>
                        <a:pt x="260" y="138"/>
                      </a:lnTo>
                      <a:lnTo>
                        <a:pt x="255" y="129"/>
                      </a:lnTo>
                      <a:lnTo>
                        <a:pt x="255" y="94"/>
                      </a:lnTo>
                      <a:lnTo>
                        <a:pt x="246" y="89"/>
                      </a:lnTo>
                      <a:lnTo>
                        <a:pt x="237" y="76"/>
                      </a:lnTo>
                      <a:lnTo>
                        <a:pt x="233" y="58"/>
                      </a:lnTo>
                      <a:lnTo>
                        <a:pt x="246" y="40"/>
                      </a:lnTo>
                      <a:lnTo>
                        <a:pt x="242" y="13"/>
                      </a:lnTo>
                      <a:lnTo>
                        <a:pt x="251" y="4"/>
                      </a:lnTo>
                      <a:lnTo>
                        <a:pt x="228" y="0"/>
                      </a:lnTo>
                      <a:lnTo>
                        <a:pt x="228" y="4"/>
                      </a:lnTo>
                      <a:lnTo>
                        <a:pt x="219" y="4"/>
                      </a:lnTo>
                      <a:lnTo>
                        <a:pt x="201" y="9"/>
                      </a:lnTo>
                      <a:lnTo>
                        <a:pt x="184" y="4"/>
                      </a:lnTo>
                      <a:lnTo>
                        <a:pt x="170" y="9"/>
                      </a:lnTo>
                      <a:lnTo>
                        <a:pt x="170" y="13"/>
                      </a:lnTo>
                      <a:lnTo>
                        <a:pt x="166" y="9"/>
                      </a:lnTo>
                      <a:lnTo>
                        <a:pt x="139" y="13"/>
                      </a:lnTo>
                      <a:lnTo>
                        <a:pt x="126" y="27"/>
                      </a:lnTo>
                      <a:lnTo>
                        <a:pt x="121" y="27"/>
                      </a:lnTo>
                      <a:lnTo>
                        <a:pt x="99" y="36"/>
                      </a:lnTo>
                      <a:lnTo>
                        <a:pt x="94" y="40"/>
                      </a:lnTo>
                      <a:lnTo>
                        <a:pt x="99" y="53"/>
                      </a:lnTo>
                      <a:lnTo>
                        <a:pt x="99" y="67"/>
                      </a:lnTo>
                      <a:lnTo>
                        <a:pt x="103" y="85"/>
                      </a:lnTo>
                      <a:lnTo>
                        <a:pt x="112" y="89"/>
                      </a:lnTo>
                      <a:lnTo>
                        <a:pt x="108" y="98"/>
                      </a:lnTo>
                      <a:lnTo>
                        <a:pt x="90" y="94"/>
                      </a:lnTo>
                      <a:lnTo>
                        <a:pt x="81" y="107"/>
                      </a:lnTo>
                      <a:lnTo>
                        <a:pt x="41" y="138"/>
                      </a:lnTo>
                      <a:lnTo>
                        <a:pt x="32" y="138"/>
                      </a:lnTo>
                      <a:lnTo>
                        <a:pt x="14" y="143"/>
                      </a:lnTo>
                      <a:lnTo>
                        <a:pt x="5" y="156"/>
                      </a:lnTo>
                      <a:lnTo>
                        <a:pt x="0" y="17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07" name="Freeform 6"/>
                <p:cNvSpPr>
                  <a:spLocks/>
                </p:cNvSpPr>
                <p:nvPr/>
              </p:nvSpPr>
              <p:spPr bwMode="gray">
                <a:xfrm>
                  <a:off x="2848" y="2846"/>
                  <a:ext cx="178" cy="201"/>
                </a:xfrm>
                <a:custGeom>
                  <a:avLst/>
                  <a:gdLst>
                    <a:gd name="T0" fmla="*/ 4 w 178"/>
                    <a:gd name="T1" fmla="*/ 188 h 201"/>
                    <a:gd name="T2" fmla="*/ 9 w 178"/>
                    <a:gd name="T3" fmla="*/ 184 h 201"/>
                    <a:gd name="T4" fmla="*/ 27 w 178"/>
                    <a:gd name="T5" fmla="*/ 184 h 201"/>
                    <a:gd name="T6" fmla="*/ 40 w 178"/>
                    <a:gd name="T7" fmla="*/ 192 h 201"/>
                    <a:gd name="T8" fmla="*/ 49 w 178"/>
                    <a:gd name="T9" fmla="*/ 188 h 201"/>
                    <a:gd name="T10" fmla="*/ 103 w 178"/>
                    <a:gd name="T11" fmla="*/ 188 h 201"/>
                    <a:gd name="T12" fmla="*/ 116 w 178"/>
                    <a:gd name="T13" fmla="*/ 201 h 201"/>
                    <a:gd name="T14" fmla="*/ 134 w 178"/>
                    <a:gd name="T15" fmla="*/ 201 h 201"/>
                    <a:gd name="T16" fmla="*/ 170 w 178"/>
                    <a:gd name="T17" fmla="*/ 192 h 201"/>
                    <a:gd name="T18" fmla="*/ 147 w 178"/>
                    <a:gd name="T19" fmla="*/ 170 h 201"/>
                    <a:gd name="T20" fmla="*/ 152 w 178"/>
                    <a:gd name="T21" fmla="*/ 125 h 201"/>
                    <a:gd name="T22" fmla="*/ 174 w 178"/>
                    <a:gd name="T23" fmla="*/ 121 h 201"/>
                    <a:gd name="T24" fmla="*/ 178 w 178"/>
                    <a:gd name="T25" fmla="*/ 112 h 201"/>
                    <a:gd name="T26" fmla="*/ 178 w 178"/>
                    <a:gd name="T27" fmla="*/ 90 h 201"/>
                    <a:gd name="T28" fmla="*/ 152 w 178"/>
                    <a:gd name="T29" fmla="*/ 94 h 201"/>
                    <a:gd name="T30" fmla="*/ 143 w 178"/>
                    <a:gd name="T31" fmla="*/ 41 h 201"/>
                    <a:gd name="T32" fmla="*/ 134 w 178"/>
                    <a:gd name="T33" fmla="*/ 41 h 201"/>
                    <a:gd name="T34" fmla="*/ 129 w 178"/>
                    <a:gd name="T35" fmla="*/ 36 h 201"/>
                    <a:gd name="T36" fmla="*/ 116 w 178"/>
                    <a:gd name="T37" fmla="*/ 36 h 201"/>
                    <a:gd name="T38" fmla="*/ 111 w 178"/>
                    <a:gd name="T39" fmla="*/ 54 h 201"/>
                    <a:gd name="T40" fmla="*/ 89 w 178"/>
                    <a:gd name="T41" fmla="*/ 54 h 201"/>
                    <a:gd name="T42" fmla="*/ 80 w 178"/>
                    <a:gd name="T43" fmla="*/ 41 h 201"/>
                    <a:gd name="T44" fmla="*/ 80 w 178"/>
                    <a:gd name="T45" fmla="*/ 36 h 201"/>
                    <a:gd name="T46" fmla="*/ 76 w 178"/>
                    <a:gd name="T47" fmla="*/ 23 h 201"/>
                    <a:gd name="T48" fmla="*/ 22 w 178"/>
                    <a:gd name="T49" fmla="*/ 23 h 201"/>
                    <a:gd name="T50" fmla="*/ 9 w 178"/>
                    <a:gd name="T51" fmla="*/ 18 h 201"/>
                    <a:gd name="T52" fmla="*/ 9 w 178"/>
                    <a:gd name="T53" fmla="*/ 18 h 201"/>
                    <a:gd name="T54" fmla="*/ 18 w 178"/>
                    <a:gd name="T55" fmla="*/ 0 h 201"/>
                    <a:gd name="T56" fmla="*/ 13 w 178"/>
                    <a:gd name="T57" fmla="*/ 0 h 201"/>
                    <a:gd name="T58" fmla="*/ 4 w 178"/>
                    <a:gd name="T59" fmla="*/ 9 h 201"/>
                    <a:gd name="T60" fmla="*/ 4 w 178"/>
                    <a:gd name="T61" fmla="*/ 14 h 201"/>
                    <a:gd name="T62" fmla="*/ 27 w 178"/>
                    <a:gd name="T63" fmla="*/ 54 h 201"/>
                    <a:gd name="T64" fmla="*/ 27 w 178"/>
                    <a:gd name="T65" fmla="*/ 63 h 201"/>
                    <a:gd name="T66" fmla="*/ 22 w 178"/>
                    <a:gd name="T67" fmla="*/ 63 h 201"/>
                    <a:gd name="T68" fmla="*/ 18 w 178"/>
                    <a:gd name="T69" fmla="*/ 67 h 201"/>
                    <a:gd name="T70" fmla="*/ 31 w 178"/>
                    <a:gd name="T71" fmla="*/ 90 h 201"/>
                    <a:gd name="T72" fmla="*/ 36 w 178"/>
                    <a:gd name="T73" fmla="*/ 103 h 201"/>
                    <a:gd name="T74" fmla="*/ 27 w 178"/>
                    <a:gd name="T75" fmla="*/ 112 h 201"/>
                    <a:gd name="T76" fmla="*/ 22 w 178"/>
                    <a:gd name="T77" fmla="*/ 116 h 201"/>
                    <a:gd name="T78" fmla="*/ 13 w 178"/>
                    <a:gd name="T79" fmla="*/ 130 h 201"/>
                    <a:gd name="T80" fmla="*/ 4 w 178"/>
                    <a:gd name="T81" fmla="*/ 148 h 201"/>
                    <a:gd name="T82" fmla="*/ 0 w 178"/>
                    <a:gd name="T83" fmla="*/ 161 h 201"/>
                    <a:gd name="T84" fmla="*/ 4 w 178"/>
                    <a:gd name="T85" fmla="*/ 179 h 201"/>
                    <a:gd name="T86" fmla="*/ 0 w 178"/>
                    <a:gd name="T87" fmla="*/ 179 h 201"/>
                    <a:gd name="T88" fmla="*/ 4 w 178"/>
                    <a:gd name="T89" fmla="*/ 18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8" h="201">
                      <a:moveTo>
                        <a:pt x="4" y="188"/>
                      </a:moveTo>
                      <a:lnTo>
                        <a:pt x="9" y="184"/>
                      </a:lnTo>
                      <a:lnTo>
                        <a:pt x="27" y="184"/>
                      </a:lnTo>
                      <a:lnTo>
                        <a:pt x="40" y="192"/>
                      </a:lnTo>
                      <a:lnTo>
                        <a:pt x="49" y="188"/>
                      </a:lnTo>
                      <a:lnTo>
                        <a:pt x="103" y="188"/>
                      </a:lnTo>
                      <a:lnTo>
                        <a:pt x="116" y="201"/>
                      </a:lnTo>
                      <a:lnTo>
                        <a:pt x="134" y="201"/>
                      </a:lnTo>
                      <a:lnTo>
                        <a:pt x="170" y="192"/>
                      </a:lnTo>
                      <a:lnTo>
                        <a:pt x="147" y="170"/>
                      </a:lnTo>
                      <a:lnTo>
                        <a:pt x="152" y="125"/>
                      </a:lnTo>
                      <a:lnTo>
                        <a:pt x="174" y="121"/>
                      </a:lnTo>
                      <a:lnTo>
                        <a:pt x="178" y="112"/>
                      </a:lnTo>
                      <a:lnTo>
                        <a:pt x="178" y="90"/>
                      </a:lnTo>
                      <a:lnTo>
                        <a:pt x="152" y="94"/>
                      </a:lnTo>
                      <a:lnTo>
                        <a:pt x="143" y="41"/>
                      </a:lnTo>
                      <a:lnTo>
                        <a:pt x="134" y="41"/>
                      </a:lnTo>
                      <a:lnTo>
                        <a:pt x="129" y="36"/>
                      </a:lnTo>
                      <a:lnTo>
                        <a:pt x="116" y="36"/>
                      </a:lnTo>
                      <a:lnTo>
                        <a:pt x="111" y="54"/>
                      </a:lnTo>
                      <a:lnTo>
                        <a:pt x="89" y="54"/>
                      </a:lnTo>
                      <a:lnTo>
                        <a:pt x="80" y="41"/>
                      </a:lnTo>
                      <a:lnTo>
                        <a:pt x="80" y="36"/>
                      </a:lnTo>
                      <a:lnTo>
                        <a:pt x="76" y="23"/>
                      </a:lnTo>
                      <a:lnTo>
                        <a:pt x="22" y="23"/>
                      </a:lnTo>
                      <a:lnTo>
                        <a:pt x="9" y="18"/>
                      </a:lnTo>
                      <a:lnTo>
                        <a:pt x="9" y="18"/>
                      </a:lnTo>
                      <a:lnTo>
                        <a:pt x="18" y="0"/>
                      </a:lnTo>
                      <a:lnTo>
                        <a:pt x="13" y="0"/>
                      </a:lnTo>
                      <a:lnTo>
                        <a:pt x="4" y="9"/>
                      </a:lnTo>
                      <a:lnTo>
                        <a:pt x="4" y="14"/>
                      </a:lnTo>
                      <a:lnTo>
                        <a:pt x="27" y="54"/>
                      </a:lnTo>
                      <a:lnTo>
                        <a:pt x="27" y="63"/>
                      </a:lnTo>
                      <a:lnTo>
                        <a:pt x="22" y="63"/>
                      </a:lnTo>
                      <a:lnTo>
                        <a:pt x="18" y="67"/>
                      </a:lnTo>
                      <a:lnTo>
                        <a:pt x="31" y="90"/>
                      </a:lnTo>
                      <a:lnTo>
                        <a:pt x="36" y="103"/>
                      </a:lnTo>
                      <a:lnTo>
                        <a:pt x="27" y="112"/>
                      </a:lnTo>
                      <a:lnTo>
                        <a:pt x="22" y="116"/>
                      </a:lnTo>
                      <a:lnTo>
                        <a:pt x="13" y="130"/>
                      </a:lnTo>
                      <a:lnTo>
                        <a:pt x="4" y="148"/>
                      </a:lnTo>
                      <a:lnTo>
                        <a:pt x="0" y="161"/>
                      </a:lnTo>
                      <a:lnTo>
                        <a:pt x="4" y="179"/>
                      </a:lnTo>
                      <a:lnTo>
                        <a:pt x="0" y="179"/>
                      </a:lnTo>
                      <a:lnTo>
                        <a:pt x="4" y="18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08" name="Freeform 7"/>
                <p:cNvSpPr>
                  <a:spLocks/>
                </p:cNvSpPr>
                <p:nvPr/>
              </p:nvSpPr>
              <p:spPr bwMode="gray">
                <a:xfrm>
                  <a:off x="2968" y="3043"/>
                  <a:ext cx="139" cy="147"/>
                </a:xfrm>
                <a:custGeom>
                  <a:avLst/>
                  <a:gdLst>
                    <a:gd name="T0" fmla="*/ 0 w 139"/>
                    <a:gd name="T1" fmla="*/ 112 h 147"/>
                    <a:gd name="T2" fmla="*/ 9 w 139"/>
                    <a:gd name="T3" fmla="*/ 130 h 147"/>
                    <a:gd name="T4" fmla="*/ 9 w 139"/>
                    <a:gd name="T5" fmla="*/ 138 h 147"/>
                    <a:gd name="T6" fmla="*/ 9 w 139"/>
                    <a:gd name="T7" fmla="*/ 147 h 147"/>
                    <a:gd name="T8" fmla="*/ 32 w 139"/>
                    <a:gd name="T9" fmla="*/ 143 h 147"/>
                    <a:gd name="T10" fmla="*/ 45 w 139"/>
                    <a:gd name="T11" fmla="*/ 121 h 147"/>
                    <a:gd name="T12" fmla="*/ 50 w 139"/>
                    <a:gd name="T13" fmla="*/ 121 h 147"/>
                    <a:gd name="T14" fmla="*/ 54 w 139"/>
                    <a:gd name="T15" fmla="*/ 125 h 147"/>
                    <a:gd name="T16" fmla="*/ 58 w 139"/>
                    <a:gd name="T17" fmla="*/ 130 h 147"/>
                    <a:gd name="T18" fmla="*/ 81 w 139"/>
                    <a:gd name="T19" fmla="*/ 125 h 147"/>
                    <a:gd name="T20" fmla="*/ 85 w 139"/>
                    <a:gd name="T21" fmla="*/ 112 h 147"/>
                    <a:gd name="T22" fmla="*/ 99 w 139"/>
                    <a:gd name="T23" fmla="*/ 103 h 147"/>
                    <a:gd name="T24" fmla="*/ 99 w 139"/>
                    <a:gd name="T25" fmla="*/ 98 h 147"/>
                    <a:gd name="T26" fmla="*/ 121 w 139"/>
                    <a:gd name="T27" fmla="*/ 76 h 147"/>
                    <a:gd name="T28" fmla="*/ 134 w 139"/>
                    <a:gd name="T29" fmla="*/ 71 h 147"/>
                    <a:gd name="T30" fmla="*/ 139 w 139"/>
                    <a:gd name="T31" fmla="*/ 67 h 147"/>
                    <a:gd name="T32" fmla="*/ 139 w 139"/>
                    <a:gd name="T33" fmla="*/ 62 h 147"/>
                    <a:gd name="T34" fmla="*/ 125 w 139"/>
                    <a:gd name="T35" fmla="*/ 62 h 147"/>
                    <a:gd name="T36" fmla="*/ 112 w 139"/>
                    <a:gd name="T37" fmla="*/ 45 h 147"/>
                    <a:gd name="T38" fmla="*/ 85 w 139"/>
                    <a:gd name="T39" fmla="*/ 22 h 147"/>
                    <a:gd name="T40" fmla="*/ 72 w 139"/>
                    <a:gd name="T41" fmla="*/ 0 h 147"/>
                    <a:gd name="T42" fmla="*/ 58 w 139"/>
                    <a:gd name="T43" fmla="*/ 4 h 147"/>
                    <a:gd name="T44" fmla="*/ 54 w 139"/>
                    <a:gd name="T45" fmla="*/ 13 h 147"/>
                    <a:gd name="T46" fmla="*/ 45 w 139"/>
                    <a:gd name="T47" fmla="*/ 4 h 147"/>
                    <a:gd name="T48" fmla="*/ 27 w 139"/>
                    <a:gd name="T49" fmla="*/ 9 h 147"/>
                    <a:gd name="T50" fmla="*/ 18 w 139"/>
                    <a:gd name="T51" fmla="*/ 9 h 147"/>
                    <a:gd name="T52" fmla="*/ 18 w 139"/>
                    <a:gd name="T53" fmla="*/ 67 h 147"/>
                    <a:gd name="T54" fmla="*/ 5 w 139"/>
                    <a:gd name="T55" fmla="*/ 67 h 147"/>
                    <a:gd name="T56" fmla="*/ 0 w 139"/>
                    <a:gd name="T57" fmla="*/ 11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147">
                      <a:moveTo>
                        <a:pt x="0" y="112"/>
                      </a:moveTo>
                      <a:lnTo>
                        <a:pt x="9" y="130"/>
                      </a:lnTo>
                      <a:lnTo>
                        <a:pt x="9" y="138"/>
                      </a:lnTo>
                      <a:lnTo>
                        <a:pt x="9" y="147"/>
                      </a:lnTo>
                      <a:lnTo>
                        <a:pt x="32" y="143"/>
                      </a:lnTo>
                      <a:lnTo>
                        <a:pt x="45" y="121"/>
                      </a:lnTo>
                      <a:lnTo>
                        <a:pt x="50" y="121"/>
                      </a:lnTo>
                      <a:lnTo>
                        <a:pt x="54" y="125"/>
                      </a:lnTo>
                      <a:lnTo>
                        <a:pt x="58" y="130"/>
                      </a:lnTo>
                      <a:lnTo>
                        <a:pt x="81" y="125"/>
                      </a:lnTo>
                      <a:lnTo>
                        <a:pt x="85" y="112"/>
                      </a:lnTo>
                      <a:lnTo>
                        <a:pt x="99" y="103"/>
                      </a:lnTo>
                      <a:lnTo>
                        <a:pt x="99" y="98"/>
                      </a:lnTo>
                      <a:lnTo>
                        <a:pt x="121" y="76"/>
                      </a:lnTo>
                      <a:lnTo>
                        <a:pt x="134" y="71"/>
                      </a:lnTo>
                      <a:lnTo>
                        <a:pt x="139" y="67"/>
                      </a:lnTo>
                      <a:lnTo>
                        <a:pt x="139" y="62"/>
                      </a:lnTo>
                      <a:lnTo>
                        <a:pt x="125" y="62"/>
                      </a:lnTo>
                      <a:lnTo>
                        <a:pt x="112" y="45"/>
                      </a:lnTo>
                      <a:lnTo>
                        <a:pt x="85" y="22"/>
                      </a:lnTo>
                      <a:lnTo>
                        <a:pt x="72" y="0"/>
                      </a:lnTo>
                      <a:lnTo>
                        <a:pt x="58" y="4"/>
                      </a:lnTo>
                      <a:lnTo>
                        <a:pt x="54" y="13"/>
                      </a:lnTo>
                      <a:lnTo>
                        <a:pt x="45" y="4"/>
                      </a:lnTo>
                      <a:lnTo>
                        <a:pt x="27" y="9"/>
                      </a:lnTo>
                      <a:lnTo>
                        <a:pt x="18" y="9"/>
                      </a:lnTo>
                      <a:lnTo>
                        <a:pt x="18" y="67"/>
                      </a:lnTo>
                      <a:lnTo>
                        <a:pt x="5" y="67"/>
                      </a:lnTo>
                      <a:lnTo>
                        <a:pt x="0" y="11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09" name="Freeform 8"/>
                <p:cNvSpPr>
                  <a:spLocks/>
                </p:cNvSpPr>
                <p:nvPr/>
              </p:nvSpPr>
              <p:spPr bwMode="gray">
                <a:xfrm>
                  <a:off x="3102" y="2815"/>
                  <a:ext cx="27" cy="31"/>
                </a:xfrm>
                <a:custGeom>
                  <a:avLst/>
                  <a:gdLst>
                    <a:gd name="T0" fmla="*/ 0 w 27"/>
                    <a:gd name="T1" fmla="*/ 4 h 31"/>
                    <a:gd name="T2" fmla="*/ 5 w 27"/>
                    <a:gd name="T3" fmla="*/ 18 h 31"/>
                    <a:gd name="T4" fmla="*/ 5 w 27"/>
                    <a:gd name="T5" fmla="*/ 31 h 31"/>
                    <a:gd name="T6" fmla="*/ 9 w 27"/>
                    <a:gd name="T7" fmla="*/ 31 h 31"/>
                    <a:gd name="T8" fmla="*/ 27 w 27"/>
                    <a:gd name="T9" fmla="*/ 18 h 31"/>
                    <a:gd name="T10" fmla="*/ 27 w 27"/>
                    <a:gd name="T11" fmla="*/ 9 h 31"/>
                    <a:gd name="T12" fmla="*/ 23 w 27"/>
                    <a:gd name="T13" fmla="*/ 9 h 31"/>
                    <a:gd name="T14" fmla="*/ 23 w 27"/>
                    <a:gd name="T15" fmla="*/ 0 h 31"/>
                    <a:gd name="T16" fmla="*/ 14 w 27"/>
                    <a:gd name="T17" fmla="*/ 0 h 31"/>
                    <a:gd name="T18" fmla="*/ 9 w 27"/>
                    <a:gd name="T19" fmla="*/ 4 h 31"/>
                    <a:gd name="T20" fmla="*/ 0 w 27"/>
                    <a:gd name="T21"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1">
                      <a:moveTo>
                        <a:pt x="0" y="4"/>
                      </a:moveTo>
                      <a:lnTo>
                        <a:pt x="5" y="18"/>
                      </a:lnTo>
                      <a:lnTo>
                        <a:pt x="5" y="31"/>
                      </a:lnTo>
                      <a:lnTo>
                        <a:pt x="9" y="31"/>
                      </a:lnTo>
                      <a:lnTo>
                        <a:pt x="27" y="18"/>
                      </a:lnTo>
                      <a:lnTo>
                        <a:pt x="27" y="9"/>
                      </a:lnTo>
                      <a:lnTo>
                        <a:pt x="23" y="9"/>
                      </a:lnTo>
                      <a:lnTo>
                        <a:pt x="23" y="0"/>
                      </a:lnTo>
                      <a:lnTo>
                        <a:pt x="14" y="0"/>
                      </a:lnTo>
                      <a:lnTo>
                        <a:pt x="9" y="4"/>
                      </a:lnTo>
                      <a:lnTo>
                        <a:pt x="0" y="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10" name="Freeform 9"/>
                <p:cNvSpPr>
                  <a:spLocks/>
                </p:cNvSpPr>
                <p:nvPr/>
              </p:nvSpPr>
              <p:spPr bwMode="gray">
                <a:xfrm>
                  <a:off x="2812" y="2592"/>
                  <a:ext cx="103" cy="160"/>
                </a:xfrm>
                <a:custGeom>
                  <a:avLst/>
                  <a:gdLst>
                    <a:gd name="T0" fmla="*/ 0 w 103"/>
                    <a:gd name="T1" fmla="*/ 116 h 160"/>
                    <a:gd name="T2" fmla="*/ 0 w 103"/>
                    <a:gd name="T3" fmla="*/ 125 h 160"/>
                    <a:gd name="T4" fmla="*/ 5 w 103"/>
                    <a:gd name="T5" fmla="*/ 129 h 160"/>
                    <a:gd name="T6" fmla="*/ 13 w 103"/>
                    <a:gd name="T7" fmla="*/ 129 h 160"/>
                    <a:gd name="T8" fmla="*/ 9 w 103"/>
                    <a:gd name="T9" fmla="*/ 138 h 160"/>
                    <a:gd name="T10" fmla="*/ 9 w 103"/>
                    <a:gd name="T11" fmla="*/ 143 h 160"/>
                    <a:gd name="T12" fmla="*/ 9 w 103"/>
                    <a:gd name="T13" fmla="*/ 156 h 160"/>
                    <a:gd name="T14" fmla="*/ 31 w 103"/>
                    <a:gd name="T15" fmla="*/ 160 h 160"/>
                    <a:gd name="T16" fmla="*/ 49 w 103"/>
                    <a:gd name="T17" fmla="*/ 156 h 160"/>
                    <a:gd name="T18" fmla="*/ 63 w 103"/>
                    <a:gd name="T19" fmla="*/ 156 h 160"/>
                    <a:gd name="T20" fmla="*/ 85 w 103"/>
                    <a:gd name="T21" fmla="*/ 156 h 160"/>
                    <a:gd name="T22" fmla="*/ 98 w 103"/>
                    <a:gd name="T23" fmla="*/ 160 h 160"/>
                    <a:gd name="T24" fmla="*/ 103 w 103"/>
                    <a:gd name="T25" fmla="*/ 143 h 160"/>
                    <a:gd name="T26" fmla="*/ 94 w 103"/>
                    <a:gd name="T27" fmla="*/ 138 h 160"/>
                    <a:gd name="T28" fmla="*/ 80 w 103"/>
                    <a:gd name="T29" fmla="*/ 125 h 160"/>
                    <a:gd name="T30" fmla="*/ 76 w 103"/>
                    <a:gd name="T31" fmla="*/ 98 h 160"/>
                    <a:gd name="T32" fmla="*/ 94 w 103"/>
                    <a:gd name="T33" fmla="*/ 80 h 160"/>
                    <a:gd name="T34" fmla="*/ 89 w 103"/>
                    <a:gd name="T35" fmla="*/ 71 h 160"/>
                    <a:gd name="T36" fmla="*/ 72 w 103"/>
                    <a:gd name="T37" fmla="*/ 49 h 160"/>
                    <a:gd name="T38" fmla="*/ 72 w 103"/>
                    <a:gd name="T39" fmla="*/ 40 h 160"/>
                    <a:gd name="T40" fmla="*/ 89 w 103"/>
                    <a:gd name="T41" fmla="*/ 44 h 160"/>
                    <a:gd name="T42" fmla="*/ 85 w 103"/>
                    <a:gd name="T43" fmla="*/ 31 h 160"/>
                    <a:gd name="T44" fmla="*/ 85 w 103"/>
                    <a:gd name="T45" fmla="*/ 17 h 160"/>
                    <a:gd name="T46" fmla="*/ 80 w 103"/>
                    <a:gd name="T47" fmla="*/ 0 h 160"/>
                    <a:gd name="T48" fmla="*/ 76 w 103"/>
                    <a:gd name="T49" fmla="*/ 4 h 160"/>
                    <a:gd name="T50" fmla="*/ 76 w 103"/>
                    <a:gd name="T51" fmla="*/ 17 h 160"/>
                    <a:gd name="T52" fmla="*/ 67 w 103"/>
                    <a:gd name="T53" fmla="*/ 22 h 160"/>
                    <a:gd name="T54" fmla="*/ 63 w 103"/>
                    <a:gd name="T55" fmla="*/ 49 h 160"/>
                    <a:gd name="T56" fmla="*/ 58 w 103"/>
                    <a:gd name="T57" fmla="*/ 49 h 160"/>
                    <a:gd name="T58" fmla="*/ 54 w 103"/>
                    <a:gd name="T59" fmla="*/ 62 h 160"/>
                    <a:gd name="T60" fmla="*/ 45 w 103"/>
                    <a:gd name="T61" fmla="*/ 67 h 160"/>
                    <a:gd name="T62" fmla="*/ 31 w 103"/>
                    <a:gd name="T63" fmla="*/ 89 h 160"/>
                    <a:gd name="T64" fmla="*/ 22 w 103"/>
                    <a:gd name="T65" fmla="*/ 84 h 160"/>
                    <a:gd name="T66" fmla="*/ 13 w 103"/>
                    <a:gd name="T67" fmla="*/ 84 h 160"/>
                    <a:gd name="T68" fmla="*/ 5 w 103"/>
                    <a:gd name="T69" fmla="*/ 111 h 160"/>
                    <a:gd name="T70" fmla="*/ 0 w 103"/>
                    <a:gd name="T71" fmla="*/ 1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 h="160">
                      <a:moveTo>
                        <a:pt x="0" y="116"/>
                      </a:moveTo>
                      <a:lnTo>
                        <a:pt x="0" y="125"/>
                      </a:lnTo>
                      <a:lnTo>
                        <a:pt x="5" y="129"/>
                      </a:lnTo>
                      <a:lnTo>
                        <a:pt x="13" y="129"/>
                      </a:lnTo>
                      <a:lnTo>
                        <a:pt x="9" y="138"/>
                      </a:lnTo>
                      <a:lnTo>
                        <a:pt x="9" y="143"/>
                      </a:lnTo>
                      <a:lnTo>
                        <a:pt x="9" y="156"/>
                      </a:lnTo>
                      <a:lnTo>
                        <a:pt x="31" y="160"/>
                      </a:lnTo>
                      <a:lnTo>
                        <a:pt x="49" y="156"/>
                      </a:lnTo>
                      <a:lnTo>
                        <a:pt x="63" y="156"/>
                      </a:lnTo>
                      <a:lnTo>
                        <a:pt x="85" y="156"/>
                      </a:lnTo>
                      <a:lnTo>
                        <a:pt x="98" y="160"/>
                      </a:lnTo>
                      <a:lnTo>
                        <a:pt x="103" y="143"/>
                      </a:lnTo>
                      <a:lnTo>
                        <a:pt x="94" y="138"/>
                      </a:lnTo>
                      <a:lnTo>
                        <a:pt x="80" y="125"/>
                      </a:lnTo>
                      <a:lnTo>
                        <a:pt x="76" y="98"/>
                      </a:lnTo>
                      <a:lnTo>
                        <a:pt x="94" y="80"/>
                      </a:lnTo>
                      <a:lnTo>
                        <a:pt x="89" y="71"/>
                      </a:lnTo>
                      <a:lnTo>
                        <a:pt x="72" y="49"/>
                      </a:lnTo>
                      <a:lnTo>
                        <a:pt x="72" y="40"/>
                      </a:lnTo>
                      <a:lnTo>
                        <a:pt x="89" y="44"/>
                      </a:lnTo>
                      <a:lnTo>
                        <a:pt x="85" y="31"/>
                      </a:lnTo>
                      <a:lnTo>
                        <a:pt x="85" y="17"/>
                      </a:lnTo>
                      <a:lnTo>
                        <a:pt x="80" y="0"/>
                      </a:lnTo>
                      <a:lnTo>
                        <a:pt x="76" y="4"/>
                      </a:lnTo>
                      <a:lnTo>
                        <a:pt x="76" y="17"/>
                      </a:lnTo>
                      <a:lnTo>
                        <a:pt x="67" y="22"/>
                      </a:lnTo>
                      <a:lnTo>
                        <a:pt x="63" y="49"/>
                      </a:lnTo>
                      <a:lnTo>
                        <a:pt x="58" y="49"/>
                      </a:lnTo>
                      <a:lnTo>
                        <a:pt x="54" y="62"/>
                      </a:lnTo>
                      <a:lnTo>
                        <a:pt x="45" y="67"/>
                      </a:lnTo>
                      <a:lnTo>
                        <a:pt x="31" y="89"/>
                      </a:lnTo>
                      <a:lnTo>
                        <a:pt x="22" y="84"/>
                      </a:lnTo>
                      <a:lnTo>
                        <a:pt x="13" y="84"/>
                      </a:lnTo>
                      <a:lnTo>
                        <a:pt x="5" y="111"/>
                      </a:lnTo>
                      <a:lnTo>
                        <a:pt x="0" y="11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11" name="Freeform 10"/>
                <p:cNvSpPr>
                  <a:spLocks noEditPoints="1"/>
                </p:cNvSpPr>
                <p:nvPr/>
              </p:nvSpPr>
              <p:spPr bwMode="gray">
                <a:xfrm>
                  <a:off x="2334" y="2529"/>
                  <a:ext cx="27" cy="36"/>
                </a:xfrm>
                <a:custGeom>
                  <a:avLst/>
                  <a:gdLst>
                    <a:gd name="T0" fmla="*/ 0 w 27"/>
                    <a:gd name="T1" fmla="*/ 0 h 36"/>
                    <a:gd name="T2" fmla="*/ 5 w 27"/>
                    <a:gd name="T3" fmla="*/ 4 h 36"/>
                    <a:gd name="T4" fmla="*/ 5 w 27"/>
                    <a:gd name="T5" fmla="*/ 0 h 36"/>
                    <a:gd name="T6" fmla="*/ 0 w 27"/>
                    <a:gd name="T7" fmla="*/ 0 h 36"/>
                    <a:gd name="T8" fmla="*/ 9 w 27"/>
                    <a:gd name="T9" fmla="*/ 22 h 36"/>
                    <a:gd name="T10" fmla="*/ 5 w 27"/>
                    <a:gd name="T11" fmla="*/ 31 h 36"/>
                    <a:gd name="T12" fmla="*/ 9 w 27"/>
                    <a:gd name="T13" fmla="*/ 36 h 36"/>
                    <a:gd name="T14" fmla="*/ 14 w 27"/>
                    <a:gd name="T15" fmla="*/ 31 h 36"/>
                    <a:gd name="T16" fmla="*/ 9 w 27"/>
                    <a:gd name="T17" fmla="*/ 22 h 36"/>
                    <a:gd name="T18" fmla="*/ 22 w 27"/>
                    <a:gd name="T19" fmla="*/ 9 h 36"/>
                    <a:gd name="T20" fmla="*/ 22 w 27"/>
                    <a:gd name="T21" fmla="*/ 13 h 36"/>
                    <a:gd name="T22" fmla="*/ 22 w 27"/>
                    <a:gd name="T23" fmla="*/ 18 h 36"/>
                    <a:gd name="T24" fmla="*/ 27 w 27"/>
                    <a:gd name="T25" fmla="*/ 13 h 36"/>
                    <a:gd name="T26" fmla="*/ 22 w 27"/>
                    <a:gd name="T27"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6">
                      <a:moveTo>
                        <a:pt x="0" y="0"/>
                      </a:moveTo>
                      <a:lnTo>
                        <a:pt x="5" y="4"/>
                      </a:lnTo>
                      <a:lnTo>
                        <a:pt x="5" y="0"/>
                      </a:lnTo>
                      <a:lnTo>
                        <a:pt x="0" y="0"/>
                      </a:lnTo>
                      <a:close/>
                      <a:moveTo>
                        <a:pt x="9" y="22"/>
                      </a:moveTo>
                      <a:lnTo>
                        <a:pt x="5" y="31"/>
                      </a:lnTo>
                      <a:lnTo>
                        <a:pt x="9" y="36"/>
                      </a:lnTo>
                      <a:lnTo>
                        <a:pt x="14" y="31"/>
                      </a:lnTo>
                      <a:lnTo>
                        <a:pt x="9" y="22"/>
                      </a:lnTo>
                      <a:close/>
                      <a:moveTo>
                        <a:pt x="22" y="9"/>
                      </a:moveTo>
                      <a:lnTo>
                        <a:pt x="22" y="13"/>
                      </a:lnTo>
                      <a:lnTo>
                        <a:pt x="22" y="18"/>
                      </a:lnTo>
                      <a:lnTo>
                        <a:pt x="27" y="13"/>
                      </a:lnTo>
                      <a:lnTo>
                        <a:pt x="22"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12" name="Freeform 11"/>
                <p:cNvSpPr>
                  <a:spLocks/>
                </p:cNvSpPr>
                <p:nvPr/>
              </p:nvSpPr>
              <p:spPr bwMode="gray">
                <a:xfrm>
                  <a:off x="2888" y="2618"/>
                  <a:ext cx="188" cy="117"/>
                </a:xfrm>
                <a:custGeom>
                  <a:avLst/>
                  <a:gdLst>
                    <a:gd name="T0" fmla="*/ 27 w 188"/>
                    <a:gd name="T1" fmla="*/ 117 h 117"/>
                    <a:gd name="T2" fmla="*/ 45 w 188"/>
                    <a:gd name="T3" fmla="*/ 103 h 117"/>
                    <a:gd name="T4" fmla="*/ 63 w 188"/>
                    <a:gd name="T5" fmla="*/ 103 h 117"/>
                    <a:gd name="T6" fmla="*/ 63 w 188"/>
                    <a:gd name="T7" fmla="*/ 99 h 117"/>
                    <a:gd name="T8" fmla="*/ 76 w 188"/>
                    <a:gd name="T9" fmla="*/ 85 h 117"/>
                    <a:gd name="T10" fmla="*/ 85 w 188"/>
                    <a:gd name="T11" fmla="*/ 94 h 117"/>
                    <a:gd name="T12" fmla="*/ 116 w 188"/>
                    <a:gd name="T13" fmla="*/ 99 h 117"/>
                    <a:gd name="T14" fmla="*/ 121 w 188"/>
                    <a:gd name="T15" fmla="*/ 90 h 117"/>
                    <a:gd name="T16" fmla="*/ 130 w 188"/>
                    <a:gd name="T17" fmla="*/ 94 h 117"/>
                    <a:gd name="T18" fmla="*/ 147 w 188"/>
                    <a:gd name="T19" fmla="*/ 85 h 117"/>
                    <a:gd name="T20" fmla="*/ 152 w 188"/>
                    <a:gd name="T21" fmla="*/ 90 h 117"/>
                    <a:gd name="T22" fmla="*/ 161 w 188"/>
                    <a:gd name="T23" fmla="*/ 85 h 117"/>
                    <a:gd name="T24" fmla="*/ 188 w 188"/>
                    <a:gd name="T25" fmla="*/ 90 h 117"/>
                    <a:gd name="T26" fmla="*/ 188 w 188"/>
                    <a:gd name="T27" fmla="*/ 76 h 117"/>
                    <a:gd name="T28" fmla="*/ 174 w 188"/>
                    <a:gd name="T29" fmla="*/ 72 h 117"/>
                    <a:gd name="T30" fmla="*/ 161 w 188"/>
                    <a:gd name="T31" fmla="*/ 45 h 117"/>
                    <a:gd name="T32" fmla="*/ 147 w 188"/>
                    <a:gd name="T33" fmla="*/ 41 h 117"/>
                    <a:gd name="T34" fmla="*/ 143 w 188"/>
                    <a:gd name="T35" fmla="*/ 36 h 117"/>
                    <a:gd name="T36" fmla="*/ 130 w 188"/>
                    <a:gd name="T37" fmla="*/ 32 h 117"/>
                    <a:gd name="T38" fmla="*/ 125 w 188"/>
                    <a:gd name="T39" fmla="*/ 18 h 117"/>
                    <a:gd name="T40" fmla="*/ 121 w 188"/>
                    <a:gd name="T41" fmla="*/ 0 h 117"/>
                    <a:gd name="T42" fmla="*/ 112 w 188"/>
                    <a:gd name="T43" fmla="*/ 0 h 117"/>
                    <a:gd name="T44" fmla="*/ 103 w 188"/>
                    <a:gd name="T45" fmla="*/ 5 h 117"/>
                    <a:gd name="T46" fmla="*/ 89 w 188"/>
                    <a:gd name="T47" fmla="*/ 27 h 117"/>
                    <a:gd name="T48" fmla="*/ 71 w 188"/>
                    <a:gd name="T49" fmla="*/ 32 h 117"/>
                    <a:gd name="T50" fmla="*/ 67 w 188"/>
                    <a:gd name="T51" fmla="*/ 41 h 117"/>
                    <a:gd name="T52" fmla="*/ 49 w 188"/>
                    <a:gd name="T53" fmla="*/ 45 h 117"/>
                    <a:gd name="T54" fmla="*/ 36 w 188"/>
                    <a:gd name="T55" fmla="*/ 54 h 117"/>
                    <a:gd name="T56" fmla="*/ 27 w 188"/>
                    <a:gd name="T57" fmla="*/ 50 h 117"/>
                    <a:gd name="T58" fmla="*/ 18 w 188"/>
                    <a:gd name="T59" fmla="*/ 54 h 117"/>
                    <a:gd name="T60" fmla="*/ 0 w 188"/>
                    <a:gd name="T61" fmla="*/ 72 h 117"/>
                    <a:gd name="T62" fmla="*/ 4 w 188"/>
                    <a:gd name="T63" fmla="*/ 99 h 117"/>
                    <a:gd name="T64" fmla="*/ 18 w 188"/>
                    <a:gd name="T65" fmla="*/ 112 h 117"/>
                    <a:gd name="T66" fmla="*/ 27 w 188"/>
                    <a:gd name="T6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17">
                      <a:moveTo>
                        <a:pt x="27" y="117"/>
                      </a:moveTo>
                      <a:lnTo>
                        <a:pt x="45" y="103"/>
                      </a:lnTo>
                      <a:lnTo>
                        <a:pt x="63" y="103"/>
                      </a:lnTo>
                      <a:lnTo>
                        <a:pt x="63" y="99"/>
                      </a:lnTo>
                      <a:lnTo>
                        <a:pt x="76" y="85"/>
                      </a:lnTo>
                      <a:lnTo>
                        <a:pt x="85" y="94"/>
                      </a:lnTo>
                      <a:lnTo>
                        <a:pt x="116" y="99"/>
                      </a:lnTo>
                      <a:lnTo>
                        <a:pt x="121" y="90"/>
                      </a:lnTo>
                      <a:lnTo>
                        <a:pt x="130" y="94"/>
                      </a:lnTo>
                      <a:lnTo>
                        <a:pt x="147" y="85"/>
                      </a:lnTo>
                      <a:lnTo>
                        <a:pt x="152" y="90"/>
                      </a:lnTo>
                      <a:lnTo>
                        <a:pt x="161" y="85"/>
                      </a:lnTo>
                      <a:lnTo>
                        <a:pt x="188" y="90"/>
                      </a:lnTo>
                      <a:lnTo>
                        <a:pt x="188" y="76"/>
                      </a:lnTo>
                      <a:lnTo>
                        <a:pt x="174" y="72"/>
                      </a:lnTo>
                      <a:lnTo>
                        <a:pt x="161" y="45"/>
                      </a:lnTo>
                      <a:lnTo>
                        <a:pt x="147" y="41"/>
                      </a:lnTo>
                      <a:lnTo>
                        <a:pt x="143" y="36"/>
                      </a:lnTo>
                      <a:lnTo>
                        <a:pt x="130" y="32"/>
                      </a:lnTo>
                      <a:lnTo>
                        <a:pt x="125" y="18"/>
                      </a:lnTo>
                      <a:lnTo>
                        <a:pt x="121" y="0"/>
                      </a:lnTo>
                      <a:lnTo>
                        <a:pt x="112" y="0"/>
                      </a:lnTo>
                      <a:lnTo>
                        <a:pt x="103" y="5"/>
                      </a:lnTo>
                      <a:lnTo>
                        <a:pt x="89" y="27"/>
                      </a:lnTo>
                      <a:lnTo>
                        <a:pt x="71" y="32"/>
                      </a:lnTo>
                      <a:lnTo>
                        <a:pt x="67" y="41"/>
                      </a:lnTo>
                      <a:lnTo>
                        <a:pt x="49" y="45"/>
                      </a:lnTo>
                      <a:lnTo>
                        <a:pt x="36" y="54"/>
                      </a:lnTo>
                      <a:lnTo>
                        <a:pt x="27" y="50"/>
                      </a:lnTo>
                      <a:lnTo>
                        <a:pt x="18" y="54"/>
                      </a:lnTo>
                      <a:lnTo>
                        <a:pt x="0" y="72"/>
                      </a:lnTo>
                      <a:lnTo>
                        <a:pt x="4" y="99"/>
                      </a:lnTo>
                      <a:lnTo>
                        <a:pt x="18" y="112"/>
                      </a:lnTo>
                      <a:lnTo>
                        <a:pt x="27" y="117"/>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13" name="Freeform 12"/>
                <p:cNvSpPr>
                  <a:spLocks/>
                </p:cNvSpPr>
                <p:nvPr/>
              </p:nvSpPr>
              <p:spPr bwMode="gray">
                <a:xfrm>
                  <a:off x="2875" y="2426"/>
                  <a:ext cx="147" cy="246"/>
                </a:xfrm>
                <a:custGeom>
                  <a:avLst/>
                  <a:gdLst>
                    <a:gd name="T0" fmla="*/ 0 w 147"/>
                    <a:gd name="T1" fmla="*/ 152 h 246"/>
                    <a:gd name="T2" fmla="*/ 4 w 147"/>
                    <a:gd name="T3" fmla="*/ 157 h 246"/>
                    <a:gd name="T4" fmla="*/ 13 w 147"/>
                    <a:gd name="T5" fmla="*/ 170 h 246"/>
                    <a:gd name="T6" fmla="*/ 17 w 147"/>
                    <a:gd name="T7" fmla="*/ 166 h 246"/>
                    <a:gd name="T8" fmla="*/ 22 w 147"/>
                    <a:gd name="T9" fmla="*/ 183 h 246"/>
                    <a:gd name="T10" fmla="*/ 22 w 147"/>
                    <a:gd name="T11" fmla="*/ 197 h 246"/>
                    <a:gd name="T12" fmla="*/ 26 w 147"/>
                    <a:gd name="T13" fmla="*/ 210 h 246"/>
                    <a:gd name="T14" fmla="*/ 9 w 147"/>
                    <a:gd name="T15" fmla="*/ 206 h 246"/>
                    <a:gd name="T16" fmla="*/ 9 w 147"/>
                    <a:gd name="T17" fmla="*/ 215 h 246"/>
                    <a:gd name="T18" fmla="*/ 26 w 147"/>
                    <a:gd name="T19" fmla="*/ 237 h 246"/>
                    <a:gd name="T20" fmla="*/ 31 w 147"/>
                    <a:gd name="T21" fmla="*/ 246 h 246"/>
                    <a:gd name="T22" fmla="*/ 40 w 147"/>
                    <a:gd name="T23" fmla="*/ 242 h 246"/>
                    <a:gd name="T24" fmla="*/ 49 w 147"/>
                    <a:gd name="T25" fmla="*/ 246 h 246"/>
                    <a:gd name="T26" fmla="*/ 62 w 147"/>
                    <a:gd name="T27" fmla="*/ 237 h 246"/>
                    <a:gd name="T28" fmla="*/ 80 w 147"/>
                    <a:gd name="T29" fmla="*/ 233 h 246"/>
                    <a:gd name="T30" fmla="*/ 84 w 147"/>
                    <a:gd name="T31" fmla="*/ 224 h 246"/>
                    <a:gd name="T32" fmla="*/ 102 w 147"/>
                    <a:gd name="T33" fmla="*/ 219 h 246"/>
                    <a:gd name="T34" fmla="*/ 116 w 147"/>
                    <a:gd name="T35" fmla="*/ 197 h 246"/>
                    <a:gd name="T36" fmla="*/ 125 w 147"/>
                    <a:gd name="T37" fmla="*/ 192 h 246"/>
                    <a:gd name="T38" fmla="*/ 134 w 147"/>
                    <a:gd name="T39" fmla="*/ 192 h 246"/>
                    <a:gd name="T40" fmla="*/ 129 w 147"/>
                    <a:gd name="T41" fmla="*/ 183 h 246"/>
                    <a:gd name="T42" fmla="*/ 129 w 147"/>
                    <a:gd name="T43" fmla="*/ 179 h 246"/>
                    <a:gd name="T44" fmla="*/ 120 w 147"/>
                    <a:gd name="T45" fmla="*/ 166 h 246"/>
                    <a:gd name="T46" fmla="*/ 125 w 147"/>
                    <a:gd name="T47" fmla="*/ 152 h 246"/>
                    <a:gd name="T48" fmla="*/ 134 w 147"/>
                    <a:gd name="T49" fmla="*/ 148 h 246"/>
                    <a:gd name="T50" fmla="*/ 129 w 147"/>
                    <a:gd name="T51" fmla="*/ 143 h 246"/>
                    <a:gd name="T52" fmla="*/ 134 w 147"/>
                    <a:gd name="T53" fmla="*/ 139 h 246"/>
                    <a:gd name="T54" fmla="*/ 134 w 147"/>
                    <a:gd name="T55" fmla="*/ 130 h 246"/>
                    <a:gd name="T56" fmla="*/ 147 w 147"/>
                    <a:gd name="T57" fmla="*/ 125 h 246"/>
                    <a:gd name="T58" fmla="*/ 147 w 147"/>
                    <a:gd name="T59" fmla="*/ 67 h 246"/>
                    <a:gd name="T60" fmla="*/ 35 w 147"/>
                    <a:gd name="T61" fmla="*/ 0 h 246"/>
                    <a:gd name="T62" fmla="*/ 22 w 147"/>
                    <a:gd name="T63" fmla="*/ 9 h 246"/>
                    <a:gd name="T64" fmla="*/ 31 w 147"/>
                    <a:gd name="T65" fmla="*/ 27 h 246"/>
                    <a:gd name="T66" fmla="*/ 31 w 147"/>
                    <a:gd name="T67" fmla="*/ 40 h 246"/>
                    <a:gd name="T68" fmla="*/ 40 w 147"/>
                    <a:gd name="T69" fmla="*/ 49 h 246"/>
                    <a:gd name="T70" fmla="*/ 31 w 147"/>
                    <a:gd name="T71" fmla="*/ 67 h 246"/>
                    <a:gd name="T72" fmla="*/ 26 w 147"/>
                    <a:gd name="T73" fmla="*/ 112 h 246"/>
                    <a:gd name="T74" fmla="*/ 4 w 147"/>
                    <a:gd name="T75" fmla="*/ 130 h 246"/>
                    <a:gd name="T76" fmla="*/ 0 w 147"/>
                    <a:gd name="T77" fmla="*/ 139 h 246"/>
                    <a:gd name="T78" fmla="*/ 0 w 147"/>
                    <a:gd name="T79" fmla="*/ 15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7" h="246">
                      <a:moveTo>
                        <a:pt x="0" y="152"/>
                      </a:moveTo>
                      <a:lnTo>
                        <a:pt x="4" y="157"/>
                      </a:lnTo>
                      <a:lnTo>
                        <a:pt x="13" y="170"/>
                      </a:lnTo>
                      <a:lnTo>
                        <a:pt x="17" y="166"/>
                      </a:lnTo>
                      <a:lnTo>
                        <a:pt x="22" y="183"/>
                      </a:lnTo>
                      <a:lnTo>
                        <a:pt x="22" y="197"/>
                      </a:lnTo>
                      <a:lnTo>
                        <a:pt x="26" y="210"/>
                      </a:lnTo>
                      <a:lnTo>
                        <a:pt x="9" y="206"/>
                      </a:lnTo>
                      <a:lnTo>
                        <a:pt x="9" y="215"/>
                      </a:lnTo>
                      <a:lnTo>
                        <a:pt x="26" y="237"/>
                      </a:lnTo>
                      <a:lnTo>
                        <a:pt x="31" y="246"/>
                      </a:lnTo>
                      <a:lnTo>
                        <a:pt x="40" y="242"/>
                      </a:lnTo>
                      <a:lnTo>
                        <a:pt x="49" y="246"/>
                      </a:lnTo>
                      <a:lnTo>
                        <a:pt x="62" y="237"/>
                      </a:lnTo>
                      <a:lnTo>
                        <a:pt x="80" y="233"/>
                      </a:lnTo>
                      <a:lnTo>
                        <a:pt x="84" y="224"/>
                      </a:lnTo>
                      <a:lnTo>
                        <a:pt x="102" y="219"/>
                      </a:lnTo>
                      <a:lnTo>
                        <a:pt x="116" y="197"/>
                      </a:lnTo>
                      <a:lnTo>
                        <a:pt x="125" y="192"/>
                      </a:lnTo>
                      <a:lnTo>
                        <a:pt x="134" y="192"/>
                      </a:lnTo>
                      <a:lnTo>
                        <a:pt x="129" y="183"/>
                      </a:lnTo>
                      <a:lnTo>
                        <a:pt x="129" y="179"/>
                      </a:lnTo>
                      <a:lnTo>
                        <a:pt x="120" y="166"/>
                      </a:lnTo>
                      <a:lnTo>
                        <a:pt x="125" y="152"/>
                      </a:lnTo>
                      <a:lnTo>
                        <a:pt x="134" y="148"/>
                      </a:lnTo>
                      <a:lnTo>
                        <a:pt x="129" y="143"/>
                      </a:lnTo>
                      <a:lnTo>
                        <a:pt x="134" y="139"/>
                      </a:lnTo>
                      <a:lnTo>
                        <a:pt x="134" y="130"/>
                      </a:lnTo>
                      <a:lnTo>
                        <a:pt x="147" y="125"/>
                      </a:lnTo>
                      <a:lnTo>
                        <a:pt x="147" y="67"/>
                      </a:lnTo>
                      <a:lnTo>
                        <a:pt x="35" y="0"/>
                      </a:lnTo>
                      <a:lnTo>
                        <a:pt x="22" y="9"/>
                      </a:lnTo>
                      <a:lnTo>
                        <a:pt x="31" y="27"/>
                      </a:lnTo>
                      <a:lnTo>
                        <a:pt x="31" y="40"/>
                      </a:lnTo>
                      <a:lnTo>
                        <a:pt x="40" y="49"/>
                      </a:lnTo>
                      <a:lnTo>
                        <a:pt x="31" y="67"/>
                      </a:lnTo>
                      <a:lnTo>
                        <a:pt x="26" y="112"/>
                      </a:lnTo>
                      <a:lnTo>
                        <a:pt x="4" y="130"/>
                      </a:lnTo>
                      <a:lnTo>
                        <a:pt x="0" y="139"/>
                      </a:lnTo>
                      <a:lnTo>
                        <a:pt x="0" y="15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14" name="Freeform 13"/>
                <p:cNvSpPr>
                  <a:spLocks noEditPoints="1"/>
                </p:cNvSpPr>
                <p:nvPr/>
              </p:nvSpPr>
              <p:spPr bwMode="gray">
                <a:xfrm>
                  <a:off x="3303" y="2945"/>
                  <a:ext cx="18" cy="17"/>
                </a:xfrm>
                <a:custGeom>
                  <a:avLst/>
                  <a:gdLst>
                    <a:gd name="T0" fmla="*/ 5 w 18"/>
                    <a:gd name="T1" fmla="*/ 9 h 17"/>
                    <a:gd name="T2" fmla="*/ 5 w 18"/>
                    <a:gd name="T3" fmla="*/ 4 h 17"/>
                    <a:gd name="T4" fmla="*/ 5 w 18"/>
                    <a:gd name="T5" fmla="*/ 0 h 17"/>
                    <a:gd name="T6" fmla="*/ 0 w 18"/>
                    <a:gd name="T7" fmla="*/ 4 h 17"/>
                    <a:gd name="T8" fmla="*/ 0 w 18"/>
                    <a:gd name="T9" fmla="*/ 9 h 17"/>
                    <a:gd name="T10" fmla="*/ 5 w 18"/>
                    <a:gd name="T11" fmla="*/ 9 h 17"/>
                    <a:gd name="T12" fmla="*/ 18 w 18"/>
                    <a:gd name="T13" fmla="*/ 13 h 17"/>
                    <a:gd name="T14" fmla="*/ 18 w 18"/>
                    <a:gd name="T15" fmla="*/ 17 h 17"/>
                    <a:gd name="T16" fmla="*/ 18 w 18"/>
                    <a:gd name="T17" fmla="*/ 13 h 17"/>
                    <a:gd name="T18" fmla="*/ 18 w 18"/>
                    <a:gd name="T19"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7">
                      <a:moveTo>
                        <a:pt x="5" y="9"/>
                      </a:moveTo>
                      <a:lnTo>
                        <a:pt x="5" y="4"/>
                      </a:lnTo>
                      <a:lnTo>
                        <a:pt x="5" y="0"/>
                      </a:lnTo>
                      <a:lnTo>
                        <a:pt x="0" y="4"/>
                      </a:lnTo>
                      <a:lnTo>
                        <a:pt x="0" y="9"/>
                      </a:lnTo>
                      <a:lnTo>
                        <a:pt x="5" y="9"/>
                      </a:lnTo>
                      <a:close/>
                      <a:moveTo>
                        <a:pt x="18" y="13"/>
                      </a:moveTo>
                      <a:lnTo>
                        <a:pt x="18" y="17"/>
                      </a:lnTo>
                      <a:lnTo>
                        <a:pt x="18" y="13"/>
                      </a:lnTo>
                      <a:lnTo>
                        <a:pt x="18" y="1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15" name="Freeform 14"/>
                <p:cNvSpPr>
                  <a:spLocks/>
                </p:cNvSpPr>
                <p:nvPr/>
              </p:nvSpPr>
              <p:spPr bwMode="gray">
                <a:xfrm>
                  <a:off x="3326" y="2962"/>
                  <a:ext cx="9" cy="9"/>
                </a:xfrm>
                <a:custGeom>
                  <a:avLst/>
                  <a:gdLst>
                    <a:gd name="T0" fmla="*/ 9 w 9"/>
                    <a:gd name="T1" fmla="*/ 9 h 9"/>
                    <a:gd name="T2" fmla="*/ 9 w 9"/>
                    <a:gd name="T3" fmla="*/ 9 h 9"/>
                    <a:gd name="T4" fmla="*/ 9 w 9"/>
                    <a:gd name="T5" fmla="*/ 5 h 9"/>
                    <a:gd name="T6" fmla="*/ 4 w 9"/>
                    <a:gd name="T7" fmla="*/ 5 h 9"/>
                    <a:gd name="T8" fmla="*/ 0 w 9"/>
                    <a:gd name="T9" fmla="*/ 0 h 9"/>
                    <a:gd name="T10" fmla="*/ 4 w 9"/>
                    <a:gd name="T11" fmla="*/ 9 h 9"/>
                    <a:gd name="T12" fmla="*/ 9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9"/>
                      </a:moveTo>
                      <a:lnTo>
                        <a:pt x="9" y="9"/>
                      </a:lnTo>
                      <a:lnTo>
                        <a:pt x="9" y="5"/>
                      </a:lnTo>
                      <a:lnTo>
                        <a:pt x="4" y="5"/>
                      </a:lnTo>
                      <a:lnTo>
                        <a:pt x="0" y="0"/>
                      </a:lnTo>
                      <a:lnTo>
                        <a:pt x="4" y="9"/>
                      </a:lnTo>
                      <a:lnTo>
                        <a:pt x="9"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16" name="Freeform 15"/>
                <p:cNvSpPr>
                  <a:spLocks/>
                </p:cNvSpPr>
                <p:nvPr/>
              </p:nvSpPr>
              <p:spPr bwMode="gray">
                <a:xfrm>
                  <a:off x="2839" y="2721"/>
                  <a:ext cx="112" cy="134"/>
                </a:xfrm>
                <a:custGeom>
                  <a:avLst/>
                  <a:gdLst>
                    <a:gd name="T0" fmla="*/ 0 w 112"/>
                    <a:gd name="T1" fmla="*/ 112 h 134"/>
                    <a:gd name="T2" fmla="*/ 9 w 112"/>
                    <a:gd name="T3" fmla="*/ 125 h 134"/>
                    <a:gd name="T4" fmla="*/ 13 w 112"/>
                    <a:gd name="T5" fmla="*/ 134 h 134"/>
                    <a:gd name="T6" fmla="*/ 22 w 112"/>
                    <a:gd name="T7" fmla="*/ 125 h 134"/>
                    <a:gd name="T8" fmla="*/ 27 w 112"/>
                    <a:gd name="T9" fmla="*/ 125 h 134"/>
                    <a:gd name="T10" fmla="*/ 36 w 112"/>
                    <a:gd name="T11" fmla="*/ 130 h 134"/>
                    <a:gd name="T12" fmla="*/ 40 w 112"/>
                    <a:gd name="T13" fmla="*/ 125 h 134"/>
                    <a:gd name="T14" fmla="*/ 49 w 112"/>
                    <a:gd name="T15" fmla="*/ 125 h 134"/>
                    <a:gd name="T16" fmla="*/ 58 w 112"/>
                    <a:gd name="T17" fmla="*/ 130 h 134"/>
                    <a:gd name="T18" fmla="*/ 71 w 112"/>
                    <a:gd name="T19" fmla="*/ 121 h 134"/>
                    <a:gd name="T20" fmla="*/ 76 w 112"/>
                    <a:gd name="T21" fmla="*/ 107 h 134"/>
                    <a:gd name="T22" fmla="*/ 76 w 112"/>
                    <a:gd name="T23" fmla="*/ 90 h 134"/>
                    <a:gd name="T24" fmla="*/ 98 w 112"/>
                    <a:gd name="T25" fmla="*/ 72 h 134"/>
                    <a:gd name="T26" fmla="*/ 103 w 112"/>
                    <a:gd name="T27" fmla="*/ 40 h 134"/>
                    <a:gd name="T28" fmla="*/ 112 w 112"/>
                    <a:gd name="T29" fmla="*/ 9 h 134"/>
                    <a:gd name="T30" fmla="*/ 112 w 112"/>
                    <a:gd name="T31" fmla="*/ 0 h 134"/>
                    <a:gd name="T32" fmla="*/ 94 w 112"/>
                    <a:gd name="T33" fmla="*/ 0 h 134"/>
                    <a:gd name="T34" fmla="*/ 76 w 112"/>
                    <a:gd name="T35" fmla="*/ 14 h 134"/>
                    <a:gd name="T36" fmla="*/ 71 w 112"/>
                    <a:gd name="T37" fmla="*/ 31 h 134"/>
                    <a:gd name="T38" fmla="*/ 58 w 112"/>
                    <a:gd name="T39" fmla="*/ 27 h 134"/>
                    <a:gd name="T40" fmla="*/ 36 w 112"/>
                    <a:gd name="T41" fmla="*/ 27 h 134"/>
                    <a:gd name="T42" fmla="*/ 31 w 112"/>
                    <a:gd name="T43" fmla="*/ 40 h 134"/>
                    <a:gd name="T44" fmla="*/ 49 w 112"/>
                    <a:gd name="T45" fmla="*/ 40 h 134"/>
                    <a:gd name="T46" fmla="*/ 49 w 112"/>
                    <a:gd name="T47" fmla="*/ 49 h 134"/>
                    <a:gd name="T48" fmla="*/ 45 w 112"/>
                    <a:gd name="T49" fmla="*/ 54 h 134"/>
                    <a:gd name="T50" fmla="*/ 49 w 112"/>
                    <a:gd name="T51" fmla="*/ 76 h 134"/>
                    <a:gd name="T52" fmla="*/ 49 w 112"/>
                    <a:gd name="T53" fmla="*/ 90 h 134"/>
                    <a:gd name="T54" fmla="*/ 31 w 112"/>
                    <a:gd name="T55" fmla="*/ 94 h 134"/>
                    <a:gd name="T56" fmla="*/ 22 w 112"/>
                    <a:gd name="T57" fmla="*/ 85 h 134"/>
                    <a:gd name="T58" fmla="*/ 13 w 112"/>
                    <a:gd name="T59" fmla="*/ 94 h 134"/>
                    <a:gd name="T60" fmla="*/ 4 w 112"/>
                    <a:gd name="T61" fmla="*/ 94 h 134"/>
                    <a:gd name="T62" fmla="*/ 9 w 112"/>
                    <a:gd name="T63" fmla="*/ 98 h 134"/>
                    <a:gd name="T64" fmla="*/ 9 w 112"/>
                    <a:gd name="T65" fmla="*/ 107 h 134"/>
                    <a:gd name="T66" fmla="*/ 4 w 112"/>
                    <a:gd name="T67" fmla="*/ 107 h 134"/>
                    <a:gd name="T68" fmla="*/ 0 w 112"/>
                    <a:gd name="T69" fmla="*/ 11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134">
                      <a:moveTo>
                        <a:pt x="0" y="112"/>
                      </a:moveTo>
                      <a:lnTo>
                        <a:pt x="9" y="125"/>
                      </a:lnTo>
                      <a:lnTo>
                        <a:pt x="13" y="134"/>
                      </a:lnTo>
                      <a:lnTo>
                        <a:pt x="22" y="125"/>
                      </a:lnTo>
                      <a:lnTo>
                        <a:pt x="27" y="125"/>
                      </a:lnTo>
                      <a:lnTo>
                        <a:pt x="36" y="130"/>
                      </a:lnTo>
                      <a:lnTo>
                        <a:pt x="40" y="125"/>
                      </a:lnTo>
                      <a:lnTo>
                        <a:pt x="49" y="125"/>
                      </a:lnTo>
                      <a:lnTo>
                        <a:pt x="58" y="130"/>
                      </a:lnTo>
                      <a:lnTo>
                        <a:pt x="71" y="121"/>
                      </a:lnTo>
                      <a:lnTo>
                        <a:pt x="76" y="107"/>
                      </a:lnTo>
                      <a:lnTo>
                        <a:pt x="76" y="90"/>
                      </a:lnTo>
                      <a:lnTo>
                        <a:pt x="98" y="72"/>
                      </a:lnTo>
                      <a:lnTo>
                        <a:pt x="103" y="40"/>
                      </a:lnTo>
                      <a:lnTo>
                        <a:pt x="112" y="9"/>
                      </a:lnTo>
                      <a:lnTo>
                        <a:pt x="112" y="0"/>
                      </a:lnTo>
                      <a:lnTo>
                        <a:pt x="94" y="0"/>
                      </a:lnTo>
                      <a:lnTo>
                        <a:pt x="76" y="14"/>
                      </a:lnTo>
                      <a:lnTo>
                        <a:pt x="71" y="31"/>
                      </a:lnTo>
                      <a:lnTo>
                        <a:pt x="58" y="27"/>
                      </a:lnTo>
                      <a:lnTo>
                        <a:pt x="36" y="27"/>
                      </a:lnTo>
                      <a:lnTo>
                        <a:pt x="31" y="40"/>
                      </a:lnTo>
                      <a:lnTo>
                        <a:pt x="49" y="40"/>
                      </a:lnTo>
                      <a:lnTo>
                        <a:pt x="49" y="49"/>
                      </a:lnTo>
                      <a:lnTo>
                        <a:pt x="45" y="54"/>
                      </a:lnTo>
                      <a:lnTo>
                        <a:pt x="49" y="76"/>
                      </a:lnTo>
                      <a:lnTo>
                        <a:pt x="49" y="90"/>
                      </a:lnTo>
                      <a:lnTo>
                        <a:pt x="31" y="94"/>
                      </a:lnTo>
                      <a:lnTo>
                        <a:pt x="22" y="85"/>
                      </a:lnTo>
                      <a:lnTo>
                        <a:pt x="13" y="94"/>
                      </a:lnTo>
                      <a:lnTo>
                        <a:pt x="4" y="94"/>
                      </a:lnTo>
                      <a:lnTo>
                        <a:pt x="9" y="98"/>
                      </a:lnTo>
                      <a:lnTo>
                        <a:pt x="9" y="107"/>
                      </a:lnTo>
                      <a:lnTo>
                        <a:pt x="4" y="107"/>
                      </a:lnTo>
                      <a:lnTo>
                        <a:pt x="0" y="11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17" name="Freeform 16"/>
                <p:cNvSpPr>
                  <a:spLocks/>
                </p:cNvSpPr>
                <p:nvPr/>
              </p:nvSpPr>
              <p:spPr bwMode="gray">
                <a:xfrm>
                  <a:off x="2857" y="2703"/>
                  <a:ext cx="272" cy="268"/>
                </a:xfrm>
                <a:custGeom>
                  <a:avLst/>
                  <a:gdLst>
                    <a:gd name="T0" fmla="*/ 18 w 272"/>
                    <a:gd name="T1" fmla="*/ 148 h 268"/>
                    <a:gd name="T2" fmla="*/ 31 w 272"/>
                    <a:gd name="T3" fmla="*/ 143 h 268"/>
                    <a:gd name="T4" fmla="*/ 53 w 272"/>
                    <a:gd name="T5" fmla="*/ 139 h 268"/>
                    <a:gd name="T6" fmla="*/ 58 w 272"/>
                    <a:gd name="T7" fmla="*/ 108 h 268"/>
                    <a:gd name="T8" fmla="*/ 85 w 272"/>
                    <a:gd name="T9" fmla="*/ 58 h 268"/>
                    <a:gd name="T10" fmla="*/ 94 w 272"/>
                    <a:gd name="T11" fmla="*/ 18 h 268"/>
                    <a:gd name="T12" fmla="*/ 107 w 272"/>
                    <a:gd name="T13" fmla="*/ 0 h 268"/>
                    <a:gd name="T14" fmla="*/ 147 w 272"/>
                    <a:gd name="T15" fmla="*/ 14 h 268"/>
                    <a:gd name="T16" fmla="*/ 161 w 272"/>
                    <a:gd name="T17" fmla="*/ 9 h 268"/>
                    <a:gd name="T18" fmla="*/ 183 w 272"/>
                    <a:gd name="T19" fmla="*/ 5 h 268"/>
                    <a:gd name="T20" fmla="*/ 219 w 272"/>
                    <a:gd name="T21" fmla="*/ 5 h 268"/>
                    <a:gd name="T22" fmla="*/ 254 w 272"/>
                    <a:gd name="T23" fmla="*/ 9 h 268"/>
                    <a:gd name="T24" fmla="*/ 268 w 272"/>
                    <a:gd name="T25" fmla="*/ 41 h 268"/>
                    <a:gd name="T26" fmla="*/ 254 w 272"/>
                    <a:gd name="T27" fmla="*/ 67 h 268"/>
                    <a:gd name="T28" fmla="*/ 245 w 272"/>
                    <a:gd name="T29" fmla="*/ 103 h 268"/>
                    <a:gd name="T30" fmla="*/ 245 w 272"/>
                    <a:gd name="T31" fmla="*/ 116 h 268"/>
                    <a:gd name="T32" fmla="*/ 245 w 272"/>
                    <a:gd name="T33" fmla="*/ 130 h 268"/>
                    <a:gd name="T34" fmla="*/ 245 w 272"/>
                    <a:gd name="T35" fmla="*/ 139 h 268"/>
                    <a:gd name="T36" fmla="*/ 245 w 272"/>
                    <a:gd name="T37" fmla="*/ 166 h 268"/>
                    <a:gd name="T38" fmla="*/ 263 w 272"/>
                    <a:gd name="T39" fmla="*/ 201 h 268"/>
                    <a:gd name="T40" fmla="*/ 236 w 272"/>
                    <a:gd name="T41" fmla="*/ 219 h 268"/>
                    <a:gd name="T42" fmla="*/ 245 w 272"/>
                    <a:gd name="T43" fmla="*/ 259 h 268"/>
                    <a:gd name="T44" fmla="*/ 259 w 272"/>
                    <a:gd name="T45" fmla="*/ 268 h 268"/>
                    <a:gd name="T46" fmla="*/ 232 w 272"/>
                    <a:gd name="T47" fmla="*/ 259 h 268"/>
                    <a:gd name="T48" fmla="*/ 219 w 272"/>
                    <a:gd name="T49" fmla="*/ 246 h 268"/>
                    <a:gd name="T50" fmla="*/ 187 w 272"/>
                    <a:gd name="T51" fmla="*/ 237 h 268"/>
                    <a:gd name="T52" fmla="*/ 169 w 272"/>
                    <a:gd name="T53" fmla="*/ 233 h 268"/>
                    <a:gd name="T54" fmla="*/ 134 w 272"/>
                    <a:gd name="T55" fmla="*/ 184 h 268"/>
                    <a:gd name="T56" fmla="*/ 120 w 272"/>
                    <a:gd name="T57" fmla="*/ 179 h 268"/>
                    <a:gd name="T58" fmla="*/ 102 w 272"/>
                    <a:gd name="T59" fmla="*/ 197 h 268"/>
                    <a:gd name="T60" fmla="*/ 71 w 272"/>
                    <a:gd name="T61" fmla="*/ 184 h 268"/>
                    <a:gd name="T62" fmla="*/ 67 w 272"/>
                    <a:gd name="T63" fmla="*/ 166 h 268"/>
                    <a:gd name="T64" fmla="*/ 0 w 272"/>
                    <a:gd name="T65" fmla="*/ 161 h 268"/>
                    <a:gd name="T66" fmla="*/ 9 w 272"/>
                    <a:gd name="T67"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2" h="268">
                      <a:moveTo>
                        <a:pt x="9" y="143"/>
                      </a:moveTo>
                      <a:lnTo>
                        <a:pt x="18" y="148"/>
                      </a:lnTo>
                      <a:lnTo>
                        <a:pt x="22" y="143"/>
                      </a:lnTo>
                      <a:lnTo>
                        <a:pt x="31" y="143"/>
                      </a:lnTo>
                      <a:lnTo>
                        <a:pt x="40" y="148"/>
                      </a:lnTo>
                      <a:lnTo>
                        <a:pt x="53" y="139"/>
                      </a:lnTo>
                      <a:lnTo>
                        <a:pt x="58" y="125"/>
                      </a:lnTo>
                      <a:lnTo>
                        <a:pt x="58" y="108"/>
                      </a:lnTo>
                      <a:lnTo>
                        <a:pt x="80" y="90"/>
                      </a:lnTo>
                      <a:lnTo>
                        <a:pt x="85" y="58"/>
                      </a:lnTo>
                      <a:lnTo>
                        <a:pt x="94" y="27"/>
                      </a:lnTo>
                      <a:lnTo>
                        <a:pt x="94" y="18"/>
                      </a:lnTo>
                      <a:lnTo>
                        <a:pt x="94" y="14"/>
                      </a:lnTo>
                      <a:lnTo>
                        <a:pt x="107" y="0"/>
                      </a:lnTo>
                      <a:lnTo>
                        <a:pt x="116" y="9"/>
                      </a:lnTo>
                      <a:lnTo>
                        <a:pt x="147" y="14"/>
                      </a:lnTo>
                      <a:lnTo>
                        <a:pt x="152" y="5"/>
                      </a:lnTo>
                      <a:lnTo>
                        <a:pt x="161" y="9"/>
                      </a:lnTo>
                      <a:lnTo>
                        <a:pt x="178" y="0"/>
                      </a:lnTo>
                      <a:lnTo>
                        <a:pt x="183" y="5"/>
                      </a:lnTo>
                      <a:lnTo>
                        <a:pt x="192" y="0"/>
                      </a:lnTo>
                      <a:lnTo>
                        <a:pt x="219" y="5"/>
                      </a:lnTo>
                      <a:lnTo>
                        <a:pt x="232" y="14"/>
                      </a:lnTo>
                      <a:lnTo>
                        <a:pt x="254" y="9"/>
                      </a:lnTo>
                      <a:lnTo>
                        <a:pt x="268" y="23"/>
                      </a:lnTo>
                      <a:lnTo>
                        <a:pt x="268" y="41"/>
                      </a:lnTo>
                      <a:lnTo>
                        <a:pt x="272" y="45"/>
                      </a:lnTo>
                      <a:lnTo>
                        <a:pt x="254" y="67"/>
                      </a:lnTo>
                      <a:lnTo>
                        <a:pt x="254" y="99"/>
                      </a:lnTo>
                      <a:lnTo>
                        <a:pt x="245" y="103"/>
                      </a:lnTo>
                      <a:lnTo>
                        <a:pt x="245" y="108"/>
                      </a:lnTo>
                      <a:lnTo>
                        <a:pt x="245" y="116"/>
                      </a:lnTo>
                      <a:lnTo>
                        <a:pt x="250" y="130"/>
                      </a:lnTo>
                      <a:lnTo>
                        <a:pt x="245" y="130"/>
                      </a:lnTo>
                      <a:lnTo>
                        <a:pt x="241" y="143"/>
                      </a:lnTo>
                      <a:lnTo>
                        <a:pt x="245" y="139"/>
                      </a:lnTo>
                      <a:lnTo>
                        <a:pt x="241" y="148"/>
                      </a:lnTo>
                      <a:lnTo>
                        <a:pt x="245" y="166"/>
                      </a:lnTo>
                      <a:lnTo>
                        <a:pt x="259" y="184"/>
                      </a:lnTo>
                      <a:lnTo>
                        <a:pt x="263" y="201"/>
                      </a:lnTo>
                      <a:lnTo>
                        <a:pt x="241" y="206"/>
                      </a:lnTo>
                      <a:lnTo>
                        <a:pt x="236" y="219"/>
                      </a:lnTo>
                      <a:lnTo>
                        <a:pt x="232" y="246"/>
                      </a:lnTo>
                      <a:lnTo>
                        <a:pt x="245" y="259"/>
                      </a:lnTo>
                      <a:lnTo>
                        <a:pt x="259" y="251"/>
                      </a:lnTo>
                      <a:lnTo>
                        <a:pt x="259" y="268"/>
                      </a:lnTo>
                      <a:lnTo>
                        <a:pt x="241" y="268"/>
                      </a:lnTo>
                      <a:lnTo>
                        <a:pt x="232" y="259"/>
                      </a:lnTo>
                      <a:lnTo>
                        <a:pt x="223" y="255"/>
                      </a:lnTo>
                      <a:lnTo>
                        <a:pt x="219" y="246"/>
                      </a:lnTo>
                      <a:lnTo>
                        <a:pt x="196" y="251"/>
                      </a:lnTo>
                      <a:lnTo>
                        <a:pt x="187" y="237"/>
                      </a:lnTo>
                      <a:lnTo>
                        <a:pt x="178" y="242"/>
                      </a:lnTo>
                      <a:lnTo>
                        <a:pt x="169" y="233"/>
                      </a:lnTo>
                      <a:lnTo>
                        <a:pt x="143" y="237"/>
                      </a:lnTo>
                      <a:lnTo>
                        <a:pt x="134" y="184"/>
                      </a:lnTo>
                      <a:lnTo>
                        <a:pt x="125" y="184"/>
                      </a:lnTo>
                      <a:lnTo>
                        <a:pt x="120" y="179"/>
                      </a:lnTo>
                      <a:lnTo>
                        <a:pt x="107" y="179"/>
                      </a:lnTo>
                      <a:lnTo>
                        <a:pt x="102" y="197"/>
                      </a:lnTo>
                      <a:lnTo>
                        <a:pt x="80" y="197"/>
                      </a:lnTo>
                      <a:lnTo>
                        <a:pt x="71" y="184"/>
                      </a:lnTo>
                      <a:lnTo>
                        <a:pt x="71" y="179"/>
                      </a:lnTo>
                      <a:lnTo>
                        <a:pt x="67" y="166"/>
                      </a:lnTo>
                      <a:lnTo>
                        <a:pt x="13" y="166"/>
                      </a:lnTo>
                      <a:lnTo>
                        <a:pt x="0" y="161"/>
                      </a:lnTo>
                      <a:lnTo>
                        <a:pt x="0" y="161"/>
                      </a:lnTo>
                      <a:lnTo>
                        <a:pt x="9" y="14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18" name="Freeform 17"/>
                <p:cNvSpPr>
                  <a:spLocks/>
                </p:cNvSpPr>
                <p:nvPr/>
              </p:nvSpPr>
              <p:spPr bwMode="gray">
                <a:xfrm>
                  <a:off x="2696" y="2596"/>
                  <a:ext cx="45" cy="94"/>
                </a:xfrm>
                <a:custGeom>
                  <a:avLst/>
                  <a:gdLst>
                    <a:gd name="T0" fmla="*/ 0 w 45"/>
                    <a:gd name="T1" fmla="*/ 18 h 94"/>
                    <a:gd name="T2" fmla="*/ 0 w 45"/>
                    <a:gd name="T3" fmla="*/ 31 h 94"/>
                    <a:gd name="T4" fmla="*/ 9 w 45"/>
                    <a:gd name="T5" fmla="*/ 40 h 94"/>
                    <a:gd name="T6" fmla="*/ 9 w 45"/>
                    <a:gd name="T7" fmla="*/ 54 h 94"/>
                    <a:gd name="T8" fmla="*/ 13 w 45"/>
                    <a:gd name="T9" fmla="*/ 54 h 94"/>
                    <a:gd name="T10" fmla="*/ 13 w 45"/>
                    <a:gd name="T11" fmla="*/ 80 h 94"/>
                    <a:gd name="T12" fmla="*/ 18 w 45"/>
                    <a:gd name="T13" fmla="*/ 94 h 94"/>
                    <a:gd name="T14" fmla="*/ 36 w 45"/>
                    <a:gd name="T15" fmla="*/ 89 h 94"/>
                    <a:gd name="T16" fmla="*/ 31 w 45"/>
                    <a:gd name="T17" fmla="*/ 76 h 94"/>
                    <a:gd name="T18" fmla="*/ 31 w 45"/>
                    <a:gd name="T19" fmla="*/ 58 h 94"/>
                    <a:gd name="T20" fmla="*/ 40 w 45"/>
                    <a:gd name="T21" fmla="*/ 54 h 94"/>
                    <a:gd name="T22" fmla="*/ 45 w 45"/>
                    <a:gd name="T23" fmla="*/ 45 h 94"/>
                    <a:gd name="T24" fmla="*/ 45 w 45"/>
                    <a:gd name="T25" fmla="*/ 27 h 94"/>
                    <a:gd name="T26" fmla="*/ 40 w 45"/>
                    <a:gd name="T27" fmla="*/ 18 h 94"/>
                    <a:gd name="T28" fmla="*/ 45 w 45"/>
                    <a:gd name="T29" fmla="*/ 9 h 94"/>
                    <a:gd name="T30" fmla="*/ 31 w 45"/>
                    <a:gd name="T31" fmla="*/ 0 h 94"/>
                    <a:gd name="T32" fmla="*/ 22 w 45"/>
                    <a:gd name="T33" fmla="*/ 9 h 94"/>
                    <a:gd name="T34" fmla="*/ 18 w 45"/>
                    <a:gd name="T35" fmla="*/ 9 h 94"/>
                    <a:gd name="T36" fmla="*/ 9 w 45"/>
                    <a:gd name="T37" fmla="*/ 18 h 94"/>
                    <a:gd name="T38" fmla="*/ 0 w 45"/>
                    <a:gd name="T39"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94">
                      <a:moveTo>
                        <a:pt x="0" y="18"/>
                      </a:moveTo>
                      <a:lnTo>
                        <a:pt x="0" y="31"/>
                      </a:lnTo>
                      <a:lnTo>
                        <a:pt x="9" y="40"/>
                      </a:lnTo>
                      <a:lnTo>
                        <a:pt x="9" y="54"/>
                      </a:lnTo>
                      <a:lnTo>
                        <a:pt x="13" y="54"/>
                      </a:lnTo>
                      <a:lnTo>
                        <a:pt x="13" y="80"/>
                      </a:lnTo>
                      <a:lnTo>
                        <a:pt x="18" y="94"/>
                      </a:lnTo>
                      <a:lnTo>
                        <a:pt x="36" y="89"/>
                      </a:lnTo>
                      <a:lnTo>
                        <a:pt x="31" y="76"/>
                      </a:lnTo>
                      <a:lnTo>
                        <a:pt x="31" y="58"/>
                      </a:lnTo>
                      <a:lnTo>
                        <a:pt x="40" y="54"/>
                      </a:lnTo>
                      <a:lnTo>
                        <a:pt x="45" y="45"/>
                      </a:lnTo>
                      <a:lnTo>
                        <a:pt x="45" y="27"/>
                      </a:lnTo>
                      <a:lnTo>
                        <a:pt x="40" y="18"/>
                      </a:lnTo>
                      <a:lnTo>
                        <a:pt x="45" y="9"/>
                      </a:lnTo>
                      <a:lnTo>
                        <a:pt x="31" y="0"/>
                      </a:lnTo>
                      <a:lnTo>
                        <a:pt x="22" y="9"/>
                      </a:lnTo>
                      <a:lnTo>
                        <a:pt x="18" y="9"/>
                      </a:lnTo>
                      <a:lnTo>
                        <a:pt x="9" y="18"/>
                      </a:lnTo>
                      <a:lnTo>
                        <a:pt x="0" y="1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19" name="Freeform 18"/>
                <p:cNvSpPr>
                  <a:spLocks noEditPoints="1"/>
                </p:cNvSpPr>
                <p:nvPr/>
              </p:nvSpPr>
              <p:spPr bwMode="gray">
                <a:xfrm>
                  <a:off x="2803" y="2721"/>
                  <a:ext cx="40" cy="45"/>
                </a:xfrm>
                <a:custGeom>
                  <a:avLst/>
                  <a:gdLst>
                    <a:gd name="T0" fmla="*/ 5 w 40"/>
                    <a:gd name="T1" fmla="*/ 0 h 45"/>
                    <a:gd name="T2" fmla="*/ 0 w 40"/>
                    <a:gd name="T3" fmla="*/ 5 h 45"/>
                    <a:gd name="T4" fmla="*/ 0 w 40"/>
                    <a:gd name="T5" fmla="*/ 9 h 45"/>
                    <a:gd name="T6" fmla="*/ 5 w 40"/>
                    <a:gd name="T7" fmla="*/ 9 h 45"/>
                    <a:gd name="T8" fmla="*/ 9 w 40"/>
                    <a:gd name="T9" fmla="*/ 5 h 45"/>
                    <a:gd name="T10" fmla="*/ 5 w 40"/>
                    <a:gd name="T11" fmla="*/ 0 h 45"/>
                    <a:gd name="T12" fmla="*/ 18 w 40"/>
                    <a:gd name="T13" fmla="*/ 27 h 45"/>
                    <a:gd name="T14" fmla="*/ 40 w 40"/>
                    <a:gd name="T15" fmla="*/ 31 h 45"/>
                    <a:gd name="T16" fmla="*/ 40 w 40"/>
                    <a:gd name="T17" fmla="*/ 45 h 45"/>
                    <a:gd name="T18" fmla="*/ 18 w 40"/>
                    <a:gd name="T19" fmla="*/ 45 h 45"/>
                    <a:gd name="T20" fmla="*/ 14 w 40"/>
                    <a:gd name="T21" fmla="*/ 40 h 45"/>
                    <a:gd name="T22" fmla="*/ 18 w 40"/>
                    <a:gd name="T23"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45">
                      <a:moveTo>
                        <a:pt x="5" y="0"/>
                      </a:moveTo>
                      <a:lnTo>
                        <a:pt x="0" y="5"/>
                      </a:lnTo>
                      <a:lnTo>
                        <a:pt x="0" y="9"/>
                      </a:lnTo>
                      <a:lnTo>
                        <a:pt x="5" y="9"/>
                      </a:lnTo>
                      <a:lnTo>
                        <a:pt x="9" y="5"/>
                      </a:lnTo>
                      <a:lnTo>
                        <a:pt x="5" y="0"/>
                      </a:lnTo>
                      <a:close/>
                      <a:moveTo>
                        <a:pt x="18" y="27"/>
                      </a:moveTo>
                      <a:lnTo>
                        <a:pt x="40" y="31"/>
                      </a:lnTo>
                      <a:lnTo>
                        <a:pt x="40" y="45"/>
                      </a:lnTo>
                      <a:lnTo>
                        <a:pt x="18" y="45"/>
                      </a:lnTo>
                      <a:lnTo>
                        <a:pt x="14" y="40"/>
                      </a:lnTo>
                      <a:lnTo>
                        <a:pt x="18" y="27"/>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20" name="Freeform 19"/>
                <p:cNvSpPr>
                  <a:spLocks/>
                </p:cNvSpPr>
                <p:nvPr/>
              </p:nvSpPr>
              <p:spPr bwMode="gray">
                <a:xfrm>
                  <a:off x="3160" y="2569"/>
                  <a:ext cx="215" cy="161"/>
                </a:xfrm>
                <a:custGeom>
                  <a:avLst/>
                  <a:gdLst>
                    <a:gd name="T0" fmla="*/ 36 w 215"/>
                    <a:gd name="T1" fmla="*/ 143 h 161"/>
                    <a:gd name="T2" fmla="*/ 41 w 215"/>
                    <a:gd name="T3" fmla="*/ 148 h 161"/>
                    <a:gd name="T4" fmla="*/ 54 w 215"/>
                    <a:gd name="T5" fmla="*/ 143 h 161"/>
                    <a:gd name="T6" fmla="*/ 72 w 215"/>
                    <a:gd name="T7" fmla="*/ 157 h 161"/>
                    <a:gd name="T8" fmla="*/ 94 w 215"/>
                    <a:gd name="T9" fmla="*/ 161 h 161"/>
                    <a:gd name="T10" fmla="*/ 99 w 215"/>
                    <a:gd name="T11" fmla="*/ 152 h 161"/>
                    <a:gd name="T12" fmla="*/ 108 w 215"/>
                    <a:gd name="T13" fmla="*/ 148 h 161"/>
                    <a:gd name="T14" fmla="*/ 117 w 215"/>
                    <a:gd name="T15" fmla="*/ 152 h 161"/>
                    <a:gd name="T16" fmla="*/ 130 w 215"/>
                    <a:gd name="T17" fmla="*/ 152 h 161"/>
                    <a:gd name="T18" fmla="*/ 139 w 215"/>
                    <a:gd name="T19" fmla="*/ 143 h 161"/>
                    <a:gd name="T20" fmla="*/ 166 w 215"/>
                    <a:gd name="T21" fmla="*/ 139 h 161"/>
                    <a:gd name="T22" fmla="*/ 215 w 215"/>
                    <a:gd name="T23" fmla="*/ 99 h 161"/>
                    <a:gd name="T24" fmla="*/ 193 w 215"/>
                    <a:gd name="T25" fmla="*/ 99 h 161"/>
                    <a:gd name="T26" fmla="*/ 157 w 215"/>
                    <a:gd name="T27" fmla="*/ 81 h 161"/>
                    <a:gd name="T28" fmla="*/ 148 w 215"/>
                    <a:gd name="T29" fmla="*/ 72 h 161"/>
                    <a:gd name="T30" fmla="*/ 139 w 215"/>
                    <a:gd name="T31" fmla="*/ 58 h 161"/>
                    <a:gd name="T32" fmla="*/ 143 w 215"/>
                    <a:gd name="T33" fmla="*/ 49 h 161"/>
                    <a:gd name="T34" fmla="*/ 139 w 215"/>
                    <a:gd name="T35" fmla="*/ 49 h 161"/>
                    <a:gd name="T36" fmla="*/ 126 w 215"/>
                    <a:gd name="T37" fmla="*/ 49 h 161"/>
                    <a:gd name="T38" fmla="*/ 126 w 215"/>
                    <a:gd name="T39" fmla="*/ 36 h 161"/>
                    <a:gd name="T40" fmla="*/ 108 w 215"/>
                    <a:gd name="T41" fmla="*/ 14 h 161"/>
                    <a:gd name="T42" fmla="*/ 94 w 215"/>
                    <a:gd name="T43" fmla="*/ 9 h 161"/>
                    <a:gd name="T44" fmla="*/ 76 w 215"/>
                    <a:gd name="T45" fmla="*/ 9 h 161"/>
                    <a:gd name="T46" fmla="*/ 72 w 215"/>
                    <a:gd name="T47" fmla="*/ 0 h 161"/>
                    <a:gd name="T48" fmla="*/ 63 w 215"/>
                    <a:gd name="T49" fmla="*/ 9 h 161"/>
                    <a:gd name="T50" fmla="*/ 50 w 215"/>
                    <a:gd name="T51" fmla="*/ 5 h 161"/>
                    <a:gd name="T52" fmla="*/ 45 w 215"/>
                    <a:gd name="T53" fmla="*/ 23 h 161"/>
                    <a:gd name="T54" fmla="*/ 32 w 215"/>
                    <a:gd name="T55" fmla="*/ 23 h 161"/>
                    <a:gd name="T56" fmla="*/ 23 w 215"/>
                    <a:gd name="T57" fmla="*/ 45 h 161"/>
                    <a:gd name="T58" fmla="*/ 23 w 215"/>
                    <a:gd name="T59" fmla="*/ 54 h 161"/>
                    <a:gd name="T60" fmla="*/ 14 w 215"/>
                    <a:gd name="T61" fmla="*/ 54 h 161"/>
                    <a:gd name="T62" fmla="*/ 14 w 215"/>
                    <a:gd name="T63" fmla="*/ 90 h 161"/>
                    <a:gd name="T64" fmla="*/ 0 w 215"/>
                    <a:gd name="T65" fmla="*/ 90 h 161"/>
                    <a:gd name="T66" fmla="*/ 0 w 215"/>
                    <a:gd name="T67" fmla="*/ 103 h 161"/>
                    <a:gd name="T68" fmla="*/ 14 w 215"/>
                    <a:gd name="T69" fmla="*/ 107 h 161"/>
                    <a:gd name="T70" fmla="*/ 27 w 215"/>
                    <a:gd name="T71" fmla="*/ 121 h 161"/>
                    <a:gd name="T72" fmla="*/ 23 w 215"/>
                    <a:gd name="T73" fmla="*/ 130 h 161"/>
                    <a:gd name="T74" fmla="*/ 36 w 215"/>
                    <a:gd name="T75" fmla="*/ 134 h 161"/>
                    <a:gd name="T76" fmla="*/ 36 w 215"/>
                    <a:gd name="T77" fmla="*/ 14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5" h="161">
                      <a:moveTo>
                        <a:pt x="36" y="143"/>
                      </a:moveTo>
                      <a:lnTo>
                        <a:pt x="41" y="148"/>
                      </a:lnTo>
                      <a:lnTo>
                        <a:pt x="54" y="143"/>
                      </a:lnTo>
                      <a:lnTo>
                        <a:pt x="72" y="157"/>
                      </a:lnTo>
                      <a:lnTo>
                        <a:pt x="94" y="161"/>
                      </a:lnTo>
                      <a:lnTo>
                        <a:pt x="99" y="152"/>
                      </a:lnTo>
                      <a:lnTo>
                        <a:pt x="108" y="148"/>
                      </a:lnTo>
                      <a:lnTo>
                        <a:pt x="117" y="152"/>
                      </a:lnTo>
                      <a:lnTo>
                        <a:pt x="130" y="152"/>
                      </a:lnTo>
                      <a:lnTo>
                        <a:pt x="139" y="143"/>
                      </a:lnTo>
                      <a:lnTo>
                        <a:pt x="166" y="139"/>
                      </a:lnTo>
                      <a:lnTo>
                        <a:pt x="215" y="99"/>
                      </a:lnTo>
                      <a:lnTo>
                        <a:pt x="193" y="99"/>
                      </a:lnTo>
                      <a:lnTo>
                        <a:pt x="157" y="81"/>
                      </a:lnTo>
                      <a:lnTo>
                        <a:pt x="148" y="72"/>
                      </a:lnTo>
                      <a:lnTo>
                        <a:pt x="139" y="58"/>
                      </a:lnTo>
                      <a:lnTo>
                        <a:pt x="143" y="49"/>
                      </a:lnTo>
                      <a:lnTo>
                        <a:pt x="139" y="49"/>
                      </a:lnTo>
                      <a:lnTo>
                        <a:pt x="126" y="49"/>
                      </a:lnTo>
                      <a:lnTo>
                        <a:pt x="126" y="36"/>
                      </a:lnTo>
                      <a:lnTo>
                        <a:pt x="108" y="14"/>
                      </a:lnTo>
                      <a:lnTo>
                        <a:pt x="94" y="9"/>
                      </a:lnTo>
                      <a:lnTo>
                        <a:pt x="76" y="9"/>
                      </a:lnTo>
                      <a:lnTo>
                        <a:pt x="72" y="0"/>
                      </a:lnTo>
                      <a:lnTo>
                        <a:pt x="63" y="9"/>
                      </a:lnTo>
                      <a:lnTo>
                        <a:pt x="50" y="5"/>
                      </a:lnTo>
                      <a:lnTo>
                        <a:pt x="45" y="23"/>
                      </a:lnTo>
                      <a:lnTo>
                        <a:pt x="32" y="23"/>
                      </a:lnTo>
                      <a:lnTo>
                        <a:pt x="23" y="45"/>
                      </a:lnTo>
                      <a:lnTo>
                        <a:pt x="23" y="54"/>
                      </a:lnTo>
                      <a:lnTo>
                        <a:pt x="14" y="54"/>
                      </a:lnTo>
                      <a:lnTo>
                        <a:pt x="14" y="90"/>
                      </a:lnTo>
                      <a:lnTo>
                        <a:pt x="0" y="90"/>
                      </a:lnTo>
                      <a:lnTo>
                        <a:pt x="0" y="103"/>
                      </a:lnTo>
                      <a:lnTo>
                        <a:pt x="14" y="107"/>
                      </a:lnTo>
                      <a:lnTo>
                        <a:pt x="27" y="121"/>
                      </a:lnTo>
                      <a:lnTo>
                        <a:pt x="23" y="130"/>
                      </a:lnTo>
                      <a:lnTo>
                        <a:pt x="36" y="134"/>
                      </a:lnTo>
                      <a:lnTo>
                        <a:pt x="36" y="14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21" name="Freeform 20"/>
                <p:cNvSpPr>
                  <a:spLocks/>
                </p:cNvSpPr>
                <p:nvPr/>
              </p:nvSpPr>
              <p:spPr bwMode="gray">
                <a:xfrm>
                  <a:off x="3205" y="2516"/>
                  <a:ext cx="98" cy="89"/>
                </a:xfrm>
                <a:custGeom>
                  <a:avLst/>
                  <a:gdLst>
                    <a:gd name="T0" fmla="*/ 31 w 98"/>
                    <a:gd name="T1" fmla="*/ 0 h 89"/>
                    <a:gd name="T2" fmla="*/ 18 w 98"/>
                    <a:gd name="T3" fmla="*/ 4 h 89"/>
                    <a:gd name="T4" fmla="*/ 9 w 98"/>
                    <a:gd name="T5" fmla="*/ 13 h 89"/>
                    <a:gd name="T6" fmla="*/ 9 w 98"/>
                    <a:gd name="T7" fmla="*/ 31 h 89"/>
                    <a:gd name="T8" fmla="*/ 0 w 98"/>
                    <a:gd name="T9" fmla="*/ 40 h 89"/>
                    <a:gd name="T10" fmla="*/ 5 w 98"/>
                    <a:gd name="T11" fmla="*/ 58 h 89"/>
                    <a:gd name="T12" fmla="*/ 18 w 98"/>
                    <a:gd name="T13" fmla="*/ 62 h 89"/>
                    <a:gd name="T14" fmla="*/ 27 w 98"/>
                    <a:gd name="T15" fmla="*/ 53 h 89"/>
                    <a:gd name="T16" fmla="*/ 31 w 98"/>
                    <a:gd name="T17" fmla="*/ 62 h 89"/>
                    <a:gd name="T18" fmla="*/ 49 w 98"/>
                    <a:gd name="T19" fmla="*/ 62 h 89"/>
                    <a:gd name="T20" fmla="*/ 63 w 98"/>
                    <a:gd name="T21" fmla="*/ 67 h 89"/>
                    <a:gd name="T22" fmla="*/ 81 w 98"/>
                    <a:gd name="T23" fmla="*/ 89 h 89"/>
                    <a:gd name="T24" fmla="*/ 98 w 98"/>
                    <a:gd name="T25" fmla="*/ 80 h 89"/>
                    <a:gd name="T26" fmla="*/ 76 w 98"/>
                    <a:gd name="T27" fmla="*/ 58 h 89"/>
                    <a:gd name="T28" fmla="*/ 58 w 98"/>
                    <a:gd name="T29" fmla="*/ 44 h 89"/>
                    <a:gd name="T30" fmla="*/ 54 w 98"/>
                    <a:gd name="T31" fmla="*/ 49 h 89"/>
                    <a:gd name="T32" fmla="*/ 54 w 98"/>
                    <a:gd name="T33" fmla="*/ 35 h 89"/>
                    <a:gd name="T34" fmla="*/ 58 w 98"/>
                    <a:gd name="T35" fmla="*/ 35 h 89"/>
                    <a:gd name="T36" fmla="*/ 54 w 98"/>
                    <a:gd name="T37" fmla="*/ 31 h 89"/>
                    <a:gd name="T38" fmla="*/ 54 w 98"/>
                    <a:gd name="T39" fmla="*/ 22 h 89"/>
                    <a:gd name="T40" fmla="*/ 49 w 98"/>
                    <a:gd name="T41" fmla="*/ 31 h 89"/>
                    <a:gd name="T42" fmla="*/ 45 w 98"/>
                    <a:gd name="T43" fmla="*/ 40 h 89"/>
                    <a:gd name="T44" fmla="*/ 36 w 98"/>
                    <a:gd name="T45" fmla="*/ 13 h 89"/>
                    <a:gd name="T46" fmla="*/ 31 w 98"/>
                    <a:gd name="T4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89">
                      <a:moveTo>
                        <a:pt x="31" y="0"/>
                      </a:moveTo>
                      <a:lnTo>
                        <a:pt x="18" y="4"/>
                      </a:lnTo>
                      <a:lnTo>
                        <a:pt x="9" y="13"/>
                      </a:lnTo>
                      <a:lnTo>
                        <a:pt x="9" y="31"/>
                      </a:lnTo>
                      <a:lnTo>
                        <a:pt x="0" y="40"/>
                      </a:lnTo>
                      <a:lnTo>
                        <a:pt x="5" y="58"/>
                      </a:lnTo>
                      <a:lnTo>
                        <a:pt x="18" y="62"/>
                      </a:lnTo>
                      <a:lnTo>
                        <a:pt x="27" y="53"/>
                      </a:lnTo>
                      <a:lnTo>
                        <a:pt x="31" y="62"/>
                      </a:lnTo>
                      <a:lnTo>
                        <a:pt x="49" y="62"/>
                      </a:lnTo>
                      <a:lnTo>
                        <a:pt x="63" y="67"/>
                      </a:lnTo>
                      <a:lnTo>
                        <a:pt x="81" y="89"/>
                      </a:lnTo>
                      <a:lnTo>
                        <a:pt x="98" y="80"/>
                      </a:lnTo>
                      <a:lnTo>
                        <a:pt x="76" y="58"/>
                      </a:lnTo>
                      <a:lnTo>
                        <a:pt x="58" y="44"/>
                      </a:lnTo>
                      <a:lnTo>
                        <a:pt x="54" y="49"/>
                      </a:lnTo>
                      <a:lnTo>
                        <a:pt x="54" y="35"/>
                      </a:lnTo>
                      <a:lnTo>
                        <a:pt x="58" y="35"/>
                      </a:lnTo>
                      <a:lnTo>
                        <a:pt x="54" y="31"/>
                      </a:lnTo>
                      <a:lnTo>
                        <a:pt x="54" y="22"/>
                      </a:lnTo>
                      <a:lnTo>
                        <a:pt x="49" y="31"/>
                      </a:lnTo>
                      <a:lnTo>
                        <a:pt x="45" y="40"/>
                      </a:lnTo>
                      <a:lnTo>
                        <a:pt x="36" y="13"/>
                      </a:lnTo>
                      <a:lnTo>
                        <a:pt x="31"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22" name="Freeform 21"/>
                <p:cNvSpPr>
                  <a:spLocks/>
                </p:cNvSpPr>
                <p:nvPr/>
              </p:nvSpPr>
              <p:spPr bwMode="gray">
                <a:xfrm>
                  <a:off x="3286" y="2596"/>
                  <a:ext cx="22" cy="22"/>
                </a:xfrm>
                <a:custGeom>
                  <a:avLst/>
                  <a:gdLst>
                    <a:gd name="T0" fmla="*/ 0 w 22"/>
                    <a:gd name="T1" fmla="*/ 9 h 22"/>
                    <a:gd name="T2" fmla="*/ 17 w 22"/>
                    <a:gd name="T3" fmla="*/ 0 h 22"/>
                    <a:gd name="T4" fmla="*/ 22 w 22"/>
                    <a:gd name="T5" fmla="*/ 5 h 22"/>
                    <a:gd name="T6" fmla="*/ 8 w 22"/>
                    <a:gd name="T7" fmla="*/ 13 h 22"/>
                    <a:gd name="T8" fmla="*/ 17 w 22"/>
                    <a:gd name="T9" fmla="*/ 13 h 22"/>
                    <a:gd name="T10" fmla="*/ 22 w 22"/>
                    <a:gd name="T11" fmla="*/ 18 h 22"/>
                    <a:gd name="T12" fmla="*/ 17 w 22"/>
                    <a:gd name="T13" fmla="*/ 22 h 22"/>
                    <a:gd name="T14" fmla="*/ 13 w 22"/>
                    <a:gd name="T15" fmla="*/ 22 h 22"/>
                    <a:gd name="T16" fmla="*/ 0 w 22"/>
                    <a:gd name="T17" fmla="*/ 22 h 22"/>
                    <a:gd name="T18" fmla="*/ 0 w 22"/>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0" y="9"/>
                      </a:moveTo>
                      <a:lnTo>
                        <a:pt x="17" y="0"/>
                      </a:lnTo>
                      <a:lnTo>
                        <a:pt x="22" y="5"/>
                      </a:lnTo>
                      <a:lnTo>
                        <a:pt x="8" y="13"/>
                      </a:lnTo>
                      <a:lnTo>
                        <a:pt x="17" y="13"/>
                      </a:lnTo>
                      <a:lnTo>
                        <a:pt x="22" y="18"/>
                      </a:lnTo>
                      <a:lnTo>
                        <a:pt x="17" y="22"/>
                      </a:lnTo>
                      <a:lnTo>
                        <a:pt x="13" y="22"/>
                      </a:lnTo>
                      <a:lnTo>
                        <a:pt x="0" y="22"/>
                      </a:lnTo>
                      <a:lnTo>
                        <a:pt x="0"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23" name="Freeform 22"/>
                <p:cNvSpPr>
                  <a:spLocks/>
                </p:cNvSpPr>
                <p:nvPr/>
              </p:nvSpPr>
              <p:spPr bwMode="gray">
                <a:xfrm>
                  <a:off x="2808" y="2748"/>
                  <a:ext cx="80" cy="85"/>
                </a:xfrm>
                <a:custGeom>
                  <a:avLst/>
                  <a:gdLst>
                    <a:gd name="T0" fmla="*/ 13 w 80"/>
                    <a:gd name="T1" fmla="*/ 18 h 85"/>
                    <a:gd name="T2" fmla="*/ 9 w 80"/>
                    <a:gd name="T3" fmla="*/ 22 h 85"/>
                    <a:gd name="T4" fmla="*/ 4 w 80"/>
                    <a:gd name="T5" fmla="*/ 36 h 85"/>
                    <a:gd name="T6" fmla="*/ 0 w 80"/>
                    <a:gd name="T7" fmla="*/ 40 h 85"/>
                    <a:gd name="T8" fmla="*/ 0 w 80"/>
                    <a:gd name="T9" fmla="*/ 45 h 85"/>
                    <a:gd name="T10" fmla="*/ 13 w 80"/>
                    <a:gd name="T11" fmla="*/ 49 h 85"/>
                    <a:gd name="T12" fmla="*/ 9 w 80"/>
                    <a:gd name="T13" fmla="*/ 54 h 85"/>
                    <a:gd name="T14" fmla="*/ 17 w 80"/>
                    <a:gd name="T15" fmla="*/ 71 h 85"/>
                    <a:gd name="T16" fmla="*/ 31 w 80"/>
                    <a:gd name="T17" fmla="*/ 85 h 85"/>
                    <a:gd name="T18" fmla="*/ 35 w 80"/>
                    <a:gd name="T19" fmla="*/ 80 h 85"/>
                    <a:gd name="T20" fmla="*/ 40 w 80"/>
                    <a:gd name="T21" fmla="*/ 80 h 85"/>
                    <a:gd name="T22" fmla="*/ 40 w 80"/>
                    <a:gd name="T23" fmla="*/ 71 h 85"/>
                    <a:gd name="T24" fmla="*/ 35 w 80"/>
                    <a:gd name="T25" fmla="*/ 67 h 85"/>
                    <a:gd name="T26" fmla="*/ 44 w 80"/>
                    <a:gd name="T27" fmla="*/ 67 h 85"/>
                    <a:gd name="T28" fmla="*/ 53 w 80"/>
                    <a:gd name="T29" fmla="*/ 58 h 85"/>
                    <a:gd name="T30" fmla="*/ 62 w 80"/>
                    <a:gd name="T31" fmla="*/ 67 h 85"/>
                    <a:gd name="T32" fmla="*/ 80 w 80"/>
                    <a:gd name="T33" fmla="*/ 63 h 85"/>
                    <a:gd name="T34" fmla="*/ 80 w 80"/>
                    <a:gd name="T35" fmla="*/ 49 h 85"/>
                    <a:gd name="T36" fmla="*/ 76 w 80"/>
                    <a:gd name="T37" fmla="*/ 27 h 85"/>
                    <a:gd name="T38" fmla="*/ 80 w 80"/>
                    <a:gd name="T39" fmla="*/ 22 h 85"/>
                    <a:gd name="T40" fmla="*/ 80 w 80"/>
                    <a:gd name="T41" fmla="*/ 13 h 85"/>
                    <a:gd name="T42" fmla="*/ 62 w 80"/>
                    <a:gd name="T43" fmla="*/ 13 h 85"/>
                    <a:gd name="T44" fmla="*/ 67 w 80"/>
                    <a:gd name="T45" fmla="*/ 0 h 85"/>
                    <a:gd name="T46" fmla="*/ 53 w 80"/>
                    <a:gd name="T47" fmla="*/ 0 h 85"/>
                    <a:gd name="T48" fmla="*/ 35 w 80"/>
                    <a:gd name="T49" fmla="*/ 4 h 85"/>
                    <a:gd name="T50" fmla="*/ 35 w 80"/>
                    <a:gd name="T51" fmla="*/ 18 h 85"/>
                    <a:gd name="T52" fmla="*/ 13 w 80"/>
                    <a:gd name="T53"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85">
                      <a:moveTo>
                        <a:pt x="13" y="18"/>
                      </a:moveTo>
                      <a:lnTo>
                        <a:pt x="9" y="22"/>
                      </a:lnTo>
                      <a:lnTo>
                        <a:pt x="4" y="36"/>
                      </a:lnTo>
                      <a:lnTo>
                        <a:pt x="0" y="40"/>
                      </a:lnTo>
                      <a:lnTo>
                        <a:pt x="0" y="45"/>
                      </a:lnTo>
                      <a:lnTo>
                        <a:pt x="13" y="49"/>
                      </a:lnTo>
                      <a:lnTo>
                        <a:pt x="9" y="54"/>
                      </a:lnTo>
                      <a:lnTo>
                        <a:pt x="17" y="71"/>
                      </a:lnTo>
                      <a:lnTo>
                        <a:pt x="31" y="85"/>
                      </a:lnTo>
                      <a:lnTo>
                        <a:pt x="35" y="80"/>
                      </a:lnTo>
                      <a:lnTo>
                        <a:pt x="40" y="80"/>
                      </a:lnTo>
                      <a:lnTo>
                        <a:pt x="40" y="71"/>
                      </a:lnTo>
                      <a:lnTo>
                        <a:pt x="35" y="67"/>
                      </a:lnTo>
                      <a:lnTo>
                        <a:pt x="44" y="67"/>
                      </a:lnTo>
                      <a:lnTo>
                        <a:pt x="53" y="58"/>
                      </a:lnTo>
                      <a:lnTo>
                        <a:pt x="62" y="67"/>
                      </a:lnTo>
                      <a:lnTo>
                        <a:pt x="80" y="63"/>
                      </a:lnTo>
                      <a:lnTo>
                        <a:pt x="80" y="49"/>
                      </a:lnTo>
                      <a:lnTo>
                        <a:pt x="76" y="27"/>
                      </a:lnTo>
                      <a:lnTo>
                        <a:pt x="80" y="22"/>
                      </a:lnTo>
                      <a:lnTo>
                        <a:pt x="80" y="13"/>
                      </a:lnTo>
                      <a:lnTo>
                        <a:pt x="62" y="13"/>
                      </a:lnTo>
                      <a:lnTo>
                        <a:pt x="67" y="0"/>
                      </a:lnTo>
                      <a:lnTo>
                        <a:pt x="53" y="0"/>
                      </a:lnTo>
                      <a:lnTo>
                        <a:pt x="35" y="4"/>
                      </a:lnTo>
                      <a:lnTo>
                        <a:pt x="35" y="18"/>
                      </a:lnTo>
                      <a:lnTo>
                        <a:pt x="13" y="1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24" name="Freeform 23"/>
                <p:cNvSpPr>
                  <a:spLocks/>
                </p:cNvSpPr>
                <p:nvPr/>
              </p:nvSpPr>
              <p:spPr bwMode="gray">
                <a:xfrm>
                  <a:off x="2446" y="2578"/>
                  <a:ext cx="40" cy="14"/>
                </a:xfrm>
                <a:custGeom>
                  <a:avLst/>
                  <a:gdLst>
                    <a:gd name="T0" fmla="*/ 0 w 40"/>
                    <a:gd name="T1" fmla="*/ 9 h 14"/>
                    <a:gd name="T2" fmla="*/ 18 w 40"/>
                    <a:gd name="T3" fmla="*/ 14 h 14"/>
                    <a:gd name="T4" fmla="*/ 27 w 40"/>
                    <a:gd name="T5" fmla="*/ 5 h 14"/>
                    <a:gd name="T6" fmla="*/ 36 w 40"/>
                    <a:gd name="T7" fmla="*/ 9 h 14"/>
                    <a:gd name="T8" fmla="*/ 40 w 40"/>
                    <a:gd name="T9" fmla="*/ 5 h 14"/>
                    <a:gd name="T10" fmla="*/ 36 w 40"/>
                    <a:gd name="T11" fmla="*/ 0 h 14"/>
                    <a:gd name="T12" fmla="*/ 27 w 40"/>
                    <a:gd name="T13" fmla="*/ 0 h 14"/>
                    <a:gd name="T14" fmla="*/ 4 w 40"/>
                    <a:gd name="T15" fmla="*/ 0 h 14"/>
                    <a:gd name="T16" fmla="*/ 4 w 40"/>
                    <a:gd name="T17" fmla="*/ 5 h 14"/>
                    <a:gd name="T18" fmla="*/ 0 w 40"/>
                    <a:gd name="T19" fmla="*/ 5 h 14"/>
                    <a:gd name="T20" fmla="*/ 0 w 40"/>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4">
                      <a:moveTo>
                        <a:pt x="0" y="9"/>
                      </a:moveTo>
                      <a:lnTo>
                        <a:pt x="18" y="14"/>
                      </a:lnTo>
                      <a:lnTo>
                        <a:pt x="27" y="5"/>
                      </a:lnTo>
                      <a:lnTo>
                        <a:pt x="36" y="9"/>
                      </a:lnTo>
                      <a:lnTo>
                        <a:pt x="40" y="5"/>
                      </a:lnTo>
                      <a:lnTo>
                        <a:pt x="36" y="0"/>
                      </a:lnTo>
                      <a:lnTo>
                        <a:pt x="27" y="0"/>
                      </a:lnTo>
                      <a:lnTo>
                        <a:pt x="4" y="0"/>
                      </a:lnTo>
                      <a:lnTo>
                        <a:pt x="4" y="5"/>
                      </a:lnTo>
                      <a:lnTo>
                        <a:pt x="0" y="5"/>
                      </a:lnTo>
                      <a:lnTo>
                        <a:pt x="0"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25" name="Freeform 24"/>
                <p:cNvSpPr>
                  <a:spLocks/>
                </p:cNvSpPr>
                <p:nvPr/>
              </p:nvSpPr>
              <p:spPr bwMode="gray">
                <a:xfrm>
                  <a:off x="2638" y="2614"/>
                  <a:ext cx="62" cy="98"/>
                </a:xfrm>
                <a:custGeom>
                  <a:avLst/>
                  <a:gdLst>
                    <a:gd name="T0" fmla="*/ 4 w 62"/>
                    <a:gd name="T1" fmla="*/ 89 h 98"/>
                    <a:gd name="T2" fmla="*/ 13 w 62"/>
                    <a:gd name="T3" fmla="*/ 98 h 98"/>
                    <a:gd name="T4" fmla="*/ 18 w 62"/>
                    <a:gd name="T5" fmla="*/ 89 h 98"/>
                    <a:gd name="T6" fmla="*/ 31 w 62"/>
                    <a:gd name="T7" fmla="*/ 89 h 98"/>
                    <a:gd name="T8" fmla="*/ 45 w 62"/>
                    <a:gd name="T9" fmla="*/ 80 h 98"/>
                    <a:gd name="T10" fmla="*/ 58 w 62"/>
                    <a:gd name="T11" fmla="*/ 80 h 98"/>
                    <a:gd name="T12" fmla="*/ 62 w 62"/>
                    <a:gd name="T13" fmla="*/ 76 h 98"/>
                    <a:gd name="T14" fmla="*/ 58 w 62"/>
                    <a:gd name="T15" fmla="*/ 71 h 98"/>
                    <a:gd name="T16" fmla="*/ 53 w 62"/>
                    <a:gd name="T17" fmla="*/ 62 h 98"/>
                    <a:gd name="T18" fmla="*/ 53 w 62"/>
                    <a:gd name="T19" fmla="*/ 54 h 98"/>
                    <a:gd name="T20" fmla="*/ 49 w 62"/>
                    <a:gd name="T21" fmla="*/ 40 h 98"/>
                    <a:gd name="T22" fmla="*/ 53 w 62"/>
                    <a:gd name="T23" fmla="*/ 36 h 98"/>
                    <a:gd name="T24" fmla="*/ 53 w 62"/>
                    <a:gd name="T25" fmla="*/ 13 h 98"/>
                    <a:gd name="T26" fmla="*/ 45 w 62"/>
                    <a:gd name="T27" fmla="*/ 9 h 98"/>
                    <a:gd name="T28" fmla="*/ 49 w 62"/>
                    <a:gd name="T29" fmla="*/ 0 h 98"/>
                    <a:gd name="T30" fmla="*/ 45 w 62"/>
                    <a:gd name="T31" fmla="*/ 0 h 98"/>
                    <a:gd name="T32" fmla="*/ 36 w 62"/>
                    <a:gd name="T33" fmla="*/ 4 h 98"/>
                    <a:gd name="T34" fmla="*/ 4 w 62"/>
                    <a:gd name="T35" fmla="*/ 4 h 98"/>
                    <a:gd name="T36" fmla="*/ 4 w 62"/>
                    <a:gd name="T37" fmla="*/ 18 h 98"/>
                    <a:gd name="T38" fmla="*/ 4 w 62"/>
                    <a:gd name="T39" fmla="*/ 31 h 98"/>
                    <a:gd name="T40" fmla="*/ 9 w 62"/>
                    <a:gd name="T41" fmla="*/ 45 h 98"/>
                    <a:gd name="T42" fmla="*/ 4 w 62"/>
                    <a:gd name="T43" fmla="*/ 54 h 98"/>
                    <a:gd name="T44" fmla="*/ 0 w 62"/>
                    <a:gd name="T45" fmla="*/ 67 h 98"/>
                    <a:gd name="T46" fmla="*/ 4 w 62"/>
                    <a:gd name="T47" fmla="*/ 85 h 98"/>
                    <a:gd name="T48" fmla="*/ 4 w 62"/>
                    <a:gd name="T49"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98">
                      <a:moveTo>
                        <a:pt x="4" y="89"/>
                      </a:moveTo>
                      <a:lnTo>
                        <a:pt x="13" y="98"/>
                      </a:lnTo>
                      <a:lnTo>
                        <a:pt x="18" y="89"/>
                      </a:lnTo>
                      <a:lnTo>
                        <a:pt x="31" y="89"/>
                      </a:lnTo>
                      <a:lnTo>
                        <a:pt x="45" y="80"/>
                      </a:lnTo>
                      <a:lnTo>
                        <a:pt x="58" y="80"/>
                      </a:lnTo>
                      <a:lnTo>
                        <a:pt x="62" y="76"/>
                      </a:lnTo>
                      <a:lnTo>
                        <a:pt x="58" y="71"/>
                      </a:lnTo>
                      <a:lnTo>
                        <a:pt x="53" y="62"/>
                      </a:lnTo>
                      <a:lnTo>
                        <a:pt x="53" y="54"/>
                      </a:lnTo>
                      <a:lnTo>
                        <a:pt x="49" y="40"/>
                      </a:lnTo>
                      <a:lnTo>
                        <a:pt x="53" y="36"/>
                      </a:lnTo>
                      <a:lnTo>
                        <a:pt x="53" y="13"/>
                      </a:lnTo>
                      <a:lnTo>
                        <a:pt x="45" y="9"/>
                      </a:lnTo>
                      <a:lnTo>
                        <a:pt x="49" y="0"/>
                      </a:lnTo>
                      <a:lnTo>
                        <a:pt x="45" y="0"/>
                      </a:lnTo>
                      <a:lnTo>
                        <a:pt x="36" y="4"/>
                      </a:lnTo>
                      <a:lnTo>
                        <a:pt x="4" y="4"/>
                      </a:lnTo>
                      <a:lnTo>
                        <a:pt x="4" y="18"/>
                      </a:lnTo>
                      <a:lnTo>
                        <a:pt x="4" y="31"/>
                      </a:lnTo>
                      <a:lnTo>
                        <a:pt x="9" y="45"/>
                      </a:lnTo>
                      <a:lnTo>
                        <a:pt x="4" y="54"/>
                      </a:lnTo>
                      <a:lnTo>
                        <a:pt x="0" y="67"/>
                      </a:lnTo>
                      <a:lnTo>
                        <a:pt x="4" y="85"/>
                      </a:lnTo>
                      <a:lnTo>
                        <a:pt x="4" y="8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26" name="Freeform 25"/>
                <p:cNvSpPr>
                  <a:spLocks/>
                </p:cNvSpPr>
                <p:nvPr/>
              </p:nvSpPr>
              <p:spPr bwMode="gray">
                <a:xfrm>
                  <a:off x="2473" y="2596"/>
                  <a:ext cx="98" cy="76"/>
                </a:xfrm>
                <a:custGeom>
                  <a:avLst/>
                  <a:gdLst>
                    <a:gd name="T0" fmla="*/ 0 w 98"/>
                    <a:gd name="T1" fmla="*/ 31 h 76"/>
                    <a:gd name="T2" fmla="*/ 4 w 98"/>
                    <a:gd name="T3" fmla="*/ 40 h 76"/>
                    <a:gd name="T4" fmla="*/ 17 w 98"/>
                    <a:gd name="T5" fmla="*/ 45 h 76"/>
                    <a:gd name="T6" fmla="*/ 17 w 98"/>
                    <a:gd name="T7" fmla="*/ 54 h 76"/>
                    <a:gd name="T8" fmla="*/ 26 w 98"/>
                    <a:gd name="T9" fmla="*/ 49 h 76"/>
                    <a:gd name="T10" fmla="*/ 31 w 98"/>
                    <a:gd name="T11" fmla="*/ 45 h 76"/>
                    <a:gd name="T12" fmla="*/ 49 w 98"/>
                    <a:gd name="T13" fmla="*/ 40 h 76"/>
                    <a:gd name="T14" fmla="*/ 53 w 98"/>
                    <a:gd name="T15" fmla="*/ 45 h 76"/>
                    <a:gd name="T16" fmla="*/ 58 w 98"/>
                    <a:gd name="T17" fmla="*/ 54 h 76"/>
                    <a:gd name="T18" fmla="*/ 58 w 98"/>
                    <a:gd name="T19" fmla="*/ 63 h 76"/>
                    <a:gd name="T20" fmla="*/ 62 w 98"/>
                    <a:gd name="T21" fmla="*/ 63 h 76"/>
                    <a:gd name="T22" fmla="*/ 76 w 98"/>
                    <a:gd name="T23" fmla="*/ 63 h 76"/>
                    <a:gd name="T24" fmla="*/ 76 w 98"/>
                    <a:gd name="T25" fmla="*/ 76 h 76"/>
                    <a:gd name="T26" fmla="*/ 84 w 98"/>
                    <a:gd name="T27" fmla="*/ 76 h 76"/>
                    <a:gd name="T28" fmla="*/ 89 w 98"/>
                    <a:gd name="T29" fmla="*/ 72 h 76"/>
                    <a:gd name="T30" fmla="*/ 89 w 98"/>
                    <a:gd name="T31" fmla="*/ 58 h 76"/>
                    <a:gd name="T32" fmla="*/ 98 w 98"/>
                    <a:gd name="T33" fmla="*/ 58 h 76"/>
                    <a:gd name="T34" fmla="*/ 93 w 98"/>
                    <a:gd name="T35" fmla="*/ 45 h 76"/>
                    <a:gd name="T36" fmla="*/ 98 w 98"/>
                    <a:gd name="T37" fmla="*/ 31 h 76"/>
                    <a:gd name="T38" fmla="*/ 89 w 98"/>
                    <a:gd name="T39" fmla="*/ 27 h 76"/>
                    <a:gd name="T40" fmla="*/ 89 w 98"/>
                    <a:gd name="T41" fmla="*/ 18 h 76"/>
                    <a:gd name="T42" fmla="*/ 84 w 98"/>
                    <a:gd name="T43" fmla="*/ 13 h 76"/>
                    <a:gd name="T44" fmla="*/ 80 w 98"/>
                    <a:gd name="T45" fmla="*/ 0 h 76"/>
                    <a:gd name="T46" fmla="*/ 62 w 98"/>
                    <a:gd name="T47" fmla="*/ 9 h 76"/>
                    <a:gd name="T48" fmla="*/ 53 w 98"/>
                    <a:gd name="T49" fmla="*/ 9 h 76"/>
                    <a:gd name="T50" fmla="*/ 49 w 98"/>
                    <a:gd name="T51" fmla="*/ 13 h 76"/>
                    <a:gd name="T52" fmla="*/ 44 w 98"/>
                    <a:gd name="T53" fmla="*/ 5 h 76"/>
                    <a:gd name="T54" fmla="*/ 17 w 98"/>
                    <a:gd name="T55" fmla="*/ 5 h 76"/>
                    <a:gd name="T56" fmla="*/ 17 w 98"/>
                    <a:gd name="T57" fmla="*/ 13 h 76"/>
                    <a:gd name="T58" fmla="*/ 4 w 98"/>
                    <a:gd name="T59" fmla="*/ 22 h 76"/>
                    <a:gd name="T60" fmla="*/ 0 w 98"/>
                    <a:gd name="T61"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76">
                      <a:moveTo>
                        <a:pt x="0" y="31"/>
                      </a:moveTo>
                      <a:lnTo>
                        <a:pt x="4" y="40"/>
                      </a:lnTo>
                      <a:lnTo>
                        <a:pt x="17" y="45"/>
                      </a:lnTo>
                      <a:lnTo>
                        <a:pt x="17" y="54"/>
                      </a:lnTo>
                      <a:lnTo>
                        <a:pt x="26" y="49"/>
                      </a:lnTo>
                      <a:lnTo>
                        <a:pt x="31" y="45"/>
                      </a:lnTo>
                      <a:lnTo>
                        <a:pt x="49" y="40"/>
                      </a:lnTo>
                      <a:lnTo>
                        <a:pt x="53" y="45"/>
                      </a:lnTo>
                      <a:lnTo>
                        <a:pt x="58" y="54"/>
                      </a:lnTo>
                      <a:lnTo>
                        <a:pt x="58" y="63"/>
                      </a:lnTo>
                      <a:lnTo>
                        <a:pt x="62" y="63"/>
                      </a:lnTo>
                      <a:lnTo>
                        <a:pt x="76" y="63"/>
                      </a:lnTo>
                      <a:lnTo>
                        <a:pt x="76" y="76"/>
                      </a:lnTo>
                      <a:lnTo>
                        <a:pt x="84" y="76"/>
                      </a:lnTo>
                      <a:lnTo>
                        <a:pt x="89" y="72"/>
                      </a:lnTo>
                      <a:lnTo>
                        <a:pt x="89" y="58"/>
                      </a:lnTo>
                      <a:lnTo>
                        <a:pt x="98" y="58"/>
                      </a:lnTo>
                      <a:lnTo>
                        <a:pt x="93" y="45"/>
                      </a:lnTo>
                      <a:lnTo>
                        <a:pt x="98" y="31"/>
                      </a:lnTo>
                      <a:lnTo>
                        <a:pt x="89" y="27"/>
                      </a:lnTo>
                      <a:lnTo>
                        <a:pt x="89" y="18"/>
                      </a:lnTo>
                      <a:lnTo>
                        <a:pt x="84" y="13"/>
                      </a:lnTo>
                      <a:lnTo>
                        <a:pt x="80" y="0"/>
                      </a:lnTo>
                      <a:lnTo>
                        <a:pt x="62" y="9"/>
                      </a:lnTo>
                      <a:lnTo>
                        <a:pt x="53" y="9"/>
                      </a:lnTo>
                      <a:lnTo>
                        <a:pt x="49" y="13"/>
                      </a:lnTo>
                      <a:lnTo>
                        <a:pt x="44" y="5"/>
                      </a:lnTo>
                      <a:lnTo>
                        <a:pt x="17" y="5"/>
                      </a:lnTo>
                      <a:lnTo>
                        <a:pt x="17" y="13"/>
                      </a:lnTo>
                      <a:lnTo>
                        <a:pt x="4" y="22"/>
                      </a:lnTo>
                      <a:lnTo>
                        <a:pt x="0" y="3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27" name="Freeform 26"/>
                <p:cNvSpPr>
                  <a:spLocks/>
                </p:cNvSpPr>
                <p:nvPr/>
              </p:nvSpPr>
              <p:spPr bwMode="gray">
                <a:xfrm>
                  <a:off x="2562" y="2627"/>
                  <a:ext cx="85" cy="90"/>
                </a:xfrm>
                <a:custGeom>
                  <a:avLst/>
                  <a:gdLst>
                    <a:gd name="T0" fmla="*/ 0 w 85"/>
                    <a:gd name="T1" fmla="*/ 41 h 90"/>
                    <a:gd name="T2" fmla="*/ 0 w 85"/>
                    <a:gd name="T3" fmla="*/ 54 h 90"/>
                    <a:gd name="T4" fmla="*/ 18 w 85"/>
                    <a:gd name="T5" fmla="*/ 67 h 90"/>
                    <a:gd name="T6" fmla="*/ 13 w 85"/>
                    <a:gd name="T7" fmla="*/ 90 h 90"/>
                    <a:gd name="T8" fmla="*/ 18 w 85"/>
                    <a:gd name="T9" fmla="*/ 90 h 90"/>
                    <a:gd name="T10" fmla="*/ 36 w 85"/>
                    <a:gd name="T11" fmla="*/ 76 h 90"/>
                    <a:gd name="T12" fmla="*/ 58 w 85"/>
                    <a:gd name="T13" fmla="*/ 72 h 90"/>
                    <a:gd name="T14" fmla="*/ 80 w 85"/>
                    <a:gd name="T15" fmla="*/ 76 h 90"/>
                    <a:gd name="T16" fmla="*/ 80 w 85"/>
                    <a:gd name="T17" fmla="*/ 72 h 90"/>
                    <a:gd name="T18" fmla="*/ 76 w 85"/>
                    <a:gd name="T19" fmla="*/ 54 h 90"/>
                    <a:gd name="T20" fmla="*/ 80 w 85"/>
                    <a:gd name="T21" fmla="*/ 41 h 90"/>
                    <a:gd name="T22" fmla="*/ 85 w 85"/>
                    <a:gd name="T23" fmla="*/ 32 h 90"/>
                    <a:gd name="T24" fmla="*/ 80 w 85"/>
                    <a:gd name="T25" fmla="*/ 18 h 90"/>
                    <a:gd name="T26" fmla="*/ 76 w 85"/>
                    <a:gd name="T27" fmla="*/ 14 h 90"/>
                    <a:gd name="T28" fmla="*/ 71 w 85"/>
                    <a:gd name="T29" fmla="*/ 9 h 90"/>
                    <a:gd name="T30" fmla="*/ 58 w 85"/>
                    <a:gd name="T31" fmla="*/ 14 h 90"/>
                    <a:gd name="T32" fmla="*/ 40 w 85"/>
                    <a:gd name="T33" fmla="*/ 0 h 90"/>
                    <a:gd name="T34" fmla="*/ 36 w 85"/>
                    <a:gd name="T35" fmla="*/ 5 h 90"/>
                    <a:gd name="T36" fmla="*/ 31 w 85"/>
                    <a:gd name="T37" fmla="*/ 0 h 90"/>
                    <a:gd name="T38" fmla="*/ 13 w 85"/>
                    <a:gd name="T39" fmla="*/ 5 h 90"/>
                    <a:gd name="T40" fmla="*/ 9 w 85"/>
                    <a:gd name="T41" fmla="*/ 0 h 90"/>
                    <a:gd name="T42" fmla="*/ 4 w 85"/>
                    <a:gd name="T43" fmla="*/ 14 h 90"/>
                    <a:gd name="T44" fmla="*/ 9 w 85"/>
                    <a:gd name="T45" fmla="*/ 27 h 90"/>
                    <a:gd name="T46" fmla="*/ 0 w 85"/>
                    <a:gd name="T47" fmla="*/ 27 h 90"/>
                    <a:gd name="T48" fmla="*/ 0 w 85"/>
                    <a:gd name="T49" fmla="*/ 4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90">
                      <a:moveTo>
                        <a:pt x="0" y="41"/>
                      </a:moveTo>
                      <a:lnTo>
                        <a:pt x="0" y="54"/>
                      </a:lnTo>
                      <a:lnTo>
                        <a:pt x="18" y="67"/>
                      </a:lnTo>
                      <a:lnTo>
                        <a:pt x="13" y="90"/>
                      </a:lnTo>
                      <a:lnTo>
                        <a:pt x="18" y="90"/>
                      </a:lnTo>
                      <a:lnTo>
                        <a:pt x="36" y="76"/>
                      </a:lnTo>
                      <a:lnTo>
                        <a:pt x="58" y="72"/>
                      </a:lnTo>
                      <a:lnTo>
                        <a:pt x="80" y="76"/>
                      </a:lnTo>
                      <a:lnTo>
                        <a:pt x="80" y="72"/>
                      </a:lnTo>
                      <a:lnTo>
                        <a:pt x="76" y="54"/>
                      </a:lnTo>
                      <a:lnTo>
                        <a:pt x="80" y="41"/>
                      </a:lnTo>
                      <a:lnTo>
                        <a:pt x="85" y="32"/>
                      </a:lnTo>
                      <a:lnTo>
                        <a:pt x="80" y="18"/>
                      </a:lnTo>
                      <a:lnTo>
                        <a:pt x="76" y="14"/>
                      </a:lnTo>
                      <a:lnTo>
                        <a:pt x="71" y="9"/>
                      </a:lnTo>
                      <a:lnTo>
                        <a:pt x="58" y="14"/>
                      </a:lnTo>
                      <a:lnTo>
                        <a:pt x="40" y="0"/>
                      </a:lnTo>
                      <a:lnTo>
                        <a:pt x="36" y="5"/>
                      </a:lnTo>
                      <a:lnTo>
                        <a:pt x="31" y="0"/>
                      </a:lnTo>
                      <a:lnTo>
                        <a:pt x="13" y="5"/>
                      </a:lnTo>
                      <a:lnTo>
                        <a:pt x="9" y="0"/>
                      </a:lnTo>
                      <a:lnTo>
                        <a:pt x="4" y="14"/>
                      </a:lnTo>
                      <a:lnTo>
                        <a:pt x="9" y="27"/>
                      </a:lnTo>
                      <a:lnTo>
                        <a:pt x="0" y="27"/>
                      </a:lnTo>
                      <a:lnTo>
                        <a:pt x="0" y="4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28" name="Freeform 27"/>
                <p:cNvSpPr>
                  <a:spLocks/>
                </p:cNvSpPr>
                <p:nvPr/>
              </p:nvSpPr>
              <p:spPr bwMode="gray">
                <a:xfrm>
                  <a:off x="3169" y="2712"/>
                  <a:ext cx="121" cy="134"/>
                </a:xfrm>
                <a:custGeom>
                  <a:avLst/>
                  <a:gdLst>
                    <a:gd name="T0" fmla="*/ 0 w 121"/>
                    <a:gd name="T1" fmla="*/ 5 h 134"/>
                    <a:gd name="T2" fmla="*/ 9 w 121"/>
                    <a:gd name="T3" fmla="*/ 14 h 134"/>
                    <a:gd name="T4" fmla="*/ 14 w 121"/>
                    <a:gd name="T5" fmla="*/ 27 h 134"/>
                    <a:gd name="T6" fmla="*/ 9 w 121"/>
                    <a:gd name="T7" fmla="*/ 49 h 134"/>
                    <a:gd name="T8" fmla="*/ 5 w 121"/>
                    <a:gd name="T9" fmla="*/ 63 h 134"/>
                    <a:gd name="T10" fmla="*/ 5 w 121"/>
                    <a:gd name="T11" fmla="*/ 72 h 134"/>
                    <a:gd name="T12" fmla="*/ 9 w 121"/>
                    <a:gd name="T13" fmla="*/ 72 h 134"/>
                    <a:gd name="T14" fmla="*/ 5 w 121"/>
                    <a:gd name="T15" fmla="*/ 76 h 134"/>
                    <a:gd name="T16" fmla="*/ 0 w 121"/>
                    <a:gd name="T17" fmla="*/ 81 h 134"/>
                    <a:gd name="T18" fmla="*/ 41 w 121"/>
                    <a:gd name="T19" fmla="*/ 107 h 134"/>
                    <a:gd name="T20" fmla="*/ 76 w 121"/>
                    <a:gd name="T21" fmla="*/ 134 h 134"/>
                    <a:gd name="T22" fmla="*/ 85 w 121"/>
                    <a:gd name="T23" fmla="*/ 134 h 134"/>
                    <a:gd name="T24" fmla="*/ 90 w 121"/>
                    <a:gd name="T25" fmla="*/ 121 h 134"/>
                    <a:gd name="T26" fmla="*/ 94 w 121"/>
                    <a:gd name="T27" fmla="*/ 121 h 134"/>
                    <a:gd name="T28" fmla="*/ 94 w 121"/>
                    <a:gd name="T29" fmla="*/ 107 h 134"/>
                    <a:gd name="T30" fmla="*/ 103 w 121"/>
                    <a:gd name="T31" fmla="*/ 103 h 134"/>
                    <a:gd name="T32" fmla="*/ 103 w 121"/>
                    <a:gd name="T33" fmla="*/ 99 h 134"/>
                    <a:gd name="T34" fmla="*/ 112 w 121"/>
                    <a:gd name="T35" fmla="*/ 94 h 134"/>
                    <a:gd name="T36" fmla="*/ 108 w 121"/>
                    <a:gd name="T37" fmla="*/ 76 h 134"/>
                    <a:gd name="T38" fmla="*/ 103 w 121"/>
                    <a:gd name="T39" fmla="*/ 23 h 134"/>
                    <a:gd name="T40" fmla="*/ 121 w 121"/>
                    <a:gd name="T41" fmla="*/ 9 h 134"/>
                    <a:gd name="T42" fmla="*/ 108 w 121"/>
                    <a:gd name="T43" fmla="*/ 9 h 134"/>
                    <a:gd name="T44" fmla="*/ 99 w 121"/>
                    <a:gd name="T45" fmla="*/ 5 h 134"/>
                    <a:gd name="T46" fmla="*/ 90 w 121"/>
                    <a:gd name="T47" fmla="*/ 9 h 134"/>
                    <a:gd name="T48" fmla="*/ 85 w 121"/>
                    <a:gd name="T49" fmla="*/ 18 h 134"/>
                    <a:gd name="T50" fmla="*/ 63 w 121"/>
                    <a:gd name="T51" fmla="*/ 14 h 134"/>
                    <a:gd name="T52" fmla="*/ 45 w 121"/>
                    <a:gd name="T53" fmla="*/ 0 h 134"/>
                    <a:gd name="T54" fmla="*/ 32 w 121"/>
                    <a:gd name="T55" fmla="*/ 5 h 134"/>
                    <a:gd name="T56" fmla="*/ 27 w 121"/>
                    <a:gd name="T57" fmla="*/ 0 h 134"/>
                    <a:gd name="T58" fmla="*/ 5 w 121"/>
                    <a:gd name="T59" fmla="*/ 0 h 134"/>
                    <a:gd name="T60" fmla="*/ 0 w 121"/>
                    <a:gd name="T61" fmla="*/ 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34">
                      <a:moveTo>
                        <a:pt x="0" y="5"/>
                      </a:moveTo>
                      <a:lnTo>
                        <a:pt x="9" y="14"/>
                      </a:lnTo>
                      <a:lnTo>
                        <a:pt x="14" y="27"/>
                      </a:lnTo>
                      <a:lnTo>
                        <a:pt x="9" y="49"/>
                      </a:lnTo>
                      <a:lnTo>
                        <a:pt x="5" y="63"/>
                      </a:lnTo>
                      <a:lnTo>
                        <a:pt x="5" y="72"/>
                      </a:lnTo>
                      <a:lnTo>
                        <a:pt x="9" y="72"/>
                      </a:lnTo>
                      <a:lnTo>
                        <a:pt x="5" y="76"/>
                      </a:lnTo>
                      <a:lnTo>
                        <a:pt x="0" y="81"/>
                      </a:lnTo>
                      <a:lnTo>
                        <a:pt x="41" y="107"/>
                      </a:lnTo>
                      <a:lnTo>
                        <a:pt x="76" y="134"/>
                      </a:lnTo>
                      <a:lnTo>
                        <a:pt x="85" y="134"/>
                      </a:lnTo>
                      <a:lnTo>
                        <a:pt x="90" y="121"/>
                      </a:lnTo>
                      <a:lnTo>
                        <a:pt x="94" y="121"/>
                      </a:lnTo>
                      <a:lnTo>
                        <a:pt x="94" y="107"/>
                      </a:lnTo>
                      <a:lnTo>
                        <a:pt x="103" y="103"/>
                      </a:lnTo>
                      <a:lnTo>
                        <a:pt x="103" y="99"/>
                      </a:lnTo>
                      <a:lnTo>
                        <a:pt x="112" y="94"/>
                      </a:lnTo>
                      <a:lnTo>
                        <a:pt x="108" y="76"/>
                      </a:lnTo>
                      <a:lnTo>
                        <a:pt x="103" y="23"/>
                      </a:lnTo>
                      <a:lnTo>
                        <a:pt x="121" y="9"/>
                      </a:lnTo>
                      <a:lnTo>
                        <a:pt x="108" y="9"/>
                      </a:lnTo>
                      <a:lnTo>
                        <a:pt x="99" y="5"/>
                      </a:lnTo>
                      <a:lnTo>
                        <a:pt x="90" y="9"/>
                      </a:lnTo>
                      <a:lnTo>
                        <a:pt x="85" y="18"/>
                      </a:lnTo>
                      <a:lnTo>
                        <a:pt x="63" y="14"/>
                      </a:lnTo>
                      <a:lnTo>
                        <a:pt x="45" y="0"/>
                      </a:lnTo>
                      <a:lnTo>
                        <a:pt x="32" y="5"/>
                      </a:lnTo>
                      <a:lnTo>
                        <a:pt x="27" y="0"/>
                      </a:lnTo>
                      <a:lnTo>
                        <a:pt x="5" y="0"/>
                      </a:lnTo>
                      <a:lnTo>
                        <a:pt x="0" y="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29" name="Freeform 28"/>
                <p:cNvSpPr>
                  <a:spLocks/>
                </p:cNvSpPr>
                <p:nvPr/>
              </p:nvSpPr>
              <p:spPr bwMode="gray">
                <a:xfrm>
                  <a:off x="3071" y="3217"/>
                  <a:ext cx="40" cy="31"/>
                </a:xfrm>
                <a:custGeom>
                  <a:avLst/>
                  <a:gdLst>
                    <a:gd name="T0" fmla="*/ 9 w 40"/>
                    <a:gd name="T1" fmla="*/ 27 h 31"/>
                    <a:gd name="T2" fmla="*/ 14 w 40"/>
                    <a:gd name="T3" fmla="*/ 31 h 31"/>
                    <a:gd name="T4" fmla="*/ 18 w 40"/>
                    <a:gd name="T5" fmla="*/ 27 h 31"/>
                    <a:gd name="T6" fmla="*/ 31 w 40"/>
                    <a:gd name="T7" fmla="*/ 23 h 31"/>
                    <a:gd name="T8" fmla="*/ 40 w 40"/>
                    <a:gd name="T9" fmla="*/ 14 h 31"/>
                    <a:gd name="T10" fmla="*/ 27 w 40"/>
                    <a:gd name="T11" fmla="*/ 0 h 31"/>
                    <a:gd name="T12" fmla="*/ 9 w 40"/>
                    <a:gd name="T13" fmla="*/ 5 h 31"/>
                    <a:gd name="T14" fmla="*/ 0 w 40"/>
                    <a:gd name="T15" fmla="*/ 14 h 31"/>
                    <a:gd name="T16" fmla="*/ 9 w 40"/>
                    <a:gd name="T1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1">
                      <a:moveTo>
                        <a:pt x="9" y="27"/>
                      </a:moveTo>
                      <a:lnTo>
                        <a:pt x="14" y="31"/>
                      </a:lnTo>
                      <a:lnTo>
                        <a:pt x="18" y="27"/>
                      </a:lnTo>
                      <a:lnTo>
                        <a:pt x="31" y="23"/>
                      </a:lnTo>
                      <a:lnTo>
                        <a:pt x="40" y="14"/>
                      </a:lnTo>
                      <a:lnTo>
                        <a:pt x="27" y="0"/>
                      </a:lnTo>
                      <a:lnTo>
                        <a:pt x="9" y="5"/>
                      </a:lnTo>
                      <a:lnTo>
                        <a:pt x="0" y="14"/>
                      </a:lnTo>
                      <a:lnTo>
                        <a:pt x="9" y="27"/>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30" name="Freeform 29"/>
                <p:cNvSpPr>
                  <a:spLocks/>
                </p:cNvSpPr>
                <p:nvPr/>
              </p:nvSpPr>
              <p:spPr bwMode="gray">
                <a:xfrm>
                  <a:off x="2517" y="2659"/>
                  <a:ext cx="63" cy="58"/>
                </a:xfrm>
                <a:custGeom>
                  <a:avLst/>
                  <a:gdLst>
                    <a:gd name="T0" fmla="*/ 0 w 63"/>
                    <a:gd name="T1" fmla="*/ 22 h 58"/>
                    <a:gd name="T2" fmla="*/ 9 w 63"/>
                    <a:gd name="T3" fmla="*/ 26 h 58"/>
                    <a:gd name="T4" fmla="*/ 49 w 63"/>
                    <a:gd name="T5" fmla="*/ 58 h 58"/>
                    <a:gd name="T6" fmla="*/ 58 w 63"/>
                    <a:gd name="T7" fmla="*/ 58 h 58"/>
                    <a:gd name="T8" fmla="*/ 63 w 63"/>
                    <a:gd name="T9" fmla="*/ 35 h 58"/>
                    <a:gd name="T10" fmla="*/ 45 w 63"/>
                    <a:gd name="T11" fmla="*/ 22 h 58"/>
                    <a:gd name="T12" fmla="*/ 45 w 63"/>
                    <a:gd name="T13" fmla="*/ 9 h 58"/>
                    <a:gd name="T14" fmla="*/ 40 w 63"/>
                    <a:gd name="T15" fmla="*/ 13 h 58"/>
                    <a:gd name="T16" fmla="*/ 32 w 63"/>
                    <a:gd name="T17" fmla="*/ 13 h 58"/>
                    <a:gd name="T18" fmla="*/ 32 w 63"/>
                    <a:gd name="T19" fmla="*/ 0 h 58"/>
                    <a:gd name="T20" fmla="*/ 18 w 63"/>
                    <a:gd name="T21" fmla="*/ 0 h 58"/>
                    <a:gd name="T22" fmla="*/ 18 w 63"/>
                    <a:gd name="T23" fmla="*/ 9 h 58"/>
                    <a:gd name="T24" fmla="*/ 14 w 63"/>
                    <a:gd name="T25" fmla="*/ 9 h 58"/>
                    <a:gd name="T26" fmla="*/ 14 w 63"/>
                    <a:gd name="T27" fmla="*/ 13 h 58"/>
                    <a:gd name="T28" fmla="*/ 5 w 63"/>
                    <a:gd name="T29" fmla="*/ 17 h 58"/>
                    <a:gd name="T30" fmla="*/ 0 w 63"/>
                    <a:gd name="T3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58">
                      <a:moveTo>
                        <a:pt x="0" y="22"/>
                      </a:moveTo>
                      <a:lnTo>
                        <a:pt x="9" y="26"/>
                      </a:lnTo>
                      <a:lnTo>
                        <a:pt x="49" y="58"/>
                      </a:lnTo>
                      <a:lnTo>
                        <a:pt x="58" y="58"/>
                      </a:lnTo>
                      <a:lnTo>
                        <a:pt x="63" y="35"/>
                      </a:lnTo>
                      <a:lnTo>
                        <a:pt x="45" y="22"/>
                      </a:lnTo>
                      <a:lnTo>
                        <a:pt x="45" y="9"/>
                      </a:lnTo>
                      <a:lnTo>
                        <a:pt x="40" y="13"/>
                      </a:lnTo>
                      <a:lnTo>
                        <a:pt x="32" y="13"/>
                      </a:lnTo>
                      <a:lnTo>
                        <a:pt x="32" y="0"/>
                      </a:lnTo>
                      <a:lnTo>
                        <a:pt x="18" y="0"/>
                      </a:lnTo>
                      <a:lnTo>
                        <a:pt x="18" y="9"/>
                      </a:lnTo>
                      <a:lnTo>
                        <a:pt x="14" y="9"/>
                      </a:lnTo>
                      <a:lnTo>
                        <a:pt x="14" y="13"/>
                      </a:lnTo>
                      <a:lnTo>
                        <a:pt x="5" y="17"/>
                      </a:lnTo>
                      <a:lnTo>
                        <a:pt x="0" y="2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31" name="Freeform 30"/>
                <p:cNvSpPr>
                  <a:spLocks/>
                </p:cNvSpPr>
                <p:nvPr/>
              </p:nvSpPr>
              <p:spPr bwMode="gray">
                <a:xfrm>
                  <a:off x="2812" y="2265"/>
                  <a:ext cx="232" cy="228"/>
                </a:xfrm>
                <a:custGeom>
                  <a:avLst/>
                  <a:gdLst>
                    <a:gd name="T0" fmla="*/ 40 w 232"/>
                    <a:gd name="T1" fmla="*/ 0 h 228"/>
                    <a:gd name="T2" fmla="*/ 36 w 232"/>
                    <a:gd name="T3" fmla="*/ 5 h 228"/>
                    <a:gd name="T4" fmla="*/ 36 w 232"/>
                    <a:gd name="T5" fmla="*/ 14 h 228"/>
                    <a:gd name="T6" fmla="*/ 27 w 232"/>
                    <a:gd name="T7" fmla="*/ 23 h 228"/>
                    <a:gd name="T8" fmla="*/ 18 w 232"/>
                    <a:gd name="T9" fmla="*/ 27 h 228"/>
                    <a:gd name="T10" fmla="*/ 18 w 232"/>
                    <a:gd name="T11" fmla="*/ 50 h 228"/>
                    <a:gd name="T12" fmla="*/ 5 w 232"/>
                    <a:gd name="T13" fmla="*/ 54 h 228"/>
                    <a:gd name="T14" fmla="*/ 0 w 232"/>
                    <a:gd name="T15" fmla="*/ 58 h 228"/>
                    <a:gd name="T16" fmla="*/ 5 w 232"/>
                    <a:gd name="T17" fmla="*/ 67 h 228"/>
                    <a:gd name="T18" fmla="*/ 5 w 232"/>
                    <a:gd name="T19" fmla="*/ 85 h 228"/>
                    <a:gd name="T20" fmla="*/ 9 w 232"/>
                    <a:gd name="T21" fmla="*/ 99 h 228"/>
                    <a:gd name="T22" fmla="*/ 5 w 232"/>
                    <a:gd name="T23" fmla="*/ 112 h 228"/>
                    <a:gd name="T24" fmla="*/ 0 w 232"/>
                    <a:gd name="T25" fmla="*/ 121 h 228"/>
                    <a:gd name="T26" fmla="*/ 13 w 232"/>
                    <a:gd name="T27" fmla="*/ 139 h 228"/>
                    <a:gd name="T28" fmla="*/ 9 w 232"/>
                    <a:gd name="T29" fmla="*/ 143 h 228"/>
                    <a:gd name="T30" fmla="*/ 18 w 232"/>
                    <a:gd name="T31" fmla="*/ 148 h 228"/>
                    <a:gd name="T32" fmla="*/ 27 w 232"/>
                    <a:gd name="T33" fmla="*/ 148 h 228"/>
                    <a:gd name="T34" fmla="*/ 45 w 232"/>
                    <a:gd name="T35" fmla="*/ 161 h 228"/>
                    <a:gd name="T36" fmla="*/ 45 w 232"/>
                    <a:gd name="T37" fmla="*/ 166 h 228"/>
                    <a:gd name="T38" fmla="*/ 67 w 232"/>
                    <a:gd name="T39" fmla="*/ 166 h 228"/>
                    <a:gd name="T40" fmla="*/ 72 w 232"/>
                    <a:gd name="T41" fmla="*/ 179 h 228"/>
                    <a:gd name="T42" fmla="*/ 85 w 232"/>
                    <a:gd name="T43" fmla="*/ 170 h 228"/>
                    <a:gd name="T44" fmla="*/ 98 w 232"/>
                    <a:gd name="T45" fmla="*/ 161 h 228"/>
                    <a:gd name="T46" fmla="*/ 210 w 232"/>
                    <a:gd name="T47" fmla="*/ 228 h 228"/>
                    <a:gd name="T48" fmla="*/ 210 w 232"/>
                    <a:gd name="T49" fmla="*/ 219 h 228"/>
                    <a:gd name="T50" fmla="*/ 232 w 232"/>
                    <a:gd name="T51" fmla="*/ 219 h 228"/>
                    <a:gd name="T52" fmla="*/ 228 w 232"/>
                    <a:gd name="T53" fmla="*/ 193 h 228"/>
                    <a:gd name="T54" fmla="*/ 228 w 232"/>
                    <a:gd name="T55" fmla="*/ 67 h 228"/>
                    <a:gd name="T56" fmla="*/ 223 w 232"/>
                    <a:gd name="T57" fmla="*/ 58 h 228"/>
                    <a:gd name="T58" fmla="*/ 228 w 232"/>
                    <a:gd name="T59" fmla="*/ 50 h 228"/>
                    <a:gd name="T60" fmla="*/ 223 w 232"/>
                    <a:gd name="T61" fmla="*/ 41 h 228"/>
                    <a:gd name="T62" fmla="*/ 232 w 232"/>
                    <a:gd name="T63" fmla="*/ 27 h 228"/>
                    <a:gd name="T64" fmla="*/ 228 w 232"/>
                    <a:gd name="T65" fmla="*/ 23 h 228"/>
                    <a:gd name="T66" fmla="*/ 197 w 232"/>
                    <a:gd name="T67" fmla="*/ 18 h 228"/>
                    <a:gd name="T68" fmla="*/ 197 w 232"/>
                    <a:gd name="T69" fmla="*/ 9 h 228"/>
                    <a:gd name="T70" fmla="*/ 183 w 232"/>
                    <a:gd name="T71" fmla="*/ 5 h 228"/>
                    <a:gd name="T72" fmla="*/ 174 w 232"/>
                    <a:gd name="T73" fmla="*/ 5 h 228"/>
                    <a:gd name="T74" fmla="*/ 152 w 232"/>
                    <a:gd name="T75" fmla="*/ 18 h 228"/>
                    <a:gd name="T76" fmla="*/ 156 w 232"/>
                    <a:gd name="T77" fmla="*/ 41 h 228"/>
                    <a:gd name="T78" fmla="*/ 147 w 232"/>
                    <a:gd name="T79" fmla="*/ 50 h 228"/>
                    <a:gd name="T80" fmla="*/ 125 w 232"/>
                    <a:gd name="T81" fmla="*/ 41 h 228"/>
                    <a:gd name="T82" fmla="*/ 98 w 232"/>
                    <a:gd name="T83" fmla="*/ 36 h 228"/>
                    <a:gd name="T84" fmla="*/ 94 w 232"/>
                    <a:gd name="T85" fmla="*/ 32 h 228"/>
                    <a:gd name="T86" fmla="*/ 85 w 232"/>
                    <a:gd name="T87" fmla="*/ 14 h 228"/>
                    <a:gd name="T88" fmla="*/ 72 w 232"/>
                    <a:gd name="T89" fmla="*/ 5 h 228"/>
                    <a:gd name="T90" fmla="*/ 49 w 232"/>
                    <a:gd name="T91" fmla="*/ 5 h 228"/>
                    <a:gd name="T92" fmla="*/ 40 w 232"/>
                    <a:gd name="T9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2" h="228">
                      <a:moveTo>
                        <a:pt x="40" y="0"/>
                      </a:moveTo>
                      <a:lnTo>
                        <a:pt x="36" y="5"/>
                      </a:lnTo>
                      <a:lnTo>
                        <a:pt x="36" y="14"/>
                      </a:lnTo>
                      <a:lnTo>
                        <a:pt x="27" y="23"/>
                      </a:lnTo>
                      <a:lnTo>
                        <a:pt x="18" y="27"/>
                      </a:lnTo>
                      <a:lnTo>
                        <a:pt x="18" y="50"/>
                      </a:lnTo>
                      <a:lnTo>
                        <a:pt x="5" y="54"/>
                      </a:lnTo>
                      <a:lnTo>
                        <a:pt x="0" y="58"/>
                      </a:lnTo>
                      <a:lnTo>
                        <a:pt x="5" y="67"/>
                      </a:lnTo>
                      <a:lnTo>
                        <a:pt x="5" y="85"/>
                      </a:lnTo>
                      <a:lnTo>
                        <a:pt x="9" y="99"/>
                      </a:lnTo>
                      <a:lnTo>
                        <a:pt x="5" y="112"/>
                      </a:lnTo>
                      <a:lnTo>
                        <a:pt x="0" y="121"/>
                      </a:lnTo>
                      <a:lnTo>
                        <a:pt x="13" y="139"/>
                      </a:lnTo>
                      <a:lnTo>
                        <a:pt x="9" y="143"/>
                      </a:lnTo>
                      <a:lnTo>
                        <a:pt x="18" y="148"/>
                      </a:lnTo>
                      <a:lnTo>
                        <a:pt x="27" y="148"/>
                      </a:lnTo>
                      <a:lnTo>
                        <a:pt x="45" y="161"/>
                      </a:lnTo>
                      <a:lnTo>
                        <a:pt x="45" y="166"/>
                      </a:lnTo>
                      <a:lnTo>
                        <a:pt x="67" y="166"/>
                      </a:lnTo>
                      <a:lnTo>
                        <a:pt x="72" y="179"/>
                      </a:lnTo>
                      <a:lnTo>
                        <a:pt x="85" y="170"/>
                      </a:lnTo>
                      <a:lnTo>
                        <a:pt x="98" y="161"/>
                      </a:lnTo>
                      <a:lnTo>
                        <a:pt x="210" y="228"/>
                      </a:lnTo>
                      <a:lnTo>
                        <a:pt x="210" y="219"/>
                      </a:lnTo>
                      <a:lnTo>
                        <a:pt x="232" y="219"/>
                      </a:lnTo>
                      <a:lnTo>
                        <a:pt x="228" y="193"/>
                      </a:lnTo>
                      <a:lnTo>
                        <a:pt x="228" y="67"/>
                      </a:lnTo>
                      <a:lnTo>
                        <a:pt x="223" y="58"/>
                      </a:lnTo>
                      <a:lnTo>
                        <a:pt x="228" y="50"/>
                      </a:lnTo>
                      <a:lnTo>
                        <a:pt x="223" y="41"/>
                      </a:lnTo>
                      <a:lnTo>
                        <a:pt x="232" y="27"/>
                      </a:lnTo>
                      <a:lnTo>
                        <a:pt x="228" y="23"/>
                      </a:lnTo>
                      <a:lnTo>
                        <a:pt x="197" y="18"/>
                      </a:lnTo>
                      <a:lnTo>
                        <a:pt x="197" y="9"/>
                      </a:lnTo>
                      <a:lnTo>
                        <a:pt x="183" y="5"/>
                      </a:lnTo>
                      <a:lnTo>
                        <a:pt x="174" y="5"/>
                      </a:lnTo>
                      <a:lnTo>
                        <a:pt x="152" y="18"/>
                      </a:lnTo>
                      <a:lnTo>
                        <a:pt x="156" y="41"/>
                      </a:lnTo>
                      <a:lnTo>
                        <a:pt x="147" y="50"/>
                      </a:lnTo>
                      <a:lnTo>
                        <a:pt x="125" y="41"/>
                      </a:lnTo>
                      <a:lnTo>
                        <a:pt x="98" y="36"/>
                      </a:lnTo>
                      <a:lnTo>
                        <a:pt x="94" y="32"/>
                      </a:lnTo>
                      <a:lnTo>
                        <a:pt x="85" y="14"/>
                      </a:lnTo>
                      <a:lnTo>
                        <a:pt x="72" y="5"/>
                      </a:lnTo>
                      <a:lnTo>
                        <a:pt x="49" y="5"/>
                      </a:lnTo>
                      <a:lnTo>
                        <a:pt x="40"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32" name="Freeform 31"/>
                <p:cNvSpPr>
                  <a:spLocks/>
                </p:cNvSpPr>
                <p:nvPr/>
              </p:nvSpPr>
              <p:spPr bwMode="gray">
                <a:xfrm>
                  <a:off x="3303" y="2954"/>
                  <a:ext cx="108" cy="219"/>
                </a:xfrm>
                <a:custGeom>
                  <a:avLst/>
                  <a:gdLst>
                    <a:gd name="T0" fmla="*/ 27 w 108"/>
                    <a:gd name="T1" fmla="*/ 219 h 219"/>
                    <a:gd name="T2" fmla="*/ 41 w 108"/>
                    <a:gd name="T3" fmla="*/ 210 h 219"/>
                    <a:gd name="T4" fmla="*/ 58 w 108"/>
                    <a:gd name="T5" fmla="*/ 205 h 219"/>
                    <a:gd name="T6" fmla="*/ 72 w 108"/>
                    <a:gd name="T7" fmla="*/ 174 h 219"/>
                    <a:gd name="T8" fmla="*/ 76 w 108"/>
                    <a:gd name="T9" fmla="*/ 151 h 219"/>
                    <a:gd name="T10" fmla="*/ 94 w 108"/>
                    <a:gd name="T11" fmla="*/ 93 h 219"/>
                    <a:gd name="T12" fmla="*/ 94 w 108"/>
                    <a:gd name="T13" fmla="*/ 80 h 219"/>
                    <a:gd name="T14" fmla="*/ 99 w 108"/>
                    <a:gd name="T15" fmla="*/ 71 h 219"/>
                    <a:gd name="T16" fmla="*/ 94 w 108"/>
                    <a:gd name="T17" fmla="*/ 58 h 219"/>
                    <a:gd name="T18" fmla="*/ 103 w 108"/>
                    <a:gd name="T19" fmla="*/ 67 h 219"/>
                    <a:gd name="T20" fmla="*/ 108 w 108"/>
                    <a:gd name="T21" fmla="*/ 53 h 219"/>
                    <a:gd name="T22" fmla="*/ 103 w 108"/>
                    <a:gd name="T23" fmla="*/ 35 h 219"/>
                    <a:gd name="T24" fmla="*/ 103 w 108"/>
                    <a:gd name="T25" fmla="*/ 26 h 219"/>
                    <a:gd name="T26" fmla="*/ 90 w 108"/>
                    <a:gd name="T27" fmla="*/ 0 h 219"/>
                    <a:gd name="T28" fmla="*/ 81 w 108"/>
                    <a:gd name="T29" fmla="*/ 8 h 219"/>
                    <a:gd name="T30" fmla="*/ 85 w 108"/>
                    <a:gd name="T31" fmla="*/ 17 h 219"/>
                    <a:gd name="T32" fmla="*/ 76 w 108"/>
                    <a:gd name="T33" fmla="*/ 22 h 219"/>
                    <a:gd name="T34" fmla="*/ 67 w 108"/>
                    <a:gd name="T35" fmla="*/ 22 h 219"/>
                    <a:gd name="T36" fmla="*/ 72 w 108"/>
                    <a:gd name="T37" fmla="*/ 35 h 219"/>
                    <a:gd name="T38" fmla="*/ 54 w 108"/>
                    <a:gd name="T39" fmla="*/ 53 h 219"/>
                    <a:gd name="T40" fmla="*/ 27 w 108"/>
                    <a:gd name="T41" fmla="*/ 67 h 219"/>
                    <a:gd name="T42" fmla="*/ 18 w 108"/>
                    <a:gd name="T43" fmla="*/ 67 h 219"/>
                    <a:gd name="T44" fmla="*/ 18 w 108"/>
                    <a:gd name="T45" fmla="*/ 76 h 219"/>
                    <a:gd name="T46" fmla="*/ 9 w 108"/>
                    <a:gd name="T47" fmla="*/ 84 h 219"/>
                    <a:gd name="T48" fmla="*/ 18 w 108"/>
                    <a:gd name="T49" fmla="*/ 120 h 219"/>
                    <a:gd name="T50" fmla="*/ 9 w 108"/>
                    <a:gd name="T51" fmla="*/ 143 h 219"/>
                    <a:gd name="T52" fmla="*/ 5 w 108"/>
                    <a:gd name="T53" fmla="*/ 147 h 219"/>
                    <a:gd name="T54" fmla="*/ 5 w 108"/>
                    <a:gd name="T55" fmla="*/ 156 h 219"/>
                    <a:gd name="T56" fmla="*/ 0 w 108"/>
                    <a:gd name="T57" fmla="*/ 165 h 219"/>
                    <a:gd name="T58" fmla="*/ 9 w 108"/>
                    <a:gd name="T59" fmla="*/ 183 h 219"/>
                    <a:gd name="T60" fmla="*/ 5 w 108"/>
                    <a:gd name="T61" fmla="*/ 187 h 219"/>
                    <a:gd name="T62" fmla="*/ 9 w 108"/>
                    <a:gd name="T63" fmla="*/ 201 h 219"/>
                    <a:gd name="T64" fmla="*/ 27 w 108"/>
                    <a:gd name="T65"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219">
                      <a:moveTo>
                        <a:pt x="27" y="219"/>
                      </a:moveTo>
                      <a:lnTo>
                        <a:pt x="41" y="210"/>
                      </a:lnTo>
                      <a:lnTo>
                        <a:pt x="58" y="205"/>
                      </a:lnTo>
                      <a:lnTo>
                        <a:pt x="72" y="174"/>
                      </a:lnTo>
                      <a:lnTo>
                        <a:pt x="76" y="151"/>
                      </a:lnTo>
                      <a:lnTo>
                        <a:pt x="94" y="93"/>
                      </a:lnTo>
                      <a:lnTo>
                        <a:pt x="94" y="80"/>
                      </a:lnTo>
                      <a:lnTo>
                        <a:pt x="99" y="71"/>
                      </a:lnTo>
                      <a:lnTo>
                        <a:pt x="94" y="58"/>
                      </a:lnTo>
                      <a:lnTo>
                        <a:pt x="103" y="67"/>
                      </a:lnTo>
                      <a:lnTo>
                        <a:pt x="108" y="53"/>
                      </a:lnTo>
                      <a:lnTo>
                        <a:pt x="103" y="35"/>
                      </a:lnTo>
                      <a:lnTo>
                        <a:pt x="103" y="26"/>
                      </a:lnTo>
                      <a:lnTo>
                        <a:pt x="90" y="0"/>
                      </a:lnTo>
                      <a:lnTo>
                        <a:pt x="81" y="8"/>
                      </a:lnTo>
                      <a:lnTo>
                        <a:pt x="85" y="17"/>
                      </a:lnTo>
                      <a:lnTo>
                        <a:pt x="76" y="22"/>
                      </a:lnTo>
                      <a:lnTo>
                        <a:pt x="67" y="22"/>
                      </a:lnTo>
                      <a:lnTo>
                        <a:pt x="72" y="35"/>
                      </a:lnTo>
                      <a:lnTo>
                        <a:pt x="54" y="53"/>
                      </a:lnTo>
                      <a:lnTo>
                        <a:pt x="27" y="67"/>
                      </a:lnTo>
                      <a:lnTo>
                        <a:pt x="18" y="67"/>
                      </a:lnTo>
                      <a:lnTo>
                        <a:pt x="18" y="76"/>
                      </a:lnTo>
                      <a:lnTo>
                        <a:pt x="9" y="84"/>
                      </a:lnTo>
                      <a:lnTo>
                        <a:pt x="18" y="120"/>
                      </a:lnTo>
                      <a:lnTo>
                        <a:pt x="9" y="143"/>
                      </a:lnTo>
                      <a:lnTo>
                        <a:pt x="5" y="147"/>
                      </a:lnTo>
                      <a:lnTo>
                        <a:pt x="5" y="156"/>
                      </a:lnTo>
                      <a:lnTo>
                        <a:pt x="0" y="165"/>
                      </a:lnTo>
                      <a:lnTo>
                        <a:pt x="9" y="183"/>
                      </a:lnTo>
                      <a:lnTo>
                        <a:pt x="5" y="187"/>
                      </a:lnTo>
                      <a:lnTo>
                        <a:pt x="9" y="201"/>
                      </a:lnTo>
                      <a:lnTo>
                        <a:pt x="27" y="21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33" name="Freeform 32"/>
                <p:cNvSpPr>
                  <a:spLocks/>
                </p:cNvSpPr>
                <p:nvPr/>
              </p:nvSpPr>
              <p:spPr bwMode="gray">
                <a:xfrm>
                  <a:off x="3152" y="2913"/>
                  <a:ext cx="44" cy="121"/>
                </a:xfrm>
                <a:custGeom>
                  <a:avLst/>
                  <a:gdLst>
                    <a:gd name="T0" fmla="*/ 4 w 44"/>
                    <a:gd name="T1" fmla="*/ 5 h 121"/>
                    <a:gd name="T2" fmla="*/ 13 w 44"/>
                    <a:gd name="T3" fmla="*/ 18 h 121"/>
                    <a:gd name="T4" fmla="*/ 13 w 44"/>
                    <a:gd name="T5" fmla="*/ 27 h 121"/>
                    <a:gd name="T6" fmla="*/ 8 w 44"/>
                    <a:gd name="T7" fmla="*/ 27 h 121"/>
                    <a:gd name="T8" fmla="*/ 8 w 44"/>
                    <a:gd name="T9" fmla="*/ 49 h 121"/>
                    <a:gd name="T10" fmla="*/ 4 w 44"/>
                    <a:gd name="T11" fmla="*/ 54 h 121"/>
                    <a:gd name="T12" fmla="*/ 0 w 44"/>
                    <a:gd name="T13" fmla="*/ 67 h 121"/>
                    <a:gd name="T14" fmla="*/ 4 w 44"/>
                    <a:gd name="T15" fmla="*/ 72 h 121"/>
                    <a:gd name="T16" fmla="*/ 13 w 44"/>
                    <a:gd name="T17" fmla="*/ 81 h 121"/>
                    <a:gd name="T18" fmla="*/ 22 w 44"/>
                    <a:gd name="T19" fmla="*/ 81 h 121"/>
                    <a:gd name="T20" fmla="*/ 26 w 44"/>
                    <a:gd name="T21" fmla="*/ 90 h 121"/>
                    <a:gd name="T22" fmla="*/ 22 w 44"/>
                    <a:gd name="T23" fmla="*/ 103 h 121"/>
                    <a:gd name="T24" fmla="*/ 31 w 44"/>
                    <a:gd name="T25" fmla="*/ 121 h 121"/>
                    <a:gd name="T26" fmla="*/ 40 w 44"/>
                    <a:gd name="T27" fmla="*/ 117 h 121"/>
                    <a:gd name="T28" fmla="*/ 35 w 44"/>
                    <a:gd name="T29" fmla="*/ 108 h 121"/>
                    <a:gd name="T30" fmla="*/ 44 w 44"/>
                    <a:gd name="T31" fmla="*/ 103 h 121"/>
                    <a:gd name="T32" fmla="*/ 44 w 44"/>
                    <a:gd name="T33" fmla="*/ 76 h 121"/>
                    <a:gd name="T34" fmla="*/ 35 w 44"/>
                    <a:gd name="T35" fmla="*/ 63 h 121"/>
                    <a:gd name="T36" fmla="*/ 26 w 44"/>
                    <a:gd name="T37" fmla="*/ 58 h 121"/>
                    <a:gd name="T38" fmla="*/ 31 w 44"/>
                    <a:gd name="T39" fmla="*/ 67 h 121"/>
                    <a:gd name="T40" fmla="*/ 31 w 44"/>
                    <a:gd name="T41" fmla="*/ 67 h 121"/>
                    <a:gd name="T42" fmla="*/ 35 w 44"/>
                    <a:gd name="T43" fmla="*/ 81 h 121"/>
                    <a:gd name="T44" fmla="*/ 31 w 44"/>
                    <a:gd name="T45" fmla="*/ 85 h 121"/>
                    <a:gd name="T46" fmla="*/ 31 w 44"/>
                    <a:gd name="T47" fmla="*/ 76 h 121"/>
                    <a:gd name="T48" fmla="*/ 22 w 44"/>
                    <a:gd name="T49" fmla="*/ 72 h 121"/>
                    <a:gd name="T50" fmla="*/ 22 w 44"/>
                    <a:gd name="T51" fmla="*/ 54 h 121"/>
                    <a:gd name="T52" fmla="*/ 13 w 44"/>
                    <a:gd name="T53" fmla="*/ 45 h 121"/>
                    <a:gd name="T54" fmla="*/ 17 w 44"/>
                    <a:gd name="T55" fmla="*/ 41 h 121"/>
                    <a:gd name="T56" fmla="*/ 17 w 44"/>
                    <a:gd name="T57" fmla="*/ 18 h 121"/>
                    <a:gd name="T58" fmla="*/ 17 w 44"/>
                    <a:gd name="T59" fmla="*/ 18 h 121"/>
                    <a:gd name="T60" fmla="*/ 17 w 44"/>
                    <a:gd name="T61" fmla="*/ 9 h 121"/>
                    <a:gd name="T62" fmla="*/ 8 w 44"/>
                    <a:gd name="T63" fmla="*/ 0 h 121"/>
                    <a:gd name="T64" fmla="*/ 4 w 44"/>
                    <a:gd name="T65"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121">
                      <a:moveTo>
                        <a:pt x="4" y="5"/>
                      </a:moveTo>
                      <a:lnTo>
                        <a:pt x="13" y="18"/>
                      </a:lnTo>
                      <a:lnTo>
                        <a:pt x="13" y="27"/>
                      </a:lnTo>
                      <a:lnTo>
                        <a:pt x="8" y="27"/>
                      </a:lnTo>
                      <a:lnTo>
                        <a:pt x="8" y="49"/>
                      </a:lnTo>
                      <a:lnTo>
                        <a:pt x="4" y="54"/>
                      </a:lnTo>
                      <a:lnTo>
                        <a:pt x="0" y="67"/>
                      </a:lnTo>
                      <a:lnTo>
                        <a:pt x="4" y="72"/>
                      </a:lnTo>
                      <a:lnTo>
                        <a:pt x="13" y="81"/>
                      </a:lnTo>
                      <a:lnTo>
                        <a:pt x="22" y="81"/>
                      </a:lnTo>
                      <a:lnTo>
                        <a:pt x="26" y="90"/>
                      </a:lnTo>
                      <a:lnTo>
                        <a:pt x="22" y="103"/>
                      </a:lnTo>
                      <a:lnTo>
                        <a:pt x="31" y="121"/>
                      </a:lnTo>
                      <a:lnTo>
                        <a:pt x="40" y="117"/>
                      </a:lnTo>
                      <a:lnTo>
                        <a:pt x="35" y="108"/>
                      </a:lnTo>
                      <a:lnTo>
                        <a:pt x="44" y="103"/>
                      </a:lnTo>
                      <a:lnTo>
                        <a:pt x="44" y="76"/>
                      </a:lnTo>
                      <a:lnTo>
                        <a:pt x="35" y="63"/>
                      </a:lnTo>
                      <a:lnTo>
                        <a:pt x="26" y="58"/>
                      </a:lnTo>
                      <a:lnTo>
                        <a:pt x="31" y="67"/>
                      </a:lnTo>
                      <a:lnTo>
                        <a:pt x="31" y="67"/>
                      </a:lnTo>
                      <a:lnTo>
                        <a:pt x="35" y="81"/>
                      </a:lnTo>
                      <a:lnTo>
                        <a:pt x="31" y="85"/>
                      </a:lnTo>
                      <a:lnTo>
                        <a:pt x="31" y="76"/>
                      </a:lnTo>
                      <a:lnTo>
                        <a:pt x="22" y="72"/>
                      </a:lnTo>
                      <a:lnTo>
                        <a:pt x="22" y="54"/>
                      </a:lnTo>
                      <a:lnTo>
                        <a:pt x="13" y="45"/>
                      </a:lnTo>
                      <a:lnTo>
                        <a:pt x="17" y="41"/>
                      </a:lnTo>
                      <a:lnTo>
                        <a:pt x="17" y="18"/>
                      </a:lnTo>
                      <a:lnTo>
                        <a:pt x="17" y="18"/>
                      </a:lnTo>
                      <a:lnTo>
                        <a:pt x="17" y="9"/>
                      </a:lnTo>
                      <a:lnTo>
                        <a:pt x="8" y="0"/>
                      </a:lnTo>
                      <a:lnTo>
                        <a:pt x="4" y="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34" name="Freeform 33"/>
                <p:cNvSpPr>
                  <a:spLocks/>
                </p:cNvSpPr>
                <p:nvPr/>
              </p:nvSpPr>
              <p:spPr bwMode="gray">
                <a:xfrm>
                  <a:off x="2508" y="2408"/>
                  <a:ext cx="237" cy="224"/>
                </a:xfrm>
                <a:custGeom>
                  <a:avLst/>
                  <a:gdLst>
                    <a:gd name="T0" fmla="*/ 5 w 237"/>
                    <a:gd name="T1" fmla="*/ 152 h 224"/>
                    <a:gd name="T2" fmla="*/ 0 w 237"/>
                    <a:gd name="T3" fmla="*/ 161 h 224"/>
                    <a:gd name="T4" fmla="*/ 5 w 237"/>
                    <a:gd name="T5" fmla="*/ 175 h 224"/>
                    <a:gd name="T6" fmla="*/ 14 w 237"/>
                    <a:gd name="T7" fmla="*/ 184 h 224"/>
                    <a:gd name="T8" fmla="*/ 18 w 237"/>
                    <a:gd name="T9" fmla="*/ 197 h 224"/>
                    <a:gd name="T10" fmla="*/ 27 w 237"/>
                    <a:gd name="T11" fmla="*/ 197 h 224"/>
                    <a:gd name="T12" fmla="*/ 45 w 237"/>
                    <a:gd name="T13" fmla="*/ 188 h 224"/>
                    <a:gd name="T14" fmla="*/ 49 w 237"/>
                    <a:gd name="T15" fmla="*/ 201 h 224"/>
                    <a:gd name="T16" fmla="*/ 54 w 237"/>
                    <a:gd name="T17" fmla="*/ 206 h 224"/>
                    <a:gd name="T18" fmla="*/ 54 w 237"/>
                    <a:gd name="T19" fmla="*/ 215 h 224"/>
                    <a:gd name="T20" fmla="*/ 63 w 237"/>
                    <a:gd name="T21" fmla="*/ 219 h 224"/>
                    <a:gd name="T22" fmla="*/ 67 w 237"/>
                    <a:gd name="T23" fmla="*/ 224 h 224"/>
                    <a:gd name="T24" fmla="*/ 85 w 237"/>
                    <a:gd name="T25" fmla="*/ 219 h 224"/>
                    <a:gd name="T26" fmla="*/ 90 w 237"/>
                    <a:gd name="T27" fmla="*/ 224 h 224"/>
                    <a:gd name="T28" fmla="*/ 94 w 237"/>
                    <a:gd name="T29" fmla="*/ 219 h 224"/>
                    <a:gd name="T30" fmla="*/ 103 w 237"/>
                    <a:gd name="T31" fmla="*/ 193 h 224"/>
                    <a:gd name="T32" fmla="*/ 112 w 237"/>
                    <a:gd name="T33" fmla="*/ 188 h 224"/>
                    <a:gd name="T34" fmla="*/ 116 w 237"/>
                    <a:gd name="T35" fmla="*/ 170 h 224"/>
                    <a:gd name="T36" fmla="*/ 125 w 237"/>
                    <a:gd name="T37" fmla="*/ 175 h 224"/>
                    <a:gd name="T38" fmla="*/ 161 w 237"/>
                    <a:gd name="T39" fmla="*/ 148 h 224"/>
                    <a:gd name="T40" fmla="*/ 179 w 237"/>
                    <a:gd name="T41" fmla="*/ 152 h 224"/>
                    <a:gd name="T42" fmla="*/ 188 w 237"/>
                    <a:gd name="T43" fmla="*/ 152 h 224"/>
                    <a:gd name="T44" fmla="*/ 192 w 237"/>
                    <a:gd name="T45" fmla="*/ 143 h 224"/>
                    <a:gd name="T46" fmla="*/ 201 w 237"/>
                    <a:gd name="T47" fmla="*/ 143 h 224"/>
                    <a:gd name="T48" fmla="*/ 228 w 237"/>
                    <a:gd name="T49" fmla="*/ 143 h 224"/>
                    <a:gd name="T50" fmla="*/ 237 w 237"/>
                    <a:gd name="T51" fmla="*/ 134 h 224"/>
                    <a:gd name="T52" fmla="*/ 237 w 237"/>
                    <a:gd name="T53" fmla="*/ 121 h 224"/>
                    <a:gd name="T54" fmla="*/ 237 w 237"/>
                    <a:gd name="T55" fmla="*/ 85 h 224"/>
                    <a:gd name="T56" fmla="*/ 224 w 237"/>
                    <a:gd name="T57" fmla="*/ 94 h 224"/>
                    <a:gd name="T58" fmla="*/ 219 w 237"/>
                    <a:gd name="T59" fmla="*/ 90 h 224"/>
                    <a:gd name="T60" fmla="*/ 224 w 237"/>
                    <a:gd name="T61" fmla="*/ 76 h 224"/>
                    <a:gd name="T62" fmla="*/ 210 w 237"/>
                    <a:gd name="T63" fmla="*/ 72 h 224"/>
                    <a:gd name="T64" fmla="*/ 206 w 237"/>
                    <a:gd name="T65" fmla="*/ 76 h 224"/>
                    <a:gd name="T66" fmla="*/ 201 w 237"/>
                    <a:gd name="T67" fmla="*/ 67 h 224"/>
                    <a:gd name="T68" fmla="*/ 188 w 237"/>
                    <a:gd name="T69" fmla="*/ 67 h 224"/>
                    <a:gd name="T70" fmla="*/ 188 w 237"/>
                    <a:gd name="T71" fmla="*/ 58 h 224"/>
                    <a:gd name="T72" fmla="*/ 103 w 237"/>
                    <a:gd name="T73" fmla="*/ 0 h 224"/>
                    <a:gd name="T74" fmla="*/ 85 w 237"/>
                    <a:gd name="T75" fmla="*/ 0 h 224"/>
                    <a:gd name="T76" fmla="*/ 94 w 237"/>
                    <a:gd name="T77" fmla="*/ 130 h 224"/>
                    <a:gd name="T78" fmla="*/ 99 w 237"/>
                    <a:gd name="T79" fmla="*/ 134 h 224"/>
                    <a:gd name="T80" fmla="*/ 99 w 237"/>
                    <a:gd name="T81" fmla="*/ 139 h 224"/>
                    <a:gd name="T82" fmla="*/ 45 w 237"/>
                    <a:gd name="T83" fmla="*/ 143 h 224"/>
                    <a:gd name="T84" fmla="*/ 41 w 237"/>
                    <a:gd name="T85" fmla="*/ 134 h 224"/>
                    <a:gd name="T86" fmla="*/ 32 w 237"/>
                    <a:gd name="T87" fmla="*/ 143 h 224"/>
                    <a:gd name="T88" fmla="*/ 23 w 237"/>
                    <a:gd name="T89" fmla="*/ 139 h 224"/>
                    <a:gd name="T90" fmla="*/ 18 w 237"/>
                    <a:gd name="T91" fmla="*/ 148 h 224"/>
                    <a:gd name="T92" fmla="*/ 14 w 237"/>
                    <a:gd name="T93" fmla="*/ 134 h 224"/>
                    <a:gd name="T94" fmla="*/ 9 w 237"/>
                    <a:gd name="T95" fmla="*/ 139 h 224"/>
                    <a:gd name="T96" fmla="*/ 14 w 237"/>
                    <a:gd name="T97" fmla="*/ 152 h 224"/>
                    <a:gd name="T98" fmla="*/ 5 w 237"/>
                    <a:gd name="T99" fmla="*/ 15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7" h="224">
                      <a:moveTo>
                        <a:pt x="5" y="152"/>
                      </a:moveTo>
                      <a:lnTo>
                        <a:pt x="0" y="161"/>
                      </a:lnTo>
                      <a:lnTo>
                        <a:pt x="5" y="175"/>
                      </a:lnTo>
                      <a:lnTo>
                        <a:pt x="14" y="184"/>
                      </a:lnTo>
                      <a:lnTo>
                        <a:pt x="18" y="197"/>
                      </a:lnTo>
                      <a:lnTo>
                        <a:pt x="27" y="197"/>
                      </a:lnTo>
                      <a:lnTo>
                        <a:pt x="45" y="188"/>
                      </a:lnTo>
                      <a:lnTo>
                        <a:pt x="49" y="201"/>
                      </a:lnTo>
                      <a:lnTo>
                        <a:pt x="54" y="206"/>
                      </a:lnTo>
                      <a:lnTo>
                        <a:pt x="54" y="215"/>
                      </a:lnTo>
                      <a:lnTo>
                        <a:pt x="63" y="219"/>
                      </a:lnTo>
                      <a:lnTo>
                        <a:pt x="67" y="224"/>
                      </a:lnTo>
                      <a:lnTo>
                        <a:pt x="85" y="219"/>
                      </a:lnTo>
                      <a:lnTo>
                        <a:pt x="90" y="224"/>
                      </a:lnTo>
                      <a:lnTo>
                        <a:pt x="94" y="219"/>
                      </a:lnTo>
                      <a:lnTo>
                        <a:pt x="103" y="193"/>
                      </a:lnTo>
                      <a:lnTo>
                        <a:pt x="112" y="188"/>
                      </a:lnTo>
                      <a:lnTo>
                        <a:pt x="116" y="170"/>
                      </a:lnTo>
                      <a:lnTo>
                        <a:pt x="125" y="175"/>
                      </a:lnTo>
                      <a:lnTo>
                        <a:pt x="161" y="148"/>
                      </a:lnTo>
                      <a:lnTo>
                        <a:pt x="179" y="152"/>
                      </a:lnTo>
                      <a:lnTo>
                        <a:pt x="188" y="152"/>
                      </a:lnTo>
                      <a:lnTo>
                        <a:pt x="192" y="143"/>
                      </a:lnTo>
                      <a:lnTo>
                        <a:pt x="201" y="143"/>
                      </a:lnTo>
                      <a:lnTo>
                        <a:pt x="228" y="143"/>
                      </a:lnTo>
                      <a:lnTo>
                        <a:pt x="237" y="134"/>
                      </a:lnTo>
                      <a:lnTo>
                        <a:pt x="237" y="121"/>
                      </a:lnTo>
                      <a:lnTo>
                        <a:pt x="237" y="85"/>
                      </a:lnTo>
                      <a:lnTo>
                        <a:pt x="224" y="94"/>
                      </a:lnTo>
                      <a:lnTo>
                        <a:pt x="219" y="90"/>
                      </a:lnTo>
                      <a:lnTo>
                        <a:pt x="224" y="76"/>
                      </a:lnTo>
                      <a:lnTo>
                        <a:pt x="210" y="72"/>
                      </a:lnTo>
                      <a:lnTo>
                        <a:pt x="206" y="76"/>
                      </a:lnTo>
                      <a:lnTo>
                        <a:pt x="201" y="67"/>
                      </a:lnTo>
                      <a:lnTo>
                        <a:pt x="188" y="67"/>
                      </a:lnTo>
                      <a:lnTo>
                        <a:pt x="188" y="58"/>
                      </a:lnTo>
                      <a:lnTo>
                        <a:pt x="103" y="0"/>
                      </a:lnTo>
                      <a:lnTo>
                        <a:pt x="85" y="0"/>
                      </a:lnTo>
                      <a:lnTo>
                        <a:pt x="94" y="130"/>
                      </a:lnTo>
                      <a:lnTo>
                        <a:pt x="99" y="134"/>
                      </a:lnTo>
                      <a:lnTo>
                        <a:pt x="99" y="139"/>
                      </a:lnTo>
                      <a:lnTo>
                        <a:pt x="45" y="143"/>
                      </a:lnTo>
                      <a:lnTo>
                        <a:pt x="41" y="134"/>
                      </a:lnTo>
                      <a:lnTo>
                        <a:pt x="32" y="143"/>
                      </a:lnTo>
                      <a:lnTo>
                        <a:pt x="23" y="139"/>
                      </a:lnTo>
                      <a:lnTo>
                        <a:pt x="18" y="148"/>
                      </a:lnTo>
                      <a:lnTo>
                        <a:pt x="14" y="134"/>
                      </a:lnTo>
                      <a:lnTo>
                        <a:pt x="9" y="139"/>
                      </a:lnTo>
                      <a:lnTo>
                        <a:pt x="14" y="152"/>
                      </a:lnTo>
                      <a:lnTo>
                        <a:pt x="5" y="15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35" name="Freeform 34"/>
                <p:cNvSpPr>
                  <a:spLocks noEditPoints="1"/>
                </p:cNvSpPr>
                <p:nvPr/>
              </p:nvSpPr>
              <p:spPr bwMode="gray">
                <a:xfrm>
                  <a:off x="2879" y="2216"/>
                  <a:ext cx="9" cy="9"/>
                </a:xfrm>
                <a:custGeom>
                  <a:avLst/>
                  <a:gdLst>
                    <a:gd name="T0" fmla="*/ 0 w 9"/>
                    <a:gd name="T1" fmla="*/ 0 h 9"/>
                    <a:gd name="T2" fmla="*/ 0 w 9"/>
                    <a:gd name="T3" fmla="*/ 0 h 9"/>
                    <a:gd name="T4" fmla="*/ 0 w 9"/>
                    <a:gd name="T5" fmla="*/ 0 h 9"/>
                    <a:gd name="T6" fmla="*/ 0 w 9"/>
                    <a:gd name="T7" fmla="*/ 0 h 9"/>
                    <a:gd name="T8" fmla="*/ 5 w 9"/>
                    <a:gd name="T9" fmla="*/ 5 h 9"/>
                    <a:gd name="T10" fmla="*/ 0 w 9"/>
                    <a:gd name="T11" fmla="*/ 5 h 9"/>
                    <a:gd name="T12" fmla="*/ 5 w 9"/>
                    <a:gd name="T13" fmla="*/ 9 h 9"/>
                    <a:gd name="T14" fmla="*/ 9 w 9"/>
                    <a:gd name="T15" fmla="*/ 9 h 9"/>
                    <a:gd name="T16" fmla="*/ 5 w 9"/>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0" y="0"/>
                      </a:moveTo>
                      <a:lnTo>
                        <a:pt x="0" y="0"/>
                      </a:lnTo>
                      <a:lnTo>
                        <a:pt x="0" y="0"/>
                      </a:lnTo>
                      <a:lnTo>
                        <a:pt x="0" y="0"/>
                      </a:lnTo>
                      <a:close/>
                      <a:moveTo>
                        <a:pt x="5" y="5"/>
                      </a:moveTo>
                      <a:lnTo>
                        <a:pt x="0" y="5"/>
                      </a:lnTo>
                      <a:lnTo>
                        <a:pt x="5" y="9"/>
                      </a:lnTo>
                      <a:lnTo>
                        <a:pt x="9" y="9"/>
                      </a:lnTo>
                      <a:lnTo>
                        <a:pt x="5" y="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36" name="Freeform 35"/>
                <p:cNvSpPr>
                  <a:spLocks/>
                </p:cNvSpPr>
                <p:nvPr/>
              </p:nvSpPr>
              <p:spPr bwMode="gray">
                <a:xfrm>
                  <a:off x="2441" y="2373"/>
                  <a:ext cx="170" cy="187"/>
                </a:xfrm>
                <a:custGeom>
                  <a:avLst/>
                  <a:gdLst>
                    <a:gd name="T0" fmla="*/ 0 w 170"/>
                    <a:gd name="T1" fmla="*/ 89 h 187"/>
                    <a:gd name="T2" fmla="*/ 5 w 170"/>
                    <a:gd name="T3" fmla="*/ 98 h 187"/>
                    <a:gd name="T4" fmla="*/ 9 w 170"/>
                    <a:gd name="T5" fmla="*/ 98 h 187"/>
                    <a:gd name="T6" fmla="*/ 9 w 170"/>
                    <a:gd name="T7" fmla="*/ 107 h 187"/>
                    <a:gd name="T8" fmla="*/ 5 w 170"/>
                    <a:gd name="T9" fmla="*/ 120 h 187"/>
                    <a:gd name="T10" fmla="*/ 14 w 170"/>
                    <a:gd name="T11" fmla="*/ 125 h 187"/>
                    <a:gd name="T12" fmla="*/ 9 w 170"/>
                    <a:gd name="T13" fmla="*/ 147 h 187"/>
                    <a:gd name="T14" fmla="*/ 14 w 170"/>
                    <a:gd name="T15" fmla="*/ 152 h 187"/>
                    <a:gd name="T16" fmla="*/ 9 w 170"/>
                    <a:gd name="T17" fmla="*/ 160 h 187"/>
                    <a:gd name="T18" fmla="*/ 9 w 170"/>
                    <a:gd name="T19" fmla="*/ 169 h 187"/>
                    <a:gd name="T20" fmla="*/ 14 w 170"/>
                    <a:gd name="T21" fmla="*/ 165 h 187"/>
                    <a:gd name="T22" fmla="*/ 41 w 170"/>
                    <a:gd name="T23" fmla="*/ 160 h 187"/>
                    <a:gd name="T24" fmla="*/ 45 w 170"/>
                    <a:gd name="T25" fmla="*/ 169 h 187"/>
                    <a:gd name="T26" fmla="*/ 54 w 170"/>
                    <a:gd name="T27" fmla="*/ 169 h 187"/>
                    <a:gd name="T28" fmla="*/ 72 w 170"/>
                    <a:gd name="T29" fmla="*/ 187 h 187"/>
                    <a:gd name="T30" fmla="*/ 81 w 170"/>
                    <a:gd name="T31" fmla="*/ 187 h 187"/>
                    <a:gd name="T32" fmla="*/ 76 w 170"/>
                    <a:gd name="T33" fmla="*/ 174 h 187"/>
                    <a:gd name="T34" fmla="*/ 81 w 170"/>
                    <a:gd name="T35" fmla="*/ 169 h 187"/>
                    <a:gd name="T36" fmla="*/ 85 w 170"/>
                    <a:gd name="T37" fmla="*/ 183 h 187"/>
                    <a:gd name="T38" fmla="*/ 90 w 170"/>
                    <a:gd name="T39" fmla="*/ 174 h 187"/>
                    <a:gd name="T40" fmla="*/ 99 w 170"/>
                    <a:gd name="T41" fmla="*/ 178 h 187"/>
                    <a:gd name="T42" fmla="*/ 108 w 170"/>
                    <a:gd name="T43" fmla="*/ 169 h 187"/>
                    <a:gd name="T44" fmla="*/ 112 w 170"/>
                    <a:gd name="T45" fmla="*/ 178 h 187"/>
                    <a:gd name="T46" fmla="*/ 166 w 170"/>
                    <a:gd name="T47" fmla="*/ 174 h 187"/>
                    <a:gd name="T48" fmla="*/ 166 w 170"/>
                    <a:gd name="T49" fmla="*/ 169 h 187"/>
                    <a:gd name="T50" fmla="*/ 161 w 170"/>
                    <a:gd name="T51" fmla="*/ 165 h 187"/>
                    <a:gd name="T52" fmla="*/ 152 w 170"/>
                    <a:gd name="T53" fmla="*/ 35 h 187"/>
                    <a:gd name="T54" fmla="*/ 170 w 170"/>
                    <a:gd name="T55" fmla="*/ 35 h 187"/>
                    <a:gd name="T56" fmla="*/ 116 w 170"/>
                    <a:gd name="T57" fmla="*/ 0 h 187"/>
                    <a:gd name="T58" fmla="*/ 116 w 170"/>
                    <a:gd name="T59" fmla="*/ 17 h 187"/>
                    <a:gd name="T60" fmla="*/ 72 w 170"/>
                    <a:gd name="T61" fmla="*/ 17 h 187"/>
                    <a:gd name="T62" fmla="*/ 67 w 170"/>
                    <a:gd name="T63" fmla="*/ 58 h 187"/>
                    <a:gd name="T64" fmla="*/ 58 w 170"/>
                    <a:gd name="T65" fmla="*/ 58 h 187"/>
                    <a:gd name="T66" fmla="*/ 54 w 170"/>
                    <a:gd name="T67" fmla="*/ 62 h 187"/>
                    <a:gd name="T68" fmla="*/ 54 w 170"/>
                    <a:gd name="T69" fmla="*/ 89 h 187"/>
                    <a:gd name="T70" fmla="*/ 5 w 170"/>
                    <a:gd name="T71" fmla="*/ 93 h 187"/>
                    <a:gd name="T72" fmla="*/ 0 w 170"/>
                    <a:gd name="T73" fmla="*/ 8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87">
                      <a:moveTo>
                        <a:pt x="0" y="89"/>
                      </a:moveTo>
                      <a:lnTo>
                        <a:pt x="5" y="98"/>
                      </a:lnTo>
                      <a:lnTo>
                        <a:pt x="9" y="98"/>
                      </a:lnTo>
                      <a:lnTo>
                        <a:pt x="9" y="107"/>
                      </a:lnTo>
                      <a:lnTo>
                        <a:pt x="5" y="120"/>
                      </a:lnTo>
                      <a:lnTo>
                        <a:pt x="14" y="125"/>
                      </a:lnTo>
                      <a:lnTo>
                        <a:pt x="9" y="147"/>
                      </a:lnTo>
                      <a:lnTo>
                        <a:pt x="14" y="152"/>
                      </a:lnTo>
                      <a:lnTo>
                        <a:pt x="9" y="160"/>
                      </a:lnTo>
                      <a:lnTo>
                        <a:pt x="9" y="169"/>
                      </a:lnTo>
                      <a:lnTo>
                        <a:pt x="14" y="165"/>
                      </a:lnTo>
                      <a:lnTo>
                        <a:pt x="41" y="160"/>
                      </a:lnTo>
                      <a:lnTo>
                        <a:pt x="45" y="169"/>
                      </a:lnTo>
                      <a:lnTo>
                        <a:pt x="54" y="169"/>
                      </a:lnTo>
                      <a:lnTo>
                        <a:pt x="72" y="187"/>
                      </a:lnTo>
                      <a:lnTo>
                        <a:pt x="81" y="187"/>
                      </a:lnTo>
                      <a:lnTo>
                        <a:pt x="76" y="174"/>
                      </a:lnTo>
                      <a:lnTo>
                        <a:pt x="81" y="169"/>
                      </a:lnTo>
                      <a:lnTo>
                        <a:pt x="85" y="183"/>
                      </a:lnTo>
                      <a:lnTo>
                        <a:pt x="90" y="174"/>
                      </a:lnTo>
                      <a:lnTo>
                        <a:pt x="99" y="178"/>
                      </a:lnTo>
                      <a:lnTo>
                        <a:pt x="108" y="169"/>
                      </a:lnTo>
                      <a:lnTo>
                        <a:pt x="112" y="178"/>
                      </a:lnTo>
                      <a:lnTo>
                        <a:pt x="166" y="174"/>
                      </a:lnTo>
                      <a:lnTo>
                        <a:pt x="166" y="169"/>
                      </a:lnTo>
                      <a:lnTo>
                        <a:pt x="161" y="165"/>
                      </a:lnTo>
                      <a:lnTo>
                        <a:pt x="152" y="35"/>
                      </a:lnTo>
                      <a:lnTo>
                        <a:pt x="170" y="35"/>
                      </a:lnTo>
                      <a:lnTo>
                        <a:pt x="116" y="0"/>
                      </a:lnTo>
                      <a:lnTo>
                        <a:pt x="116" y="17"/>
                      </a:lnTo>
                      <a:lnTo>
                        <a:pt x="72" y="17"/>
                      </a:lnTo>
                      <a:lnTo>
                        <a:pt x="67" y="58"/>
                      </a:lnTo>
                      <a:lnTo>
                        <a:pt x="58" y="58"/>
                      </a:lnTo>
                      <a:lnTo>
                        <a:pt x="54" y="62"/>
                      </a:lnTo>
                      <a:lnTo>
                        <a:pt x="54" y="89"/>
                      </a:lnTo>
                      <a:lnTo>
                        <a:pt x="5" y="93"/>
                      </a:lnTo>
                      <a:lnTo>
                        <a:pt x="0" y="8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37" name="Freeform 36"/>
                <p:cNvSpPr>
                  <a:spLocks/>
                </p:cNvSpPr>
                <p:nvPr/>
              </p:nvSpPr>
              <p:spPr bwMode="gray">
                <a:xfrm>
                  <a:off x="3509" y="3079"/>
                  <a:ext cx="9" cy="13"/>
                </a:xfrm>
                <a:custGeom>
                  <a:avLst/>
                  <a:gdLst>
                    <a:gd name="T0" fmla="*/ 0 w 9"/>
                    <a:gd name="T1" fmla="*/ 13 h 13"/>
                    <a:gd name="T2" fmla="*/ 9 w 9"/>
                    <a:gd name="T3" fmla="*/ 4 h 13"/>
                    <a:gd name="T4" fmla="*/ 4 w 9"/>
                    <a:gd name="T5" fmla="*/ 0 h 13"/>
                    <a:gd name="T6" fmla="*/ 0 w 9"/>
                    <a:gd name="T7" fmla="*/ 0 h 13"/>
                    <a:gd name="T8" fmla="*/ 0 w 9"/>
                    <a:gd name="T9" fmla="*/ 4 h 13"/>
                    <a:gd name="T10" fmla="*/ 0 w 9"/>
                    <a:gd name="T11" fmla="*/ 13 h 13"/>
                    <a:gd name="T12" fmla="*/ 0 w 9"/>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9" h="13">
                      <a:moveTo>
                        <a:pt x="0" y="13"/>
                      </a:moveTo>
                      <a:lnTo>
                        <a:pt x="9" y="4"/>
                      </a:lnTo>
                      <a:lnTo>
                        <a:pt x="4" y="0"/>
                      </a:lnTo>
                      <a:lnTo>
                        <a:pt x="0" y="0"/>
                      </a:lnTo>
                      <a:lnTo>
                        <a:pt x="0" y="4"/>
                      </a:lnTo>
                      <a:lnTo>
                        <a:pt x="0" y="13"/>
                      </a:lnTo>
                      <a:lnTo>
                        <a:pt x="0" y="1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38" name="Freeform 37"/>
                <p:cNvSpPr>
                  <a:spLocks/>
                </p:cNvSpPr>
                <p:nvPr/>
              </p:nvSpPr>
              <p:spPr bwMode="gray">
                <a:xfrm>
                  <a:off x="2495" y="2221"/>
                  <a:ext cx="174" cy="143"/>
                </a:xfrm>
                <a:custGeom>
                  <a:avLst/>
                  <a:gdLst>
                    <a:gd name="T0" fmla="*/ 0 w 174"/>
                    <a:gd name="T1" fmla="*/ 138 h 143"/>
                    <a:gd name="T2" fmla="*/ 62 w 174"/>
                    <a:gd name="T3" fmla="*/ 143 h 143"/>
                    <a:gd name="T4" fmla="*/ 67 w 174"/>
                    <a:gd name="T5" fmla="*/ 129 h 143"/>
                    <a:gd name="T6" fmla="*/ 76 w 174"/>
                    <a:gd name="T7" fmla="*/ 116 h 143"/>
                    <a:gd name="T8" fmla="*/ 94 w 174"/>
                    <a:gd name="T9" fmla="*/ 111 h 143"/>
                    <a:gd name="T10" fmla="*/ 103 w 174"/>
                    <a:gd name="T11" fmla="*/ 111 h 143"/>
                    <a:gd name="T12" fmla="*/ 143 w 174"/>
                    <a:gd name="T13" fmla="*/ 80 h 143"/>
                    <a:gd name="T14" fmla="*/ 152 w 174"/>
                    <a:gd name="T15" fmla="*/ 67 h 143"/>
                    <a:gd name="T16" fmla="*/ 170 w 174"/>
                    <a:gd name="T17" fmla="*/ 71 h 143"/>
                    <a:gd name="T18" fmla="*/ 174 w 174"/>
                    <a:gd name="T19" fmla="*/ 62 h 143"/>
                    <a:gd name="T20" fmla="*/ 165 w 174"/>
                    <a:gd name="T21" fmla="*/ 58 h 143"/>
                    <a:gd name="T22" fmla="*/ 161 w 174"/>
                    <a:gd name="T23" fmla="*/ 40 h 143"/>
                    <a:gd name="T24" fmla="*/ 161 w 174"/>
                    <a:gd name="T25" fmla="*/ 26 h 143"/>
                    <a:gd name="T26" fmla="*/ 156 w 174"/>
                    <a:gd name="T27" fmla="*/ 13 h 143"/>
                    <a:gd name="T28" fmla="*/ 147 w 174"/>
                    <a:gd name="T29" fmla="*/ 9 h 143"/>
                    <a:gd name="T30" fmla="*/ 147 w 174"/>
                    <a:gd name="T31" fmla="*/ 4 h 143"/>
                    <a:gd name="T32" fmla="*/ 138 w 174"/>
                    <a:gd name="T33" fmla="*/ 9 h 143"/>
                    <a:gd name="T34" fmla="*/ 129 w 174"/>
                    <a:gd name="T35" fmla="*/ 9 h 143"/>
                    <a:gd name="T36" fmla="*/ 116 w 174"/>
                    <a:gd name="T37" fmla="*/ 4 h 143"/>
                    <a:gd name="T38" fmla="*/ 107 w 174"/>
                    <a:gd name="T39" fmla="*/ 0 h 143"/>
                    <a:gd name="T40" fmla="*/ 103 w 174"/>
                    <a:gd name="T41" fmla="*/ 4 h 143"/>
                    <a:gd name="T42" fmla="*/ 94 w 174"/>
                    <a:gd name="T43" fmla="*/ 22 h 143"/>
                    <a:gd name="T44" fmla="*/ 67 w 174"/>
                    <a:gd name="T45" fmla="*/ 40 h 143"/>
                    <a:gd name="T46" fmla="*/ 58 w 174"/>
                    <a:gd name="T47" fmla="*/ 53 h 143"/>
                    <a:gd name="T48" fmla="*/ 58 w 174"/>
                    <a:gd name="T49" fmla="*/ 62 h 143"/>
                    <a:gd name="T50" fmla="*/ 49 w 174"/>
                    <a:gd name="T51" fmla="*/ 71 h 143"/>
                    <a:gd name="T52" fmla="*/ 49 w 174"/>
                    <a:gd name="T53" fmla="*/ 89 h 143"/>
                    <a:gd name="T54" fmla="*/ 54 w 174"/>
                    <a:gd name="T55" fmla="*/ 94 h 143"/>
                    <a:gd name="T56" fmla="*/ 54 w 174"/>
                    <a:gd name="T57" fmla="*/ 98 h 143"/>
                    <a:gd name="T58" fmla="*/ 4 w 174"/>
                    <a:gd name="T59" fmla="*/ 134 h 143"/>
                    <a:gd name="T60" fmla="*/ 0 w 174"/>
                    <a:gd name="T61"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43">
                      <a:moveTo>
                        <a:pt x="0" y="138"/>
                      </a:moveTo>
                      <a:lnTo>
                        <a:pt x="62" y="143"/>
                      </a:lnTo>
                      <a:lnTo>
                        <a:pt x="67" y="129"/>
                      </a:lnTo>
                      <a:lnTo>
                        <a:pt x="76" y="116"/>
                      </a:lnTo>
                      <a:lnTo>
                        <a:pt x="94" y="111"/>
                      </a:lnTo>
                      <a:lnTo>
                        <a:pt x="103" y="111"/>
                      </a:lnTo>
                      <a:lnTo>
                        <a:pt x="143" y="80"/>
                      </a:lnTo>
                      <a:lnTo>
                        <a:pt x="152" y="67"/>
                      </a:lnTo>
                      <a:lnTo>
                        <a:pt x="170" y="71"/>
                      </a:lnTo>
                      <a:lnTo>
                        <a:pt x="174" y="62"/>
                      </a:lnTo>
                      <a:lnTo>
                        <a:pt x="165" y="58"/>
                      </a:lnTo>
                      <a:lnTo>
                        <a:pt x="161" y="40"/>
                      </a:lnTo>
                      <a:lnTo>
                        <a:pt x="161" y="26"/>
                      </a:lnTo>
                      <a:lnTo>
                        <a:pt x="156" y="13"/>
                      </a:lnTo>
                      <a:lnTo>
                        <a:pt x="147" y="9"/>
                      </a:lnTo>
                      <a:lnTo>
                        <a:pt x="147" y="4"/>
                      </a:lnTo>
                      <a:lnTo>
                        <a:pt x="138" y="9"/>
                      </a:lnTo>
                      <a:lnTo>
                        <a:pt x="129" y="9"/>
                      </a:lnTo>
                      <a:lnTo>
                        <a:pt x="116" y="4"/>
                      </a:lnTo>
                      <a:lnTo>
                        <a:pt x="107" y="0"/>
                      </a:lnTo>
                      <a:lnTo>
                        <a:pt x="103" y="4"/>
                      </a:lnTo>
                      <a:lnTo>
                        <a:pt x="94" y="22"/>
                      </a:lnTo>
                      <a:lnTo>
                        <a:pt x="67" y="40"/>
                      </a:lnTo>
                      <a:lnTo>
                        <a:pt x="58" y="53"/>
                      </a:lnTo>
                      <a:lnTo>
                        <a:pt x="58" y="62"/>
                      </a:lnTo>
                      <a:lnTo>
                        <a:pt x="49" y="71"/>
                      </a:lnTo>
                      <a:lnTo>
                        <a:pt x="49" y="89"/>
                      </a:lnTo>
                      <a:lnTo>
                        <a:pt x="54" y="94"/>
                      </a:lnTo>
                      <a:lnTo>
                        <a:pt x="54" y="98"/>
                      </a:lnTo>
                      <a:lnTo>
                        <a:pt x="4" y="134"/>
                      </a:lnTo>
                      <a:lnTo>
                        <a:pt x="0" y="13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39" name="Freeform 38"/>
                <p:cNvSpPr>
                  <a:spLocks/>
                </p:cNvSpPr>
                <p:nvPr/>
              </p:nvSpPr>
              <p:spPr bwMode="gray">
                <a:xfrm>
                  <a:off x="3120" y="2931"/>
                  <a:ext cx="148" cy="259"/>
                </a:xfrm>
                <a:custGeom>
                  <a:avLst/>
                  <a:gdLst>
                    <a:gd name="T0" fmla="*/ 0 w 148"/>
                    <a:gd name="T1" fmla="*/ 81 h 259"/>
                    <a:gd name="T2" fmla="*/ 5 w 148"/>
                    <a:gd name="T3" fmla="*/ 85 h 259"/>
                    <a:gd name="T4" fmla="*/ 18 w 148"/>
                    <a:gd name="T5" fmla="*/ 85 h 259"/>
                    <a:gd name="T6" fmla="*/ 36 w 148"/>
                    <a:gd name="T7" fmla="*/ 94 h 259"/>
                    <a:gd name="T8" fmla="*/ 40 w 148"/>
                    <a:gd name="T9" fmla="*/ 130 h 259"/>
                    <a:gd name="T10" fmla="*/ 36 w 148"/>
                    <a:gd name="T11" fmla="*/ 139 h 259"/>
                    <a:gd name="T12" fmla="*/ 40 w 148"/>
                    <a:gd name="T13" fmla="*/ 148 h 259"/>
                    <a:gd name="T14" fmla="*/ 32 w 148"/>
                    <a:gd name="T15" fmla="*/ 170 h 259"/>
                    <a:gd name="T16" fmla="*/ 18 w 148"/>
                    <a:gd name="T17" fmla="*/ 188 h 259"/>
                    <a:gd name="T18" fmla="*/ 18 w 148"/>
                    <a:gd name="T19" fmla="*/ 192 h 259"/>
                    <a:gd name="T20" fmla="*/ 23 w 148"/>
                    <a:gd name="T21" fmla="*/ 228 h 259"/>
                    <a:gd name="T22" fmla="*/ 23 w 148"/>
                    <a:gd name="T23" fmla="*/ 237 h 259"/>
                    <a:gd name="T24" fmla="*/ 23 w 148"/>
                    <a:gd name="T25" fmla="*/ 242 h 259"/>
                    <a:gd name="T26" fmla="*/ 23 w 148"/>
                    <a:gd name="T27" fmla="*/ 246 h 259"/>
                    <a:gd name="T28" fmla="*/ 23 w 148"/>
                    <a:gd name="T29" fmla="*/ 259 h 259"/>
                    <a:gd name="T30" fmla="*/ 36 w 148"/>
                    <a:gd name="T31" fmla="*/ 255 h 259"/>
                    <a:gd name="T32" fmla="*/ 36 w 148"/>
                    <a:gd name="T33" fmla="*/ 242 h 259"/>
                    <a:gd name="T34" fmla="*/ 27 w 148"/>
                    <a:gd name="T35" fmla="*/ 242 h 259"/>
                    <a:gd name="T36" fmla="*/ 36 w 148"/>
                    <a:gd name="T37" fmla="*/ 233 h 259"/>
                    <a:gd name="T38" fmla="*/ 67 w 148"/>
                    <a:gd name="T39" fmla="*/ 219 h 259"/>
                    <a:gd name="T40" fmla="*/ 72 w 148"/>
                    <a:gd name="T41" fmla="*/ 210 h 259"/>
                    <a:gd name="T42" fmla="*/ 67 w 148"/>
                    <a:gd name="T43" fmla="*/ 210 h 259"/>
                    <a:gd name="T44" fmla="*/ 72 w 148"/>
                    <a:gd name="T45" fmla="*/ 201 h 259"/>
                    <a:gd name="T46" fmla="*/ 72 w 148"/>
                    <a:gd name="T47" fmla="*/ 183 h 259"/>
                    <a:gd name="T48" fmla="*/ 67 w 148"/>
                    <a:gd name="T49" fmla="*/ 179 h 259"/>
                    <a:gd name="T50" fmla="*/ 67 w 148"/>
                    <a:gd name="T51" fmla="*/ 183 h 259"/>
                    <a:gd name="T52" fmla="*/ 63 w 148"/>
                    <a:gd name="T53" fmla="*/ 157 h 259"/>
                    <a:gd name="T54" fmla="*/ 58 w 148"/>
                    <a:gd name="T55" fmla="*/ 152 h 259"/>
                    <a:gd name="T56" fmla="*/ 72 w 148"/>
                    <a:gd name="T57" fmla="*/ 134 h 259"/>
                    <a:gd name="T58" fmla="*/ 85 w 148"/>
                    <a:gd name="T59" fmla="*/ 130 h 259"/>
                    <a:gd name="T60" fmla="*/ 99 w 148"/>
                    <a:gd name="T61" fmla="*/ 112 h 259"/>
                    <a:gd name="T62" fmla="*/ 134 w 148"/>
                    <a:gd name="T63" fmla="*/ 94 h 259"/>
                    <a:gd name="T64" fmla="*/ 148 w 148"/>
                    <a:gd name="T65" fmla="*/ 76 h 259"/>
                    <a:gd name="T66" fmla="*/ 148 w 148"/>
                    <a:gd name="T67" fmla="*/ 54 h 259"/>
                    <a:gd name="T68" fmla="*/ 143 w 148"/>
                    <a:gd name="T69" fmla="*/ 54 h 259"/>
                    <a:gd name="T70" fmla="*/ 148 w 148"/>
                    <a:gd name="T71" fmla="*/ 5 h 259"/>
                    <a:gd name="T72" fmla="*/ 143 w 148"/>
                    <a:gd name="T73" fmla="*/ 0 h 259"/>
                    <a:gd name="T74" fmla="*/ 130 w 148"/>
                    <a:gd name="T75" fmla="*/ 9 h 259"/>
                    <a:gd name="T76" fmla="*/ 107 w 148"/>
                    <a:gd name="T77" fmla="*/ 9 h 259"/>
                    <a:gd name="T78" fmla="*/ 103 w 148"/>
                    <a:gd name="T79" fmla="*/ 18 h 259"/>
                    <a:gd name="T80" fmla="*/ 94 w 148"/>
                    <a:gd name="T81" fmla="*/ 14 h 259"/>
                    <a:gd name="T82" fmla="*/ 85 w 148"/>
                    <a:gd name="T83" fmla="*/ 23 h 259"/>
                    <a:gd name="T84" fmla="*/ 76 w 148"/>
                    <a:gd name="T85" fmla="*/ 14 h 259"/>
                    <a:gd name="T86" fmla="*/ 63 w 148"/>
                    <a:gd name="T87" fmla="*/ 18 h 259"/>
                    <a:gd name="T88" fmla="*/ 63 w 148"/>
                    <a:gd name="T89" fmla="*/ 23 h 259"/>
                    <a:gd name="T90" fmla="*/ 58 w 148"/>
                    <a:gd name="T91" fmla="*/ 31 h 259"/>
                    <a:gd name="T92" fmla="*/ 58 w 148"/>
                    <a:gd name="T93" fmla="*/ 40 h 259"/>
                    <a:gd name="T94" fmla="*/ 67 w 148"/>
                    <a:gd name="T95" fmla="*/ 45 h 259"/>
                    <a:gd name="T96" fmla="*/ 76 w 148"/>
                    <a:gd name="T97" fmla="*/ 58 h 259"/>
                    <a:gd name="T98" fmla="*/ 76 w 148"/>
                    <a:gd name="T99" fmla="*/ 85 h 259"/>
                    <a:gd name="T100" fmla="*/ 67 w 148"/>
                    <a:gd name="T101" fmla="*/ 90 h 259"/>
                    <a:gd name="T102" fmla="*/ 72 w 148"/>
                    <a:gd name="T103" fmla="*/ 99 h 259"/>
                    <a:gd name="T104" fmla="*/ 63 w 148"/>
                    <a:gd name="T105" fmla="*/ 103 h 259"/>
                    <a:gd name="T106" fmla="*/ 54 w 148"/>
                    <a:gd name="T107" fmla="*/ 85 h 259"/>
                    <a:gd name="T108" fmla="*/ 58 w 148"/>
                    <a:gd name="T109" fmla="*/ 72 h 259"/>
                    <a:gd name="T110" fmla="*/ 54 w 148"/>
                    <a:gd name="T111" fmla="*/ 63 h 259"/>
                    <a:gd name="T112" fmla="*/ 45 w 148"/>
                    <a:gd name="T113" fmla="*/ 63 h 259"/>
                    <a:gd name="T114" fmla="*/ 36 w 148"/>
                    <a:gd name="T115" fmla="*/ 54 h 259"/>
                    <a:gd name="T116" fmla="*/ 0 w 148"/>
                    <a:gd name="T117" fmla="*/ 72 h 259"/>
                    <a:gd name="T118" fmla="*/ 0 w 148"/>
                    <a:gd name="T119" fmla="*/ 8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8" h="259">
                      <a:moveTo>
                        <a:pt x="0" y="81"/>
                      </a:moveTo>
                      <a:lnTo>
                        <a:pt x="5" y="85"/>
                      </a:lnTo>
                      <a:lnTo>
                        <a:pt x="18" y="85"/>
                      </a:lnTo>
                      <a:lnTo>
                        <a:pt x="36" y="94"/>
                      </a:lnTo>
                      <a:lnTo>
                        <a:pt x="40" y="130"/>
                      </a:lnTo>
                      <a:lnTo>
                        <a:pt x="36" y="139"/>
                      </a:lnTo>
                      <a:lnTo>
                        <a:pt x="40" y="148"/>
                      </a:lnTo>
                      <a:lnTo>
                        <a:pt x="32" y="170"/>
                      </a:lnTo>
                      <a:lnTo>
                        <a:pt x="18" y="188"/>
                      </a:lnTo>
                      <a:lnTo>
                        <a:pt x="18" y="192"/>
                      </a:lnTo>
                      <a:lnTo>
                        <a:pt x="23" y="228"/>
                      </a:lnTo>
                      <a:lnTo>
                        <a:pt x="23" y="237"/>
                      </a:lnTo>
                      <a:lnTo>
                        <a:pt x="23" y="242"/>
                      </a:lnTo>
                      <a:lnTo>
                        <a:pt x="23" y="246"/>
                      </a:lnTo>
                      <a:lnTo>
                        <a:pt x="23" y="259"/>
                      </a:lnTo>
                      <a:lnTo>
                        <a:pt x="36" y="255"/>
                      </a:lnTo>
                      <a:lnTo>
                        <a:pt x="36" y="242"/>
                      </a:lnTo>
                      <a:lnTo>
                        <a:pt x="27" y="242"/>
                      </a:lnTo>
                      <a:lnTo>
                        <a:pt x="36" y="233"/>
                      </a:lnTo>
                      <a:lnTo>
                        <a:pt x="67" y="219"/>
                      </a:lnTo>
                      <a:lnTo>
                        <a:pt x="72" y="210"/>
                      </a:lnTo>
                      <a:lnTo>
                        <a:pt x="67" y="210"/>
                      </a:lnTo>
                      <a:lnTo>
                        <a:pt x="72" y="201"/>
                      </a:lnTo>
                      <a:lnTo>
                        <a:pt x="72" y="183"/>
                      </a:lnTo>
                      <a:lnTo>
                        <a:pt x="67" y="179"/>
                      </a:lnTo>
                      <a:lnTo>
                        <a:pt x="67" y="183"/>
                      </a:lnTo>
                      <a:lnTo>
                        <a:pt x="63" y="157"/>
                      </a:lnTo>
                      <a:lnTo>
                        <a:pt x="58" y="152"/>
                      </a:lnTo>
                      <a:lnTo>
                        <a:pt x="72" y="134"/>
                      </a:lnTo>
                      <a:lnTo>
                        <a:pt x="85" y="130"/>
                      </a:lnTo>
                      <a:lnTo>
                        <a:pt x="99" y="112"/>
                      </a:lnTo>
                      <a:lnTo>
                        <a:pt x="134" y="94"/>
                      </a:lnTo>
                      <a:lnTo>
                        <a:pt x="148" y="76"/>
                      </a:lnTo>
                      <a:lnTo>
                        <a:pt x="148" y="54"/>
                      </a:lnTo>
                      <a:lnTo>
                        <a:pt x="143" y="54"/>
                      </a:lnTo>
                      <a:lnTo>
                        <a:pt x="148" y="5"/>
                      </a:lnTo>
                      <a:lnTo>
                        <a:pt x="143" y="0"/>
                      </a:lnTo>
                      <a:lnTo>
                        <a:pt x="130" y="9"/>
                      </a:lnTo>
                      <a:lnTo>
                        <a:pt x="107" y="9"/>
                      </a:lnTo>
                      <a:lnTo>
                        <a:pt x="103" y="18"/>
                      </a:lnTo>
                      <a:lnTo>
                        <a:pt x="94" y="14"/>
                      </a:lnTo>
                      <a:lnTo>
                        <a:pt x="85" y="23"/>
                      </a:lnTo>
                      <a:lnTo>
                        <a:pt x="76" y="14"/>
                      </a:lnTo>
                      <a:lnTo>
                        <a:pt x="63" y="18"/>
                      </a:lnTo>
                      <a:lnTo>
                        <a:pt x="63" y="23"/>
                      </a:lnTo>
                      <a:lnTo>
                        <a:pt x="58" y="31"/>
                      </a:lnTo>
                      <a:lnTo>
                        <a:pt x="58" y="40"/>
                      </a:lnTo>
                      <a:lnTo>
                        <a:pt x="67" y="45"/>
                      </a:lnTo>
                      <a:lnTo>
                        <a:pt x="76" y="58"/>
                      </a:lnTo>
                      <a:lnTo>
                        <a:pt x="76" y="85"/>
                      </a:lnTo>
                      <a:lnTo>
                        <a:pt x="67" y="90"/>
                      </a:lnTo>
                      <a:lnTo>
                        <a:pt x="72" y="99"/>
                      </a:lnTo>
                      <a:lnTo>
                        <a:pt x="63" y="103"/>
                      </a:lnTo>
                      <a:lnTo>
                        <a:pt x="54" y="85"/>
                      </a:lnTo>
                      <a:lnTo>
                        <a:pt x="58" y="72"/>
                      </a:lnTo>
                      <a:lnTo>
                        <a:pt x="54" y="63"/>
                      </a:lnTo>
                      <a:lnTo>
                        <a:pt x="45" y="63"/>
                      </a:lnTo>
                      <a:lnTo>
                        <a:pt x="36" y="54"/>
                      </a:lnTo>
                      <a:lnTo>
                        <a:pt x="0" y="72"/>
                      </a:lnTo>
                      <a:lnTo>
                        <a:pt x="0" y="8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40" name="Freeform 39"/>
                <p:cNvSpPr>
                  <a:spLocks/>
                </p:cNvSpPr>
                <p:nvPr/>
              </p:nvSpPr>
              <p:spPr bwMode="gray">
                <a:xfrm>
                  <a:off x="2848" y="3030"/>
                  <a:ext cx="192" cy="196"/>
                </a:xfrm>
                <a:custGeom>
                  <a:avLst/>
                  <a:gdLst>
                    <a:gd name="T0" fmla="*/ 4 w 192"/>
                    <a:gd name="T1" fmla="*/ 4 h 196"/>
                    <a:gd name="T2" fmla="*/ 9 w 192"/>
                    <a:gd name="T3" fmla="*/ 0 h 196"/>
                    <a:gd name="T4" fmla="*/ 27 w 192"/>
                    <a:gd name="T5" fmla="*/ 0 h 196"/>
                    <a:gd name="T6" fmla="*/ 40 w 192"/>
                    <a:gd name="T7" fmla="*/ 8 h 196"/>
                    <a:gd name="T8" fmla="*/ 49 w 192"/>
                    <a:gd name="T9" fmla="*/ 4 h 196"/>
                    <a:gd name="T10" fmla="*/ 103 w 192"/>
                    <a:gd name="T11" fmla="*/ 4 h 196"/>
                    <a:gd name="T12" fmla="*/ 116 w 192"/>
                    <a:gd name="T13" fmla="*/ 17 h 196"/>
                    <a:gd name="T14" fmla="*/ 134 w 192"/>
                    <a:gd name="T15" fmla="*/ 17 h 196"/>
                    <a:gd name="T16" fmla="*/ 170 w 192"/>
                    <a:gd name="T17" fmla="*/ 8 h 196"/>
                    <a:gd name="T18" fmla="*/ 178 w 192"/>
                    <a:gd name="T19" fmla="*/ 4 h 196"/>
                    <a:gd name="T20" fmla="*/ 192 w 192"/>
                    <a:gd name="T21" fmla="*/ 13 h 196"/>
                    <a:gd name="T22" fmla="*/ 178 w 192"/>
                    <a:gd name="T23" fmla="*/ 17 h 196"/>
                    <a:gd name="T24" fmla="*/ 174 w 192"/>
                    <a:gd name="T25" fmla="*/ 26 h 196"/>
                    <a:gd name="T26" fmla="*/ 165 w 192"/>
                    <a:gd name="T27" fmla="*/ 17 h 196"/>
                    <a:gd name="T28" fmla="*/ 147 w 192"/>
                    <a:gd name="T29" fmla="*/ 22 h 196"/>
                    <a:gd name="T30" fmla="*/ 138 w 192"/>
                    <a:gd name="T31" fmla="*/ 22 h 196"/>
                    <a:gd name="T32" fmla="*/ 138 w 192"/>
                    <a:gd name="T33" fmla="*/ 80 h 196"/>
                    <a:gd name="T34" fmla="*/ 125 w 192"/>
                    <a:gd name="T35" fmla="*/ 80 h 196"/>
                    <a:gd name="T36" fmla="*/ 120 w 192"/>
                    <a:gd name="T37" fmla="*/ 125 h 196"/>
                    <a:gd name="T38" fmla="*/ 120 w 192"/>
                    <a:gd name="T39" fmla="*/ 187 h 196"/>
                    <a:gd name="T40" fmla="*/ 111 w 192"/>
                    <a:gd name="T41" fmla="*/ 187 h 196"/>
                    <a:gd name="T42" fmla="*/ 111 w 192"/>
                    <a:gd name="T43" fmla="*/ 196 h 196"/>
                    <a:gd name="T44" fmla="*/ 94 w 192"/>
                    <a:gd name="T45" fmla="*/ 192 h 196"/>
                    <a:gd name="T46" fmla="*/ 80 w 192"/>
                    <a:gd name="T47" fmla="*/ 192 h 196"/>
                    <a:gd name="T48" fmla="*/ 80 w 192"/>
                    <a:gd name="T49" fmla="*/ 183 h 196"/>
                    <a:gd name="T50" fmla="*/ 76 w 192"/>
                    <a:gd name="T51" fmla="*/ 183 h 196"/>
                    <a:gd name="T52" fmla="*/ 67 w 192"/>
                    <a:gd name="T53" fmla="*/ 187 h 196"/>
                    <a:gd name="T54" fmla="*/ 53 w 192"/>
                    <a:gd name="T55" fmla="*/ 169 h 196"/>
                    <a:gd name="T56" fmla="*/ 49 w 192"/>
                    <a:gd name="T57" fmla="*/ 160 h 196"/>
                    <a:gd name="T58" fmla="*/ 40 w 192"/>
                    <a:gd name="T59" fmla="*/ 111 h 196"/>
                    <a:gd name="T60" fmla="*/ 40 w 192"/>
                    <a:gd name="T61" fmla="*/ 93 h 196"/>
                    <a:gd name="T62" fmla="*/ 22 w 192"/>
                    <a:gd name="T63" fmla="*/ 44 h 196"/>
                    <a:gd name="T64" fmla="*/ 0 w 192"/>
                    <a:gd name="T65" fmla="*/ 22 h 196"/>
                    <a:gd name="T66" fmla="*/ 4 w 192"/>
                    <a:gd name="T67"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196">
                      <a:moveTo>
                        <a:pt x="4" y="4"/>
                      </a:moveTo>
                      <a:lnTo>
                        <a:pt x="9" y="0"/>
                      </a:lnTo>
                      <a:lnTo>
                        <a:pt x="27" y="0"/>
                      </a:lnTo>
                      <a:lnTo>
                        <a:pt x="40" y="8"/>
                      </a:lnTo>
                      <a:lnTo>
                        <a:pt x="49" y="4"/>
                      </a:lnTo>
                      <a:lnTo>
                        <a:pt x="103" y="4"/>
                      </a:lnTo>
                      <a:lnTo>
                        <a:pt x="116" y="17"/>
                      </a:lnTo>
                      <a:lnTo>
                        <a:pt x="134" y="17"/>
                      </a:lnTo>
                      <a:lnTo>
                        <a:pt x="170" y="8"/>
                      </a:lnTo>
                      <a:lnTo>
                        <a:pt x="178" y="4"/>
                      </a:lnTo>
                      <a:lnTo>
                        <a:pt x="192" y="13"/>
                      </a:lnTo>
                      <a:lnTo>
                        <a:pt x="178" y="17"/>
                      </a:lnTo>
                      <a:lnTo>
                        <a:pt x="174" y="26"/>
                      </a:lnTo>
                      <a:lnTo>
                        <a:pt x="165" y="17"/>
                      </a:lnTo>
                      <a:lnTo>
                        <a:pt x="147" y="22"/>
                      </a:lnTo>
                      <a:lnTo>
                        <a:pt x="138" y="22"/>
                      </a:lnTo>
                      <a:lnTo>
                        <a:pt x="138" y="80"/>
                      </a:lnTo>
                      <a:lnTo>
                        <a:pt x="125" y="80"/>
                      </a:lnTo>
                      <a:lnTo>
                        <a:pt x="120" y="125"/>
                      </a:lnTo>
                      <a:lnTo>
                        <a:pt x="120" y="187"/>
                      </a:lnTo>
                      <a:lnTo>
                        <a:pt x="111" y="187"/>
                      </a:lnTo>
                      <a:lnTo>
                        <a:pt x="111" y="196"/>
                      </a:lnTo>
                      <a:lnTo>
                        <a:pt x="94" y="192"/>
                      </a:lnTo>
                      <a:lnTo>
                        <a:pt x="80" y="192"/>
                      </a:lnTo>
                      <a:lnTo>
                        <a:pt x="80" y="183"/>
                      </a:lnTo>
                      <a:lnTo>
                        <a:pt x="76" y="183"/>
                      </a:lnTo>
                      <a:lnTo>
                        <a:pt x="67" y="187"/>
                      </a:lnTo>
                      <a:lnTo>
                        <a:pt x="53" y="169"/>
                      </a:lnTo>
                      <a:lnTo>
                        <a:pt x="49" y="160"/>
                      </a:lnTo>
                      <a:lnTo>
                        <a:pt x="40" y="111"/>
                      </a:lnTo>
                      <a:lnTo>
                        <a:pt x="40" y="93"/>
                      </a:lnTo>
                      <a:lnTo>
                        <a:pt x="22" y="44"/>
                      </a:lnTo>
                      <a:lnTo>
                        <a:pt x="0" y="22"/>
                      </a:lnTo>
                      <a:lnTo>
                        <a:pt x="4" y="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41" name="Freeform 40"/>
                <p:cNvSpPr>
                  <a:spLocks/>
                </p:cNvSpPr>
                <p:nvPr/>
              </p:nvSpPr>
              <p:spPr bwMode="gray">
                <a:xfrm>
                  <a:off x="2687" y="2431"/>
                  <a:ext cx="228" cy="174"/>
                </a:xfrm>
                <a:custGeom>
                  <a:avLst/>
                  <a:gdLst>
                    <a:gd name="T0" fmla="*/ 0 w 228"/>
                    <a:gd name="T1" fmla="*/ 129 h 174"/>
                    <a:gd name="T2" fmla="*/ 0 w 228"/>
                    <a:gd name="T3" fmla="*/ 138 h 174"/>
                    <a:gd name="T4" fmla="*/ 9 w 228"/>
                    <a:gd name="T5" fmla="*/ 152 h 174"/>
                    <a:gd name="T6" fmla="*/ 9 w 228"/>
                    <a:gd name="T7" fmla="*/ 161 h 174"/>
                    <a:gd name="T8" fmla="*/ 18 w 228"/>
                    <a:gd name="T9" fmla="*/ 165 h 174"/>
                    <a:gd name="T10" fmla="*/ 27 w 228"/>
                    <a:gd name="T11" fmla="*/ 161 h 174"/>
                    <a:gd name="T12" fmla="*/ 27 w 228"/>
                    <a:gd name="T13" fmla="*/ 174 h 174"/>
                    <a:gd name="T14" fmla="*/ 31 w 228"/>
                    <a:gd name="T15" fmla="*/ 174 h 174"/>
                    <a:gd name="T16" fmla="*/ 40 w 228"/>
                    <a:gd name="T17" fmla="*/ 165 h 174"/>
                    <a:gd name="T18" fmla="*/ 54 w 228"/>
                    <a:gd name="T19" fmla="*/ 174 h 174"/>
                    <a:gd name="T20" fmla="*/ 54 w 228"/>
                    <a:gd name="T21" fmla="*/ 165 h 174"/>
                    <a:gd name="T22" fmla="*/ 58 w 228"/>
                    <a:gd name="T23" fmla="*/ 156 h 174"/>
                    <a:gd name="T24" fmla="*/ 58 w 228"/>
                    <a:gd name="T25" fmla="*/ 147 h 174"/>
                    <a:gd name="T26" fmla="*/ 71 w 228"/>
                    <a:gd name="T27" fmla="*/ 143 h 174"/>
                    <a:gd name="T28" fmla="*/ 94 w 228"/>
                    <a:gd name="T29" fmla="*/ 147 h 174"/>
                    <a:gd name="T30" fmla="*/ 107 w 228"/>
                    <a:gd name="T31" fmla="*/ 161 h 174"/>
                    <a:gd name="T32" fmla="*/ 121 w 228"/>
                    <a:gd name="T33" fmla="*/ 156 h 174"/>
                    <a:gd name="T34" fmla="*/ 138 w 228"/>
                    <a:gd name="T35" fmla="*/ 156 h 174"/>
                    <a:gd name="T36" fmla="*/ 156 w 228"/>
                    <a:gd name="T37" fmla="*/ 152 h 174"/>
                    <a:gd name="T38" fmla="*/ 170 w 228"/>
                    <a:gd name="T39" fmla="*/ 156 h 174"/>
                    <a:gd name="T40" fmla="*/ 188 w 228"/>
                    <a:gd name="T41" fmla="*/ 147 h 174"/>
                    <a:gd name="T42" fmla="*/ 188 w 228"/>
                    <a:gd name="T43" fmla="*/ 134 h 174"/>
                    <a:gd name="T44" fmla="*/ 192 w 228"/>
                    <a:gd name="T45" fmla="*/ 125 h 174"/>
                    <a:gd name="T46" fmla="*/ 214 w 228"/>
                    <a:gd name="T47" fmla="*/ 107 h 174"/>
                    <a:gd name="T48" fmla="*/ 219 w 228"/>
                    <a:gd name="T49" fmla="*/ 62 h 174"/>
                    <a:gd name="T50" fmla="*/ 228 w 228"/>
                    <a:gd name="T51" fmla="*/ 44 h 174"/>
                    <a:gd name="T52" fmla="*/ 219 w 228"/>
                    <a:gd name="T53" fmla="*/ 35 h 174"/>
                    <a:gd name="T54" fmla="*/ 219 w 228"/>
                    <a:gd name="T55" fmla="*/ 22 h 174"/>
                    <a:gd name="T56" fmla="*/ 210 w 228"/>
                    <a:gd name="T57" fmla="*/ 4 h 174"/>
                    <a:gd name="T58" fmla="*/ 197 w 228"/>
                    <a:gd name="T59" fmla="*/ 13 h 174"/>
                    <a:gd name="T60" fmla="*/ 192 w 228"/>
                    <a:gd name="T61" fmla="*/ 0 h 174"/>
                    <a:gd name="T62" fmla="*/ 170 w 228"/>
                    <a:gd name="T63" fmla="*/ 0 h 174"/>
                    <a:gd name="T64" fmla="*/ 94 w 228"/>
                    <a:gd name="T65" fmla="*/ 53 h 174"/>
                    <a:gd name="T66" fmla="*/ 58 w 228"/>
                    <a:gd name="T67" fmla="*/ 62 h 174"/>
                    <a:gd name="T68" fmla="*/ 58 w 228"/>
                    <a:gd name="T69" fmla="*/ 98 h 174"/>
                    <a:gd name="T70" fmla="*/ 58 w 228"/>
                    <a:gd name="T71" fmla="*/ 111 h 174"/>
                    <a:gd name="T72" fmla="*/ 49 w 228"/>
                    <a:gd name="T73" fmla="*/ 120 h 174"/>
                    <a:gd name="T74" fmla="*/ 22 w 228"/>
                    <a:gd name="T75" fmla="*/ 120 h 174"/>
                    <a:gd name="T76" fmla="*/ 13 w 228"/>
                    <a:gd name="T77" fmla="*/ 120 h 174"/>
                    <a:gd name="T78" fmla="*/ 9 w 228"/>
                    <a:gd name="T79" fmla="*/ 129 h 174"/>
                    <a:gd name="T80" fmla="*/ 0 w 228"/>
                    <a:gd name="T81" fmla="*/ 12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174">
                      <a:moveTo>
                        <a:pt x="0" y="129"/>
                      </a:moveTo>
                      <a:lnTo>
                        <a:pt x="0" y="138"/>
                      </a:lnTo>
                      <a:lnTo>
                        <a:pt x="9" y="152"/>
                      </a:lnTo>
                      <a:lnTo>
                        <a:pt x="9" y="161"/>
                      </a:lnTo>
                      <a:lnTo>
                        <a:pt x="18" y="165"/>
                      </a:lnTo>
                      <a:lnTo>
                        <a:pt x="27" y="161"/>
                      </a:lnTo>
                      <a:lnTo>
                        <a:pt x="27" y="174"/>
                      </a:lnTo>
                      <a:lnTo>
                        <a:pt x="31" y="174"/>
                      </a:lnTo>
                      <a:lnTo>
                        <a:pt x="40" y="165"/>
                      </a:lnTo>
                      <a:lnTo>
                        <a:pt x="54" y="174"/>
                      </a:lnTo>
                      <a:lnTo>
                        <a:pt x="54" y="165"/>
                      </a:lnTo>
                      <a:lnTo>
                        <a:pt x="58" y="156"/>
                      </a:lnTo>
                      <a:lnTo>
                        <a:pt x="58" y="147"/>
                      </a:lnTo>
                      <a:lnTo>
                        <a:pt x="71" y="143"/>
                      </a:lnTo>
                      <a:lnTo>
                        <a:pt x="94" y="147"/>
                      </a:lnTo>
                      <a:lnTo>
                        <a:pt x="107" y="161"/>
                      </a:lnTo>
                      <a:lnTo>
                        <a:pt x="121" y="156"/>
                      </a:lnTo>
                      <a:lnTo>
                        <a:pt x="138" y="156"/>
                      </a:lnTo>
                      <a:lnTo>
                        <a:pt x="156" y="152"/>
                      </a:lnTo>
                      <a:lnTo>
                        <a:pt x="170" y="156"/>
                      </a:lnTo>
                      <a:lnTo>
                        <a:pt x="188" y="147"/>
                      </a:lnTo>
                      <a:lnTo>
                        <a:pt x="188" y="134"/>
                      </a:lnTo>
                      <a:lnTo>
                        <a:pt x="192" y="125"/>
                      </a:lnTo>
                      <a:lnTo>
                        <a:pt x="214" y="107"/>
                      </a:lnTo>
                      <a:lnTo>
                        <a:pt x="219" y="62"/>
                      </a:lnTo>
                      <a:lnTo>
                        <a:pt x="228" y="44"/>
                      </a:lnTo>
                      <a:lnTo>
                        <a:pt x="219" y="35"/>
                      </a:lnTo>
                      <a:lnTo>
                        <a:pt x="219" y="22"/>
                      </a:lnTo>
                      <a:lnTo>
                        <a:pt x="210" y="4"/>
                      </a:lnTo>
                      <a:lnTo>
                        <a:pt x="197" y="13"/>
                      </a:lnTo>
                      <a:lnTo>
                        <a:pt x="192" y="0"/>
                      </a:lnTo>
                      <a:lnTo>
                        <a:pt x="170" y="0"/>
                      </a:lnTo>
                      <a:lnTo>
                        <a:pt x="94" y="53"/>
                      </a:lnTo>
                      <a:lnTo>
                        <a:pt x="58" y="62"/>
                      </a:lnTo>
                      <a:lnTo>
                        <a:pt x="58" y="98"/>
                      </a:lnTo>
                      <a:lnTo>
                        <a:pt x="58" y="111"/>
                      </a:lnTo>
                      <a:lnTo>
                        <a:pt x="49" y="120"/>
                      </a:lnTo>
                      <a:lnTo>
                        <a:pt x="22" y="120"/>
                      </a:lnTo>
                      <a:lnTo>
                        <a:pt x="13" y="120"/>
                      </a:lnTo>
                      <a:lnTo>
                        <a:pt x="9" y="129"/>
                      </a:lnTo>
                      <a:lnTo>
                        <a:pt x="0" y="12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42" name="Freeform 41"/>
                <p:cNvSpPr>
                  <a:spLocks/>
                </p:cNvSpPr>
                <p:nvPr/>
              </p:nvSpPr>
              <p:spPr bwMode="gray">
                <a:xfrm>
                  <a:off x="2727" y="2574"/>
                  <a:ext cx="161" cy="147"/>
                </a:xfrm>
                <a:custGeom>
                  <a:avLst/>
                  <a:gdLst>
                    <a:gd name="T0" fmla="*/ 5 w 161"/>
                    <a:gd name="T1" fmla="*/ 111 h 147"/>
                    <a:gd name="T2" fmla="*/ 0 w 161"/>
                    <a:gd name="T3" fmla="*/ 98 h 147"/>
                    <a:gd name="T4" fmla="*/ 0 w 161"/>
                    <a:gd name="T5" fmla="*/ 80 h 147"/>
                    <a:gd name="T6" fmla="*/ 9 w 161"/>
                    <a:gd name="T7" fmla="*/ 76 h 147"/>
                    <a:gd name="T8" fmla="*/ 14 w 161"/>
                    <a:gd name="T9" fmla="*/ 67 h 147"/>
                    <a:gd name="T10" fmla="*/ 14 w 161"/>
                    <a:gd name="T11" fmla="*/ 49 h 147"/>
                    <a:gd name="T12" fmla="*/ 9 w 161"/>
                    <a:gd name="T13" fmla="*/ 40 h 147"/>
                    <a:gd name="T14" fmla="*/ 14 w 161"/>
                    <a:gd name="T15" fmla="*/ 31 h 147"/>
                    <a:gd name="T16" fmla="*/ 14 w 161"/>
                    <a:gd name="T17" fmla="*/ 22 h 147"/>
                    <a:gd name="T18" fmla="*/ 18 w 161"/>
                    <a:gd name="T19" fmla="*/ 13 h 147"/>
                    <a:gd name="T20" fmla="*/ 18 w 161"/>
                    <a:gd name="T21" fmla="*/ 4 h 147"/>
                    <a:gd name="T22" fmla="*/ 31 w 161"/>
                    <a:gd name="T23" fmla="*/ 0 h 147"/>
                    <a:gd name="T24" fmla="*/ 54 w 161"/>
                    <a:gd name="T25" fmla="*/ 4 h 147"/>
                    <a:gd name="T26" fmla="*/ 67 w 161"/>
                    <a:gd name="T27" fmla="*/ 18 h 147"/>
                    <a:gd name="T28" fmla="*/ 81 w 161"/>
                    <a:gd name="T29" fmla="*/ 13 h 147"/>
                    <a:gd name="T30" fmla="*/ 98 w 161"/>
                    <a:gd name="T31" fmla="*/ 13 h 147"/>
                    <a:gd name="T32" fmla="*/ 116 w 161"/>
                    <a:gd name="T33" fmla="*/ 9 h 147"/>
                    <a:gd name="T34" fmla="*/ 130 w 161"/>
                    <a:gd name="T35" fmla="*/ 13 h 147"/>
                    <a:gd name="T36" fmla="*/ 148 w 161"/>
                    <a:gd name="T37" fmla="*/ 4 h 147"/>
                    <a:gd name="T38" fmla="*/ 152 w 161"/>
                    <a:gd name="T39" fmla="*/ 9 h 147"/>
                    <a:gd name="T40" fmla="*/ 161 w 161"/>
                    <a:gd name="T41" fmla="*/ 22 h 147"/>
                    <a:gd name="T42" fmla="*/ 161 w 161"/>
                    <a:gd name="T43" fmla="*/ 35 h 147"/>
                    <a:gd name="T44" fmla="*/ 152 w 161"/>
                    <a:gd name="T45" fmla="*/ 40 h 147"/>
                    <a:gd name="T46" fmla="*/ 148 w 161"/>
                    <a:gd name="T47" fmla="*/ 67 h 147"/>
                    <a:gd name="T48" fmla="*/ 143 w 161"/>
                    <a:gd name="T49" fmla="*/ 67 h 147"/>
                    <a:gd name="T50" fmla="*/ 139 w 161"/>
                    <a:gd name="T51" fmla="*/ 80 h 147"/>
                    <a:gd name="T52" fmla="*/ 130 w 161"/>
                    <a:gd name="T53" fmla="*/ 85 h 147"/>
                    <a:gd name="T54" fmla="*/ 116 w 161"/>
                    <a:gd name="T55" fmla="*/ 107 h 147"/>
                    <a:gd name="T56" fmla="*/ 107 w 161"/>
                    <a:gd name="T57" fmla="*/ 102 h 147"/>
                    <a:gd name="T58" fmla="*/ 98 w 161"/>
                    <a:gd name="T59" fmla="*/ 102 h 147"/>
                    <a:gd name="T60" fmla="*/ 90 w 161"/>
                    <a:gd name="T61" fmla="*/ 129 h 147"/>
                    <a:gd name="T62" fmla="*/ 85 w 161"/>
                    <a:gd name="T63" fmla="*/ 134 h 147"/>
                    <a:gd name="T64" fmla="*/ 81 w 161"/>
                    <a:gd name="T65" fmla="*/ 134 h 147"/>
                    <a:gd name="T66" fmla="*/ 81 w 161"/>
                    <a:gd name="T67" fmla="*/ 138 h 147"/>
                    <a:gd name="T68" fmla="*/ 67 w 161"/>
                    <a:gd name="T69" fmla="*/ 138 h 147"/>
                    <a:gd name="T70" fmla="*/ 63 w 161"/>
                    <a:gd name="T71" fmla="*/ 134 h 147"/>
                    <a:gd name="T72" fmla="*/ 58 w 161"/>
                    <a:gd name="T73" fmla="*/ 143 h 147"/>
                    <a:gd name="T74" fmla="*/ 49 w 161"/>
                    <a:gd name="T75" fmla="*/ 147 h 147"/>
                    <a:gd name="T76" fmla="*/ 40 w 161"/>
                    <a:gd name="T77" fmla="*/ 138 h 147"/>
                    <a:gd name="T78" fmla="*/ 36 w 161"/>
                    <a:gd name="T79" fmla="*/ 129 h 147"/>
                    <a:gd name="T80" fmla="*/ 23 w 161"/>
                    <a:gd name="T81" fmla="*/ 116 h 147"/>
                    <a:gd name="T82" fmla="*/ 5 w 161"/>
                    <a:gd name="T83" fmla="*/ 1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1" h="147">
                      <a:moveTo>
                        <a:pt x="5" y="111"/>
                      </a:moveTo>
                      <a:lnTo>
                        <a:pt x="0" y="98"/>
                      </a:lnTo>
                      <a:lnTo>
                        <a:pt x="0" y="80"/>
                      </a:lnTo>
                      <a:lnTo>
                        <a:pt x="9" y="76"/>
                      </a:lnTo>
                      <a:lnTo>
                        <a:pt x="14" y="67"/>
                      </a:lnTo>
                      <a:lnTo>
                        <a:pt x="14" y="49"/>
                      </a:lnTo>
                      <a:lnTo>
                        <a:pt x="9" y="40"/>
                      </a:lnTo>
                      <a:lnTo>
                        <a:pt x="14" y="31"/>
                      </a:lnTo>
                      <a:lnTo>
                        <a:pt x="14" y="22"/>
                      </a:lnTo>
                      <a:lnTo>
                        <a:pt x="18" y="13"/>
                      </a:lnTo>
                      <a:lnTo>
                        <a:pt x="18" y="4"/>
                      </a:lnTo>
                      <a:lnTo>
                        <a:pt x="31" y="0"/>
                      </a:lnTo>
                      <a:lnTo>
                        <a:pt x="54" y="4"/>
                      </a:lnTo>
                      <a:lnTo>
                        <a:pt x="67" y="18"/>
                      </a:lnTo>
                      <a:lnTo>
                        <a:pt x="81" y="13"/>
                      </a:lnTo>
                      <a:lnTo>
                        <a:pt x="98" y="13"/>
                      </a:lnTo>
                      <a:lnTo>
                        <a:pt x="116" y="9"/>
                      </a:lnTo>
                      <a:lnTo>
                        <a:pt x="130" y="13"/>
                      </a:lnTo>
                      <a:lnTo>
                        <a:pt x="148" y="4"/>
                      </a:lnTo>
                      <a:lnTo>
                        <a:pt x="152" y="9"/>
                      </a:lnTo>
                      <a:lnTo>
                        <a:pt x="161" y="22"/>
                      </a:lnTo>
                      <a:lnTo>
                        <a:pt x="161" y="35"/>
                      </a:lnTo>
                      <a:lnTo>
                        <a:pt x="152" y="40"/>
                      </a:lnTo>
                      <a:lnTo>
                        <a:pt x="148" y="67"/>
                      </a:lnTo>
                      <a:lnTo>
                        <a:pt x="143" y="67"/>
                      </a:lnTo>
                      <a:lnTo>
                        <a:pt x="139" y="80"/>
                      </a:lnTo>
                      <a:lnTo>
                        <a:pt x="130" y="85"/>
                      </a:lnTo>
                      <a:lnTo>
                        <a:pt x="116" y="107"/>
                      </a:lnTo>
                      <a:lnTo>
                        <a:pt x="107" y="102"/>
                      </a:lnTo>
                      <a:lnTo>
                        <a:pt x="98" y="102"/>
                      </a:lnTo>
                      <a:lnTo>
                        <a:pt x="90" y="129"/>
                      </a:lnTo>
                      <a:lnTo>
                        <a:pt x="85" y="134"/>
                      </a:lnTo>
                      <a:lnTo>
                        <a:pt x="81" y="134"/>
                      </a:lnTo>
                      <a:lnTo>
                        <a:pt x="81" y="138"/>
                      </a:lnTo>
                      <a:lnTo>
                        <a:pt x="67" y="138"/>
                      </a:lnTo>
                      <a:lnTo>
                        <a:pt x="63" y="134"/>
                      </a:lnTo>
                      <a:lnTo>
                        <a:pt x="58" y="143"/>
                      </a:lnTo>
                      <a:lnTo>
                        <a:pt x="49" y="147"/>
                      </a:lnTo>
                      <a:lnTo>
                        <a:pt x="40" y="138"/>
                      </a:lnTo>
                      <a:lnTo>
                        <a:pt x="36" y="129"/>
                      </a:lnTo>
                      <a:lnTo>
                        <a:pt x="23" y="116"/>
                      </a:lnTo>
                      <a:lnTo>
                        <a:pt x="5" y="11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43" name="Freeform 42"/>
                <p:cNvSpPr>
                  <a:spLocks noEditPoints="1"/>
                </p:cNvSpPr>
                <p:nvPr/>
              </p:nvSpPr>
              <p:spPr bwMode="gray">
                <a:xfrm>
                  <a:off x="2450" y="2596"/>
                  <a:ext cx="40" cy="31"/>
                </a:xfrm>
                <a:custGeom>
                  <a:avLst/>
                  <a:gdLst>
                    <a:gd name="T0" fmla="*/ 0 w 40"/>
                    <a:gd name="T1" fmla="*/ 9 h 31"/>
                    <a:gd name="T2" fmla="*/ 5 w 40"/>
                    <a:gd name="T3" fmla="*/ 13 h 31"/>
                    <a:gd name="T4" fmla="*/ 14 w 40"/>
                    <a:gd name="T5" fmla="*/ 13 h 31"/>
                    <a:gd name="T6" fmla="*/ 14 w 40"/>
                    <a:gd name="T7" fmla="*/ 18 h 31"/>
                    <a:gd name="T8" fmla="*/ 23 w 40"/>
                    <a:gd name="T9" fmla="*/ 13 h 31"/>
                    <a:gd name="T10" fmla="*/ 14 w 40"/>
                    <a:gd name="T11" fmla="*/ 22 h 31"/>
                    <a:gd name="T12" fmla="*/ 14 w 40"/>
                    <a:gd name="T13" fmla="*/ 27 h 31"/>
                    <a:gd name="T14" fmla="*/ 23 w 40"/>
                    <a:gd name="T15" fmla="*/ 31 h 31"/>
                    <a:gd name="T16" fmla="*/ 27 w 40"/>
                    <a:gd name="T17" fmla="*/ 22 h 31"/>
                    <a:gd name="T18" fmla="*/ 40 w 40"/>
                    <a:gd name="T19" fmla="*/ 13 h 31"/>
                    <a:gd name="T20" fmla="*/ 40 w 40"/>
                    <a:gd name="T21" fmla="*/ 5 h 31"/>
                    <a:gd name="T22" fmla="*/ 27 w 40"/>
                    <a:gd name="T23" fmla="*/ 0 h 31"/>
                    <a:gd name="T24" fmla="*/ 0 w 40"/>
                    <a:gd name="T25" fmla="*/ 9 h 31"/>
                    <a:gd name="T26" fmla="*/ 14 w 40"/>
                    <a:gd name="T27" fmla="*/ 22 h 31"/>
                    <a:gd name="T28" fmla="*/ 9 w 40"/>
                    <a:gd name="T29" fmla="*/ 22 h 31"/>
                    <a:gd name="T30" fmla="*/ 9 w 40"/>
                    <a:gd name="T31" fmla="*/ 18 h 31"/>
                    <a:gd name="T32" fmla="*/ 5 w 40"/>
                    <a:gd name="T33" fmla="*/ 18 h 31"/>
                    <a:gd name="T34" fmla="*/ 5 w 40"/>
                    <a:gd name="T35" fmla="*/ 22 h 31"/>
                    <a:gd name="T36" fmla="*/ 5 w 40"/>
                    <a:gd name="T37" fmla="*/ 31 h 31"/>
                    <a:gd name="T38" fmla="*/ 14 w 40"/>
                    <a:gd name="T39"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31">
                      <a:moveTo>
                        <a:pt x="0" y="9"/>
                      </a:moveTo>
                      <a:lnTo>
                        <a:pt x="5" y="13"/>
                      </a:lnTo>
                      <a:lnTo>
                        <a:pt x="14" y="13"/>
                      </a:lnTo>
                      <a:lnTo>
                        <a:pt x="14" y="18"/>
                      </a:lnTo>
                      <a:lnTo>
                        <a:pt x="23" y="13"/>
                      </a:lnTo>
                      <a:lnTo>
                        <a:pt x="14" y="22"/>
                      </a:lnTo>
                      <a:lnTo>
                        <a:pt x="14" y="27"/>
                      </a:lnTo>
                      <a:lnTo>
                        <a:pt x="23" y="31"/>
                      </a:lnTo>
                      <a:lnTo>
                        <a:pt x="27" y="22"/>
                      </a:lnTo>
                      <a:lnTo>
                        <a:pt x="40" y="13"/>
                      </a:lnTo>
                      <a:lnTo>
                        <a:pt x="40" y="5"/>
                      </a:lnTo>
                      <a:lnTo>
                        <a:pt x="27" y="0"/>
                      </a:lnTo>
                      <a:lnTo>
                        <a:pt x="0" y="9"/>
                      </a:lnTo>
                      <a:close/>
                      <a:moveTo>
                        <a:pt x="14" y="22"/>
                      </a:moveTo>
                      <a:lnTo>
                        <a:pt x="9" y="22"/>
                      </a:lnTo>
                      <a:lnTo>
                        <a:pt x="9" y="18"/>
                      </a:lnTo>
                      <a:lnTo>
                        <a:pt x="5" y="18"/>
                      </a:lnTo>
                      <a:lnTo>
                        <a:pt x="5" y="22"/>
                      </a:lnTo>
                      <a:lnTo>
                        <a:pt x="5" y="31"/>
                      </a:lnTo>
                      <a:lnTo>
                        <a:pt x="14" y="2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44" name="Freeform 43"/>
                <p:cNvSpPr>
                  <a:spLocks/>
                </p:cNvSpPr>
                <p:nvPr/>
              </p:nvSpPr>
              <p:spPr bwMode="gray">
                <a:xfrm>
                  <a:off x="3473" y="3092"/>
                  <a:ext cx="14" cy="9"/>
                </a:xfrm>
                <a:custGeom>
                  <a:avLst/>
                  <a:gdLst>
                    <a:gd name="T0" fmla="*/ 9 w 14"/>
                    <a:gd name="T1" fmla="*/ 0 h 9"/>
                    <a:gd name="T2" fmla="*/ 0 w 14"/>
                    <a:gd name="T3" fmla="*/ 0 h 9"/>
                    <a:gd name="T4" fmla="*/ 0 w 14"/>
                    <a:gd name="T5" fmla="*/ 5 h 9"/>
                    <a:gd name="T6" fmla="*/ 5 w 14"/>
                    <a:gd name="T7" fmla="*/ 9 h 9"/>
                    <a:gd name="T8" fmla="*/ 9 w 14"/>
                    <a:gd name="T9" fmla="*/ 9 h 9"/>
                    <a:gd name="T10" fmla="*/ 14 w 14"/>
                    <a:gd name="T11" fmla="*/ 5 h 9"/>
                    <a:gd name="T12" fmla="*/ 9 w 14"/>
                    <a:gd name="T13" fmla="*/ 5 h 9"/>
                    <a:gd name="T14" fmla="*/ 9 w 14"/>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0"/>
                      </a:moveTo>
                      <a:lnTo>
                        <a:pt x="0" y="0"/>
                      </a:lnTo>
                      <a:lnTo>
                        <a:pt x="0" y="5"/>
                      </a:lnTo>
                      <a:lnTo>
                        <a:pt x="5" y="9"/>
                      </a:lnTo>
                      <a:lnTo>
                        <a:pt x="9" y="9"/>
                      </a:lnTo>
                      <a:lnTo>
                        <a:pt x="14" y="5"/>
                      </a:lnTo>
                      <a:lnTo>
                        <a:pt x="9" y="5"/>
                      </a:lnTo>
                      <a:lnTo>
                        <a:pt x="9"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45" name="Freeform 44"/>
                <p:cNvSpPr>
                  <a:spLocks/>
                </p:cNvSpPr>
                <p:nvPr/>
              </p:nvSpPr>
              <p:spPr bwMode="gray">
                <a:xfrm>
                  <a:off x="3102" y="2797"/>
                  <a:ext cx="23" cy="22"/>
                </a:xfrm>
                <a:custGeom>
                  <a:avLst/>
                  <a:gdLst>
                    <a:gd name="T0" fmla="*/ 0 w 23"/>
                    <a:gd name="T1" fmla="*/ 22 h 22"/>
                    <a:gd name="T2" fmla="*/ 0 w 23"/>
                    <a:gd name="T3" fmla="*/ 14 h 22"/>
                    <a:gd name="T4" fmla="*/ 0 w 23"/>
                    <a:gd name="T5" fmla="*/ 9 h 22"/>
                    <a:gd name="T6" fmla="*/ 9 w 23"/>
                    <a:gd name="T7" fmla="*/ 5 h 22"/>
                    <a:gd name="T8" fmla="*/ 18 w 23"/>
                    <a:gd name="T9" fmla="*/ 0 h 22"/>
                    <a:gd name="T10" fmla="*/ 23 w 23"/>
                    <a:gd name="T11" fmla="*/ 5 h 22"/>
                    <a:gd name="T12" fmla="*/ 23 w 23"/>
                    <a:gd name="T13" fmla="*/ 18 h 22"/>
                    <a:gd name="T14" fmla="*/ 14 w 23"/>
                    <a:gd name="T15" fmla="*/ 18 h 22"/>
                    <a:gd name="T16" fmla="*/ 9 w 23"/>
                    <a:gd name="T17" fmla="*/ 22 h 22"/>
                    <a:gd name="T18" fmla="*/ 0 w 23"/>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0" y="22"/>
                      </a:moveTo>
                      <a:lnTo>
                        <a:pt x="0" y="14"/>
                      </a:lnTo>
                      <a:lnTo>
                        <a:pt x="0" y="9"/>
                      </a:lnTo>
                      <a:lnTo>
                        <a:pt x="9" y="5"/>
                      </a:lnTo>
                      <a:lnTo>
                        <a:pt x="18" y="0"/>
                      </a:lnTo>
                      <a:lnTo>
                        <a:pt x="23" y="5"/>
                      </a:lnTo>
                      <a:lnTo>
                        <a:pt x="23" y="18"/>
                      </a:lnTo>
                      <a:lnTo>
                        <a:pt x="14" y="18"/>
                      </a:lnTo>
                      <a:lnTo>
                        <a:pt x="9" y="22"/>
                      </a:lnTo>
                      <a:lnTo>
                        <a:pt x="0" y="2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46" name="Freeform 45"/>
                <p:cNvSpPr>
                  <a:spLocks noEditPoints="1"/>
                </p:cNvSpPr>
                <p:nvPr/>
              </p:nvSpPr>
              <p:spPr bwMode="gray">
                <a:xfrm>
                  <a:off x="2781" y="2757"/>
                  <a:ext cx="13" cy="27"/>
                </a:xfrm>
                <a:custGeom>
                  <a:avLst/>
                  <a:gdLst>
                    <a:gd name="T0" fmla="*/ 4 w 13"/>
                    <a:gd name="T1" fmla="*/ 27 h 27"/>
                    <a:gd name="T2" fmla="*/ 4 w 13"/>
                    <a:gd name="T3" fmla="*/ 22 h 27"/>
                    <a:gd name="T4" fmla="*/ 9 w 13"/>
                    <a:gd name="T5" fmla="*/ 18 h 27"/>
                    <a:gd name="T6" fmla="*/ 4 w 13"/>
                    <a:gd name="T7" fmla="*/ 18 h 27"/>
                    <a:gd name="T8" fmla="*/ 0 w 13"/>
                    <a:gd name="T9" fmla="*/ 22 h 27"/>
                    <a:gd name="T10" fmla="*/ 0 w 13"/>
                    <a:gd name="T11" fmla="*/ 22 h 27"/>
                    <a:gd name="T12" fmla="*/ 4 w 13"/>
                    <a:gd name="T13" fmla="*/ 27 h 27"/>
                    <a:gd name="T14" fmla="*/ 13 w 13"/>
                    <a:gd name="T15" fmla="*/ 0 h 27"/>
                    <a:gd name="T16" fmla="*/ 9 w 13"/>
                    <a:gd name="T17" fmla="*/ 0 h 27"/>
                    <a:gd name="T18" fmla="*/ 13 w 13"/>
                    <a:gd name="T19" fmla="*/ 4 h 27"/>
                    <a:gd name="T20" fmla="*/ 13 w 13"/>
                    <a:gd name="T21" fmla="*/ 0 h 27"/>
                    <a:gd name="T22" fmla="*/ 13 w 13"/>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7">
                      <a:moveTo>
                        <a:pt x="4" y="27"/>
                      </a:moveTo>
                      <a:lnTo>
                        <a:pt x="4" y="22"/>
                      </a:lnTo>
                      <a:lnTo>
                        <a:pt x="9" y="18"/>
                      </a:lnTo>
                      <a:lnTo>
                        <a:pt x="4" y="18"/>
                      </a:lnTo>
                      <a:lnTo>
                        <a:pt x="0" y="22"/>
                      </a:lnTo>
                      <a:lnTo>
                        <a:pt x="0" y="22"/>
                      </a:lnTo>
                      <a:lnTo>
                        <a:pt x="4" y="27"/>
                      </a:lnTo>
                      <a:close/>
                      <a:moveTo>
                        <a:pt x="13" y="0"/>
                      </a:moveTo>
                      <a:lnTo>
                        <a:pt x="9" y="0"/>
                      </a:lnTo>
                      <a:lnTo>
                        <a:pt x="13" y="4"/>
                      </a:lnTo>
                      <a:lnTo>
                        <a:pt x="13" y="0"/>
                      </a:lnTo>
                      <a:lnTo>
                        <a:pt x="13"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47" name="Freeform 46"/>
                <p:cNvSpPr>
                  <a:spLocks/>
                </p:cNvSpPr>
                <p:nvPr/>
              </p:nvSpPr>
              <p:spPr bwMode="gray">
                <a:xfrm>
                  <a:off x="2437" y="2533"/>
                  <a:ext cx="89" cy="76"/>
                </a:xfrm>
                <a:custGeom>
                  <a:avLst/>
                  <a:gdLst>
                    <a:gd name="T0" fmla="*/ 9 w 89"/>
                    <a:gd name="T1" fmla="*/ 54 h 76"/>
                    <a:gd name="T2" fmla="*/ 4 w 89"/>
                    <a:gd name="T3" fmla="*/ 63 h 76"/>
                    <a:gd name="T4" fmla="*/ 9 w 89"/>
                    <a:gd name="T5" fmla="*/ 72 h 76"/>
                    <a:gd name="T6" fmla="*/ 13 w 89"/>
                    <a:gd name="T7" fmla="*/ 72 h 76"/>
                    <a:gd name="T8" fmla="*/ 40 w 89"/>
                    <a:gd name="T9" fmla="*/ 63 h 76"/>
                    <a:gd name="T10" fmla="*/ 53 w 89"/>
                    <a:gd name="T11" fmla="*/ 68 h 76"/>
                    <a:gd name="T12" fmla="*/ 80 w 89"/>
                    <a:gd name="T13" fmla="*/ 68 h 76"/>
                    <a:gd name="T14" fmla="*/ 85 w 89"/>
                    <a:gd name="T15" fmla="*/ 76 h 76"/>
                    <a:gd name="T16" fmla="*/ 89 w 89"/>
                    <a:gd name="T17" fmla="*/ 72 h 76"/>
                    <a:gd name="T18" fmla="*/ 85 w 89"/>
                    <a:gd name="T19" fmla="*/ 59 h 76"/>
                    <a:gd name="T20" fmla="*/ 76 w 89"/>
                    <a:gd name="T21" fmla="*/ 50 h 76"/>
                    <a:gd name="T22" fmla="*/ 71 w 89"/>
                    <a:gd name="T23" fmla="*/ 36 h 76"/>
                    <a:gd name="T24" fmla="*/ 76 w 89"/>
                    <a:gd name="T25" fmla="*/ 27 h 76"/>
                    <a:gd name="T26" fmla="*/ 58 w 89"/>
                    <a:gd name="T27" fmla="*/ 9 h 76"/>
                    <a:gd name="T28" fmla="*/ 49 w 89"/>
                    <a:gd name="T29" fmla="*/ 9 h 76"/>
                    <a:gd name="T30" fmla="*/ 45 w 89"/>
                    <a:gd name="T31" fmla="*/ 0 h 76"/>
                    <a:gd name="T32" fmla="*/ 18 w 89"/>
                    <a:gd name="T33" fmla="*/ 5 h 76"/>
                    <a:gd name="T34" fmla="*/ 13 w 89"/>
                    <a:gd name="T35" fmla="*/ 9 h 76"/>
                    <a:gd name="T36" fmla="*/ 9 w 89"/>
                    <a:gd name="T37" fmla="*/ 14 h 76"/>
                    <a:gd name="T38" fmla="*/ 0 w 89"/>
                    <a:gd name="T39" fmla="*/ 27 h 76"/>
                    <a:gd name="T40" fmla="*/ 9 w 89"/>
                    <a:gd name="T41" fmla="*/ 41 h 76"/>
                    <a:gd name="T42" fmla="*/ 13 w 89"/>
                    <a:gd name="T43" fmla="*/ 45 h 76"/>
                    <a:gd name="T44" fmla="*/ 36 w 89"/>
                    <a:gd name="T45" fmla="*/ 45 h 76"/>
                    <a:gd name="T46" fmla="*/ 45 w 89"/>
                    <a:gd name="T47" fmla="*/ 45 h 76"/>
                    <a:gd name="T48" fmla="*/ 49 w 89"/>
                    <a:gd name="T49" fmla="*/ 50 h 76"/>
                    <a:gd name="T50" fmla="*/ 45 w 89"/>
                    <a:gd name="T51" fmla="*/ 54 h 76"/>
                    <a:gd name="T52" fmla="*/ 36 w 89"/>
                    <a:gd name="T53" fmla="*/ 50 h 76"/>
                    <a:gd name="T54" fmla="*/ 27 w 89"/>
                    <a:gd name="T55" fmla="*/ 59 h 76"/>
                    <a:gd name="T56" fmla="*/ 9 w 89"/>
                    <a:gd name="T57"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 h="76">
                      <a:moveTo>
                        <a:pt x="9" y="54"/>
                      </a:moveTo>
                      <a:lnTo>
                        <a:pt x="4" y="63"/>
                      </a:lnTo>
                      <a:lnTo>
                        <a:pt x="9" y="72"/>
                      </a:lnTo>
                      <a:lnTo>
                        <a:pt x="13" y="72"/>
                      </a:lnTo>
                      <a:lnTo>
                        <a:pt x="40" y="63"/>
                      </a:lnTo>
                      <a:lnTo>
                        <a:pt x="53" y="68"/>
                      </a:lnTo>
                      <a:lnTo>
                        <a:pt x="80" y="68"/>
                      </a:lnTo>
                      <a:lnTo>
                        <a:pt x="85" y="76"/>
                      </a:lnTo>
                      <a:lnTo>
                        <a:pt x="89" y="72"/>
                      </a:lnTo>
                      <a:lnTo>
                        <a:pt x="85" y="59"/>
                      </a:lnTo>
                      <a:lnTo>
                        <a:pt x="76" y="50"/>
                      </a:lnTo>
                      <a:lnTo>
                        <a:pt x="71" y="36"/>
                      </a:lnTo>
                      <a:lnTo>
                        <a:pt x="76" y="27"/>
                      </a:lnTo>
                      <a:lnTo>
                        <a:pt x="58" y="9"/>
                      </a:lnTo>
                      <a:lnTo>
                        <a:pt x="49" y="9"/>
                      </a:lnTo>
                      <a:lnTo>
                        <a:pt x="45" y="0"/>
                      </a:lnTo>
                      <a:lnTo>
                        <a:pt x="18" y="5"/>
                      </a:lnTo>
                      <a:lnTo>
                        <a:pt x="13" y="9"/>
                      </a:lnTo>
                      <a:lnTo>
                        <a:pt x="9" y="14"/>
                      </a:lnTo>
                      <a:lnTo>
                        <a:pt x="0" y="27"/>
                      </a:lnTo>
                      <a:lnTo>
                        <a:pt x="9" y="41"/>
                      </a:lnTo>
                      <a:lnTo>
                        <a:pt x="13" y="45"/>
                      </a:lnTo>
                      <a:lnTo>
                        <a:pt x="36" y="45"/>
                      </a:lnTo>
                      <a:lnTo>
                        <a:pt x="45" y="45"/>
                      </a:lnTo>
                      <a:lnTo>
                        <a:pt x="49" y="50"/>
                      </a:lnTo>
                      <a:lnTo>
                        <a:pt x="45" y="54"/>
                      </a:lnTo>
                      <a:lnTo>
                        <a:pt x="36" y="50"/>
                      </a:lnTo>
                      <a:lnTo>
                        <a:pt x="27" y="59"/>
                      </a:lnTo>
                      <a:lnTo>
                        <a:pt x="9" y="5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48" name="Freeform 47"/>
                <p:cNvSpPr>
                  <a:spLocks/>
                </p:cNvSpPr>
                <p:nvPr/>
              </p:nvSpPr>
              <p:spPr bwMode="gray">
                <a:xfrm>
                  <a:off x="2490" y="2636"/>
                  <a:ext cx="45" cy="45"/>
                </a:xfrm>
                <a:custGeom>
                  <a:avLst/>
                  <a:gdLst>
                    <a:gd name="T0" fmla="*/ 0 w 45"/>
                    <a:gd name="T1" fmla="*/ 14 h 45"/>
                    <a:gd name="T2" fmla="*/ 5 w 45"/>
                    <a:gd name="T3" fmla="*/ 27 h 45"/>
                    <a:gd name="T4" fmla="*/ 9 w 45"/>
                    <a:gd name="T5" fmla="*/ 27 h 45"/>
                    <a:gd name="T6" fmla="*/ 9 w 45"/>
                    <a:gd name="T7" fmla="*/ 36 h 45"/>
                    <a:gd name="T8" fmla="*/ 27 w 45"/>
                    <a:gd name="T9" fmla="*/ 45 h 45"/>
                    <a:gd name="T10" fmla="*/ 32 w 45"/>
                    <a:gd name="T11" fmla="*/ 40 h 45"/>
                    <a:gd name="T12" fmla="*/ 41 w 45"/>
                    <a:gd name="T13" fmla="*/ 36 h 45"/>
                    <a:gd name="T14" fmla="*/ 41 w 45"/>
                    <a:gd name="T15" fmla="*/ 32 h 45"/>
                    <a:gd name="T16" fmla="*/ 45 w 45"/>
                    <a:gd name="T17" fmla="*/ 32 h 45"/>
                    <a:gd name="T18" fmla="*/ 45 w 45"/>
                    <a:gd name="T19" fmla="*/ 23 h 45"/>
                    <a:gd name="T20" fmla="*/ 41 w 45"/>
                    <a:gd name="T21" fmla="*/ 23 h 45"/>
                    <a:gd name="T22" fmla="*/ 41 w 45"/>
                    <a:gd name="T23" fmla="*/ 14 h 45"/>
                    <a:gd name="T24" fmla="*/ 36 w 45"/>
                    <a:gd name="T25" fmla="*/ 5 h 45"/>
                    <a:gd name="T26" fmla="*/ 32 w 45"/>
                    <a:gd name="T27" fmla="*/ 0 h 45"/>
                    <a:gd name="T28" fmla="*/ 14 w 45"/>
                    <a:gd name="T29" fmla="*/ 5 h 45"/>
                    <a:gd name="T30" fmla="*/ 9 w 45"/>
                    <a:gd name="T31" fmla="*/ 9 h 45"/>
                    <a:gd name="T32" fmla="*/ 0 w 45"/>
                    <a:gd name="T33"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5">
                      <a:moveTo>
                        <a:pt x="0" y="14"/>
                      </a:moveTo>
                      <a:lnTo>
                        <a:pt x="5" y="27"/>
                      </a:lnTo>
                      <a:lnTo>
                        <a:pt x="9" y="27"/>
                      </a:lnTo>
                      <a:lnTo>
                        <a:pt x="9" y="36"/>
                      </a:lnTo>
                      <a:lnTo>
                        <a:pt x="27" y="45"/>
                      </a:lnTo>
                      <a:lnTo>
                        <a:pt x="32" y="40"/>
                      </a:lnTo>
                      <a:lnTo>
                        <a:pt x="41" y="36"/>
                      </a:lnTo>
                      <a:lnTo>
                        <a:pt x="41" y="32"/>
                      </a:lnTo>
                      <a:lnTo>
                        <a:pt x="45" y="32"/>
                      </a:lnTo>
                      <a:lnTo>
                        <a:pt x="45" y="23"/>
                      </a:lnTo>
                      <a:lnTo>
                        <a:pt x="41" y="23"/>
                      </a:lnTo>
                      <a:lnTo>
                        <a:pt x="41" y="14"/>
                      </a:lnTo>
                      <a:lnTo>
                        <a:pt x="36" y="5"/>
                      </a:lnTo>
                      <a:lnTo>
                        <a:pt x="32" y="0"/>
                      </a:lnTo>
                      <a:lnTo>
                        <a:pt x="14" y="5"/>
                      </a:lnTo>
                      <a:lnTo>
                        <a:pt x="9" y="9"/>
                      </a:lnTo>
                      <a:lnTo>
                        <a:pt x="0" y="1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49" name="Freeform 48"/>
                <p:cNvSpPr>
                  <a:spLocks/>
                </p:cNvSpPr>
                <p:nvPr/>
              </p:nvSpPr>
              <p:spPr bwMode="gray">
                <a:xfrm>
                  <a:off x="3272" y="2605"/>
                  <a:ext cx="152" cy="201"/>
                </a:xfrm>
                <a:custGeom>
                  <a:avLst/>
                  <a:gdLst>
                    <a:gd name="T0" fmla="*/ 9 w 152"/>
                    <a:gd name="T1" fmla="*/ 201 h 201"/>
                    <a:gd name="T2" fmla="*/ 31 w 152"/>
                    <a:gd name="T3" fmla="*/ 179 h 201"/>
                    <a:gd name="T4" fmla="*/ 58 w 152"/>
                    <a:gd name="T5" fmla="*/ 147 h 201"/>
                    <a:gd name="T6" fmla="*/ 63 w 152"/>
                    <a:gd name="T7" fmla="*/ 147 h 201"/>
                    <a:gd name="T8" fmla="*/ 72 w 152"/>
                    <a:gd name="T9" fmla="*/ 139 h 201"/>
                    <a:gd name="T10" fmla="*/ 85 w 152"/>
                    <a:gd name="T11" fmla="*/ 134 h 201"/>
                    <a:gd name="T12" fmla="*/ 116 w 152"/>
                    <a:gd name="T13" fmla="*/ 94 h 201"/>
                    <a:gd name="T14" fmla="*/ 130 w 152"/>
                    <a:gd name="T15" fmla="*/ 63 h 201"/>
                    <a:gd name="T16" fmla="*/ 143 w 152"/>
                    <a:gd name="T17" fmla="*/ 45 h 201"/>
                    <a:gd name="T18" fmla="*/ 139 w 152"/>
                    <a:gd name="T19" fmla="*/ 40 h 201"/>
                    <a:gd name="T20" fmla="*/ 148 w 152"/>
                    <a:gd name="T21" fmla="*/ 27 h 201"/>
                    <a:gd name="T22" fmla="*/ 152 w 152"/>
                    <a:gd name="T23" fmla="*/ 22 h 201"/>
                    <a:gd name="T24" fmla="*/ 148 w 152"/>
                    <a:gd name="T25" fmla="*/ 22 h 201"/>
                    <a:gd name="T26" fmla="*/ 148 w 152"/>
                    <a:gd name="T27" fmla="*/ 0 h 201"/>
                    <a:gd name="T28" fmla="*/ 139 w 152"/>
                    <a:gd name="T29" fmla="*/ 0 h 201"/>
                    <a:gd name="T30" fmla="*/ 134 w 152"/>
                    <a:gd name="T31" fmla="*/ 4 h 201"/>
                    <a:gd name="T32" fmla="*/ 130 w 152"/>
                    <a:gd name="T33" fmla="*/ 4 h 201"/>
                    <a:gd name="T34" fmla="*/ 103 w 152"/>
                    <a:gd name="T35" fmla="*/ 13 h 201"/>
                    <a:gd name="T36" fmla="*/ 89 w 152"/>
                    <a:gd name="T37" fmla="*/ 13 h 201"/>
                    <a:gd name="T38" fmla="*/ 81 w 152"/>
                    <a:gd name="T39" fmla="*/ 22 h 201"/>
                    <a:gd name="T40" fmla="*/ 67 w 152"/>
                    <a:gd name="T41" fmla="*/ 18 h 201"/>
                    <a:gd name="T42" fmla="*/ 54 w 152"/>
                    <a:gd name="T43" fmla="*/ 22 h 201"/>
                    <a:gd name="T44" fmla="*/ 36 w 152"/>
                    <a:gd name="T45" fmla="*/ 9 h 201"/>
                    <a:gd name="T46" fmla="*/ 31 w 152"/>
                    <a:gd name="T47" fmla="*/ 13 h 201"/>
                    <a:gd name="T48" fmla="*/ 27 w 152"/>
                    <a:gd name="T49" fmla="*/ 22 h 201"/>
                    <a:gd name="T50" fmla="*/ 36 w 152"/>
                    <a:gd name="T51" fmla="*/ 36 h 201"/>
                    <a:gd name="T52" fmla="*/ 45 w 152"/>
                    <a:gd name="T53" fmla="*/ 45 h 201"/>
                    <a:gd name="T54" fmla="*/ 81 w 152"/>
                    <a:gd name="T55" fmla="*/ 63 h 201"/>
                    <a:gd name="T56" fmla="*/ 103 w 152"/>
                    <a:gd name="T57" fmla="*/ 63 h 201"/>
                    <a:gd name="T58" fmla="*/ 54 w 152"/>
                    <a:gd name="T59" fmla="*/ 103 h 201"/>
                    <a:gd name="T60" fmla="*/ 27 w 152"/>
                    <a:gd name="T61" fmla="*/ 107 h 201"/>
                    <a:gd name="T62" fmla="*/ 18 w 152"/>
                    <a:gd name="T63" fmla="*/ 116 h 201"/>
                    <a:gd name="T64" fmla="*/ 0 w 152"/>
                    <a:gd name="T65" fmla="*/ 130 h 201"/>
                    <a:gd name="T66" fmla="*/ 5 w 152"/>
                    <a:gd name="T67" fmla="*/ 183 h 201"/>
                    <a:gd name="T68" fmla="*/ 9 w 152"/>
                    <a:gd name="T6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2" h="201">
                      <a:moveTo>
                        <a:pt x="9" y="201"/>
                      </a:moveTo>
                      <a:lnTo>
                        <a:pt x="31" y="179"/>
                      </a:lnTo>
                      <a:lnTo>
                        <a:pt x="58" y="147"/>
                      </a:lnTo>
                      <a:lnTo>
                        <a:pt x="63" y="147"/>
                      </a:lnTo>
                      <a:lnTo>
                        <a:pt x="72" y="139"/>
                      </a:lnTo>
                      <a:lnTo>
                        <a:pt x="85" y="134"/>
                      </a:lnTo>
                      <a:lnTo>
                        <a:pt x="116" y="94"/>
                      </a:lnTo>
                      <a:lnTo>
                        <a:pt x="130" y="63"/>
                      </a:lnTo>
                      <a:lnTo>
                        <a:pt x="143" y="45"/>
                      </a:lnTo>
                      <a:lnTo>
                        <a:pt x="139" y="40"/>
                      </a:lnTo>
                      <a:lnTo>
                        <a:pt x="148" y="27"/>
                      </a:lnTo>
                      <a:lnTo>
                        <a:pt x="152" y="22"/>
                      </a:lnTo>
                      <a:lnTo>
                        <a:pt x="148" y="22"/>
                      </a:lnTo>
                      <a:lnTo>
                        <a:pt x="148" y="0"/>
                      </a:lnTo>
                      <a:lnTo>
                        <a:pt x="139" y="0"/>
                      </a:lnTo>
                      <a:lnTo>
                        <a:pt x="134" y="4"/>
                      </a:lnTo>
                      <a:lnTo>
                        <a:pt x="130" y="4"/>
                      </a:lnTo>
                      <a:lnTo>
                        <a:pt x="103" y="13"/>
                      </a:lnTo>
                      <a:lnTo>
                        <a:pt x="89" y="13"/>
                      </a:lnTo>
                      <a:lnTo>
                        <a:pt x="81" y="22"/>
                      </a:lnTo>
                      <a:lnTo>
                        <a:pt x="67" y="18"/>
                      </a:lnTo>
                      <a:lnTo>
                        <a:pt x="54" y="22"/>
                      </a:lnTo>
                      <a:lnTo>
                        <a:pt x="36" y="9"/>
                      </a:lnTo>
                      <a:lnTo>
                        <a:pt x="31" y="13"/>
                      </a:lnTo>
                      <a:lnTo>
                        <a:pt x="27" y="22"/>
                      </a:lnTo>
                      <a:lnTo>
                        <a:pt x="36" y="36"/>
                      </a:lnTo>
                      <a:lnTo>
                        <a:pt x="45" y="45"/>
                      </a:lnTo>
                      <a:lnTo>
                        <a:pt x="81" y="63"/>
                      </a:lnTo>
                      <a:lnTo>
                        <a:pt x="103" y="63"/>
                      </a:lnTo>
                      <a:lnTo>
                        <a:pt x="54" y="103"/>
                      </a:lnTo>
                      <a:lnTo>
                        <a:pt x="27" y="107"/>
                      </a:lnTo>
                      <a:lnTo>
                        <a:pt x="18" y="116"/>
                      </a:lnTo>
                      <a:lnTo>
                        <a:pt x="0" y="130"/>
                      </a:lnTo>
                      <a:lnTo>
                        <a:pt x="5" y="183"/>
                      </a:lnTo>
                      <a:lnTo>
                        <a:pt x="9" y="20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50" name="Freeform 49"/>
                <p:cNvSpPr>
                  <a:spLocks noEditPoints="1"/>
                </p:cNvSpPr>
                <p:nvPr/>
              </p:nvSpPr>
              <p:spPr bwMode="gray">
                <a:xfrm>
                  <a:off x="2915" y="3110"/>
                  <a:ext cx="241" cy="214"/>
                </a:xfrm>
                <a:custGeom>
                  <a:avLst/>
                  <a:gdLst>
                    <a:gd name="T0" fmla="*/ 9 w 241"/>
                    <a:gd name="T1" fmla="*/ 112 h 214"/>
                    <a:gd name="T2" fmla="*/ 27 w 241"/>
                    <a:gd name="T3" fmla="*/ 174 h 214"/>
                    <a:gd name="T4" fmla="*/ 31 w 241"/>
                    <a:gd name="T5" fmla="*/ 192 h 214"/>
                    <a:gd name="T6" fmla="*/ 31 w 241"/>
                    <a:gd name="T7" fmla="*/ 210 h 214"/>
                    <a:gd name="T8" fmla="*/ 53 w 241"/>
                    <a:gd name="T9" fmla="*/ 214 h 214"/>
                    <a:gd name="T10" fmla="*/ 80 w 241"/>
                    <a:gd name="T11" fmla="*/ 206 h 214"/>
                    <a:gd name="T12" fmla="*/ 98 w 241"/>
                    <a:gd name="T13" fmla="*/ 201 h 214"/>
                    <a:gd name="T14" fmla="*/ 125 w 241"/>
                    <a:gd name="T15" fmla="*/ 201 h 214"/>
                    <a:gd name="T16" fmla="*/ 134 w 241"/>
                    <a:gd name="T17" fmla="*/ 192 h 214"/>
                    <a:gd name="T18" fmla="*/ 156 w 241"/>
                    <a:gd name="T19" fmla="*/ 192 h 214"/>
                    <a:gd name="T20" fmla="*/ 174 w 241"/>
                    <a:gd name="T21" fmla="*/ 174 h 214"/>
                    <a:gd name="T22" fmla="*/ 205 w 241"/>
                    <a:gd name="T23" fmla="*/ 147 h 214"/>
                    <a:gd name="T24" fmla="*/ 232 w 241"/>
                    <a:gd name="T25" fmla="*/ 112 h 214"/>
                    <a:gd name="T26" fmla="*/ 237 w 241"/>
                    <a:gd name="T27" fmla="*/ 94 h 214"/>
                    <a:gd name="T28" fmla="*/ 241 w 241"/>
                    <a:gd name="T29" fmla="*/ 89 h 214"/>
                    <a:gd name="T30" fmla="*/ 228 w 241"/>
                    <a:gd name="T31" fmla="*/ 80 h 214"/>
                    <a:gd name="T32" fmla="*/ 210 w 241"/>
                    <a:gd name="T33" fmla="*/ 85 h 214"/>
                    <a:gd name="T34" fmla="*/ 210 w 241"/>
                    <a:gd name="T35" fmla="*/ 63 h 214"/>
                    <a:gd name="T36" fmla="*/ 223 w 241"/>
                    <a:gd name="T37" fmla="*/ 63 h 214"/>
                    <a:gd name="T38" fmla="*/ 228 w 241"/>
                    <a:gd name="T39" fmla="*/ 58 h 214"/>
                    <a:gd name="T40" fmla="*/ 223 w 241"/>
                    <a:gd name="T41" fmla="*/ 13 h 214"/>
                    <a:gd name="T42" fmla="*/ 201 w 241"/>
                    <a:gd name="T43" fmla="*/ 0 h 214"/>
                    <a:gd name="T44" fmla="*/ 187 w 241"/>
                    <a:gd name="T45" fmla="*/ 4 h 214"/>
                    <a:gd name="T46" fmla="*/ 152 w 241"/>
                    <a:gd name="T47" fmla="*/ 31 h 214"/>
                    <a:gd name="T48" fmla="*/ 138 w 241"/>
                    <a:gd name="T49" fmla="*/ 45 h 214"/>
                    <a:gd name="T50" fmla="*/ 111 w 241"/>
                    <a:gd name="T51" fmla="*/ 63 h 214"/>
                    <a:gd name="T52" fmla="*/ 103 w 241"/>
                    <a:gd name="T53" fmla="*/ 54 h 214"/>
                    <a:gd name="T54" fmla="*/ 85 w 241"/>
                    <a:gd name="T55" fmla="*/ 76 h 214"/>
                    <a:gd name="T56" fmla="*/ 62 w 241"/>
                    <a:gd name="T57" fmla="*/ 71 h 214"/>
                    <a:gd name="T58" fmla="*/ 53 w 241"/>
                    <a:gd name="T59" fmla="*/ 45 h 214"/>
                    <a:gd name="T60" fmla="*/ 44 w 241"/>
                    <a:gd name="T61" fmla="*/ 107 h 214"/>
                    <a:gd name="T62" fmla="*/ 27 w 241"/>
                    <a:gd name="T63" fmla="*/ 112 h 214"/>
                    <a:gd name="T64" fmla="*/ 13 w 241"/>
                    <a:gd name="T65" fmla="*/ 103 h 214"/>
                    <a:gd name="T66" fmla="*/ 0 w 241"/>
                    <a:gd name="T67" fmla="*/ 107 h 214"/>
                    <a:gd name="T68" fmla="*/ 170 w 241"/>
                    <a:gd name="T69" fmla="*/ 138 h 214"/>
                    <a:gd name="T70" fmla="*/ 187 w 241"/>
                    <a:gd name="T71" fmla="*/ 130 h 214"/>
                    <a:gd name="T72" fmla="*/ 183 w 241"/>
                    <a:gd name="T73" fmla="*/ 107 h 214"/>
                    <a:gd name="T74" fmla="*/ 156 w 241"/>
                    <a:gd name="T75" fmla="*/ 12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1" h="214">
                      <a:moveTo>
                        <a:pt x="0" y="107"/>
                      </a:moveTo>
                      <a:lnTo>
                        <a:pt x="9" y="112"/>
                      </a:lnTo>
                      <a:lnTo>
                        <a:pt x="27" y="156"/>
                      </a:lnTo>
                      <a:lnTo>
                        <a:pt x="27" y="174"/>
                      </a:lnTo>
                      <a:lnTo>
                        <a:pt x="22" y="174"/>
                      </a:lnTo>
                      <a:lnTo>
                        <a:pt x="31" y="192"/>
                      </a:lnTo>
                      <a:lnTo>
                        <a:pt x="27" y="197"/>
                      </a:lnTo>
                      <a:lnTo>
                        <a:pt x="31" y="210"/>
                      </a:lnTo>
                      <a:lnTo>
                        <a:pt x="36" y="206"/>
                      </a:lnTo>
                      <a:lnTo>
                        <a:pt x="53" y="214"/>
                      </a:lnTo>
                      <a:lnTo>
                        <a:pt x="58" y="206"/>
                      </a:lnTo>
                      <a:lnTo>
                        <a:pt x="80" y="206"/>
                      </a:lnTo>
                      <a:lnTo>
                        <a:pt x="80" y="201"/>
                      </a:lnTo>
                      <a:lnTo>
                        <a:pt x="98" y="201"/>
                      </a:lnTo>
                      <a:lnTo>
                        <a:pt x="120" y="206"/>
                      </a:lnTo>
                      <a:lnTo>
                        <a:pt x="125" y="201"/>
                      </a:lnTo>
                      <a:lnTo>
                        <a:pt x="138" y="201"/>
                      </a:lnTo>
                      <a:lnTo>
                        <a:pt x="134" y="192"/>
                      </a:lnTo>
                      <a:lnTo>
                        <a:pt x="152" y="197"/>
                      </a:lnTo>
                      <a:lnTo>
                        <a:pt x="156" y="192"/>
                      </a:lnTo>
                      <a:lnTo>
                        <a:pt x="161" y="183"/>
                      </a:lnTo>
                      <a:lnTo>
                        <a:pt x="174" y="174"/>
                      </a:lnTo>
                      <a:lnTo>
                        <a:pt x="192" y="156"/>
                      </a:lnTo>
                      <a:lnTo>
                        <a:pt x="205" y="147"/>
                      </a:lnTo>
                      <a:lnTo>
                        <a:pt x="223" y="116"/>
                      </a:lnTo>
                      <a:lnTo>
                        <a:pt x="232" y="112"/>
                      </a:lnTo>
                      <a:lnTo>
                        <a:pt x="237" y="103"/>
                      </a:lnTo>
                      <a:lnTo>
                        <a:pt x="237" y="94"/>
                      </a:lnTo>
                      <a:lnTo>
                        <a:pt x="237" y="85"/>
                      </a:lnTo>
                      <a:lnTo>
                        <a:pt x="241" y="89"/>
                      </a:lnTo>
                      <a:lnTo>
                        <a:pt x="241" y="76"/>
                      </a:lnTo>
                      <a:lnTo>
                        <a:pt x="228" y="80"/>
                      </a:lnTo>
                      <a:lnTo>
                        <a:pt x="223" y="85"/>
                      </a:lnTo>
                      <a:lnTo>
                        <a:pt x="210" y="85"/>
                      </a:lnTo>
                      <a:lnTo>
                        <a:pt x="205" y="80"/>
                      </a:lnTo>
                      <a:lnTo>
                        <a:pt x="210" y="63"/>
                      </a:lnTo>
                      <a:lnTo>
                        <a:pt x="219" y="58"/>
                      </a:lnTo>
                      <a:lnTo>
                        <a:pt x="223" y="63"/>
                      </a:lnTo>
                      <a:lnTo>
                        <a:pt x="228" y="63"/>
                      </a:lnTo>
                      <a:lnTo>
                        <a:pt x="228" y="58"/>
                      </a:lnTo>
                      <a:lnTo>
                        <a:pt x="228" y="49"/>
                      </a:lnTo>
                      <a:lnTo>
                        <a:pt x="223" y="13"/>
                      </a:lnTo>
                      <a:lnTo>
                        <a:pt x="223" y="9"/>
                      </a:lnTo>
                      <a:lnTo>
                        <a:pt x="201" y="0"/>
                      </a:lnTo>
                      <a:lnTo>
                        <a:pt x="192" y="0"/>
                      </a:lnTo>
                      <a:lnTo>
                        <a:pt x="187" y="4"/>
                      </a:lnTo>
                      <a:lnTo>
                        <a:pt x="174" y="9"/>
                      </a:lnTo>
                      <a:lnTo>
                        <a:pt x="152" y="31"/>
                      </a:lnTo>
                      <a:lnTo>
                        <a:pt x="152" y="36"/>
                      </a:lnTo>
                      <a:lnTo>
                        <a:pt x="138" y="45"/>
                      </a:lnTo>
                      <a:lnTo>
                        <a:pt x="134" y="58"/>
                      </a:lnTo>
                      <a:lnTo>
                        <a:pt x="111" y="63"/>
                      </a:lnTo>
                      <a:lnTo>
                        <a:pt x="107" y="58"/>
                      </a:lnTo>
                      <a:lnTo>
                        <a:pt x="103" y="54"/>
                      </a:lnTo>
                      <a:lnTo>
                        <a:pt x="98" y="54"/>
                      </a:lnTo>
                      <a:lnTo>
                        <a:pt x="85" y="76"/>
                      </a:lnTo>
                      <a:lnTo>
                        <a:pt x="62" y="80"/>
                      </a:lnTo>
                      <a:lnTo>
                        <a:pt x="62" y="71"/>
                      </a:lnTo>
                      <a:lnTo>
                        <a:pt x="62" y="63"/>
                      </a:lnTo>
                      <a:lnTo>
                        <a:pt x="53" y="45"/>
                      </a:lnTo>
                      <a:lnTo>
                        <a:pt x="53" y="107"/>
                      </a:lnTo>
                      <a:lnTo>
                        <a:pt x="44" y="107"/>
                      </a:lnTo>
                      <a:lnTo>
                        <a:pt x="44" y="116"/>
                      </a:lnTo>
                      <a:lnTo>
                        <a:pt x="27" y="112"/>
                      </a:lnTo>
                      <a:lnTo>
                        <a:pt x="13" y="112"/>
                      </a:lnTo>
                      <a:lnTo>
                        <a:pt x="13" y="103"/>
                      </a:lnTo>
                      <a:lnTo>
                        <a:pt x="9" y="103"/>
                      </a:lnTo>
                      <a:lnTo>
                        <a:pt x="0" y="107"/>
                      </a:lnTo>
                      <a:close/>
                      <a:moveTo>
                        <a:pt x="165" y="134"/>
                      </a:moveTo>
                      <a:lnTo>
                        <a:pt x="170" y="138"/>
                      </a:lnTo>
                      <a:lnTo>
                        <a:pt x="174" y="134"/>
                      </a:lnTo>
                      <a:lnTo>
                        <a:pt x="187" y="130"/>
                      </a:lnTo>
                      <a:lnTo>
                        <a:pt x="196" y="121"/>
                      </a:lnTo>
                      <a:lnTo>
                        <a:pt x="183" y="107"/>
                      </a:lnTo>
                      <a:lnTo>
                        <a:pt x="165" y="112"/>
                      </a:lnTo>
                      <a:lnTo>
                        <a:pt x="156" y="121"/>
                      </a:lnTo>
                      <a:lnTo>
                        <a:pt x="165" y="13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51" name="Freeform 50"/>
                <p:cNvSpPr>
                  <a:spLocks/>
                </p:cNvSpPr>
                <p:nvPr/>
              </p:nvSpPr>
              <p:spPr bwMode="gray">
                <a:xfrm>
                  <a:off x="3040" y="3012"/>
                  <a:ext cx="120" cy="107"/>
                </a:xfrm>
                <a:custGeom>
                  <a:avLst/>
                  <a:gdLst>
                    <a:gd name="T0" fmla="*/ 67 w 120"/>
                    <a:gd name="T1" fmla="*/ 98 h 107"/>
                    <a:gd name="T2" fmla="*/ 67 w 120"/>
                    <a:gd name="T3" fmla="*/ 93 h 107"/>
                    <a:gd name="T4" fmla="*/ 53 w 120"/>
                    <a:gd name="T5" fmla="*/ 93 h 107"/>
                    <a:gd name="T6" fmla="*/ 40 w 120"/>
                    <a:gd name="T7" fmla="*/ 76 h 107"/>
                    <a:gd name="T8" fmla="*/ 13 w 120"/>
                    <a:gd name="T9" fmla="*/ 53 h 107"/>
                    <a:gd name="T10" fmla="*/ 0 w 120"/>
                    <a:gd name="T11" fmla="*/ 31 h 107"/>
                    <a:gd name="T12" fmla="*/ 27 w 120"/>
                    <a:gd name="T13" fmla="*/ 35 h 107"/>
                    <a:gd name="T14" fmla="*/ 45 w 120"/>
                    <a:gd name="T15" fmla="*/ 18 h 107"/>
                    <a:gd name="T16" fmla="*/ 58 w 120"/>
                    <a:gd name="T17" fmla="*/ 9 h 107"/>
                    <a:gd name="T18" fmla="*/ 62 w 120"/>
                    <a:gd name="T19" fmla="*/ 4 h 107"/>
                    <a:gd name="T20" fmla="*/ 80 w 120"/>
                    <a:gd name="T21" fmla="*/ 0 h 107"/>
                    <a:gd name="T22" fmla="*/ 85 w 120"/>
                    <a:gd name="T23" fmla="*/ 4 h 107"/>
                    <a:gd name="T24" fmla="*/ 98 w 120"/>
                    <a:gd name="T25" fmla="*/ 4 h 107"/>
                    <a:gd name="T26" fmla="*/ 116 w 120"/>
                    <a:gd name="T27" fmla="*/ 13 h 107"/>
                    <a:gd name="T28" fmla="*/ 120 w 120"/>
                    <a:gd name="T29" fmla="*/ 49 h 107"/>
                    <a:gd name="T30" fmla="*/ 116 w 120"/>
                    <a:gd name="T31" fmla="*/ 58 h 107"/>
                    <a:gd name="T32" fmla="*/ 120 w 120"/>
                    <a:gd name="T33" fmla="*/ 67 h 107"/>
                    <a:gd name="T34" fmla="*/ 112 w 120"/>
                    <a:gd name="T35" fmla="*/ 89 h 107"/>
                    <a:gd name="T36" fmla="*/ 98 w 120"/>
                    <a:gd name="T37" fmla="*/ 107 h 107"/>
                    <a:gd name="T38" fmla="*/ 76 w 120"/>
                    <a:gd name="T39" fmla="*/ 98 h 107"/>
                    <a:gd name="T40" fmla="*/ 67 w 120"/>
                    <a:gd name="T41" fmla="*/ 9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107">
                      <a:moveTo>
                        <a:pt x="67" y="98"/>
                      </a:moveTo>
                      <a:lnTo>
                        <a:pt x="67" y="93"/>
                      </a:lnTo>
                      <a:lnTo>
                        <a:pt x="53" y="93"/>
                      </a:lnTo>
                      <a:lnTo>
                        <a:pt x="40" y="76"/>
                      </a:lnTo>
                      <a:lnTo>
                        <a:pt x="13" y="53"/>
                      </a:lnTo>
                      <a:lnTo>
                        <a:pt x="0" y="31"/>
                      </a:lnTo>
                      <a:lnTo>
                        <a:pt x="27" y="35"/>
                      </a:lnTo>
                      <a:lnTo>
                        <a:pt x="45" y="18"/>
                      </a:lnTo>
                      <a:lnTo>
                        <a:pt x="58" y="9"/>
                      </a:lnTo>
                      <a:lnTo>
                        <a:pt x="62" y="4"/>
                      </a:lnTo>
                      <a:lnTo>
                        <a:pt x="80" y="0"/>
                      </a:lnTo>
                      <a:lnTo>
                        <a:pt x="85" y="4"/>
                      </a:lnTo>
                      <a:lnTo>
                        <a:pt x="98" y="4"/>
                      </a:lnTo>
                      <a:lnTo>
                        <a:pt x="116" y="13"/>
                      </a:lnTo>
                      <a:lnTo>
                        <a:pt x="120" y="49"/>
                      </a:lnTo>
                      <a:lnTo>
                        <a:pt x="116" y="58"/>
                      </a:lnTo>
                      <a:lnTo>
                        <a:pt x="120" y="67"/>
                      </a:lnTo>
                      <a:lnTo>
                        <a:pt x="112" y="89"/>
                      </a:lnTo>
                      <a:lnTo>
                        <a:pt x="98" y="107"/>
                      </a:lnTo>
                      <a:lnTo>
                        <a:pt x="76" y="98"/>
                      </a:lnTo>
                      <a:lnTo>
                        <a:pt x="67" y="9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52" name="Freeform 51"/>
                <p:cNvSpPr>
                  <a:spLocks/>
                </p:cNvSpPr>
                <p:nvPr/>
              </p:nvSpPr>
              <p:spPr bwMode="gray">
                <a:xfrm>
                  <a:off x="2441" y="2359"/>
                  <a:ext cx="116" cy="107"/>
                </a:xfrm>
                <a:custGeom>
                  <a:avLst/>
                  <a:gdLst>
                    <a:gd name="T0" fmla="*/ 54 w 116"/>
                    <a:gd name="T1" fmla="*/ 0 h 107"/>
                    <a:gd name="T2" fmla="*/ 45 w 116"/>
                    <a:gd name="T3" fmla="*/ 23 h 107"/>
                    <a:gd name="T4" fmla="*/ 36 w 116"/>
                    <a:gd name="T5" fmla="*/ 27 h 107"/>
                    <a:gd name="T6" fmla="*/ 36 w 116"/>
                    <a:gd name="T7" fmla="*/ 36 h 107"/>
                    <a:gd name="T8" fmla="*/ 27 w 116"/>
                    <a:gd name="T9" fmla="*/ 49 h 107"/>
                    <a:gd name="T10" fmla="*/ 14 w 116"/>
                    <a:gd name="T11" fmla="*/ 58 h 107"/>
                    <a:gd name="T12" fmla="*/ 9 w 116"/>
                    <a:gd name="T13" fmla="*/ 72 h 107"/>
                    <a:gd name="T14" fmla="*/ 9 w 116"/>
                    <a:gd name="T15" fmla="*/ 76 h 107"/>
                    <a:gd name="T16" fmla="*/ 0 w 116"/>
                    <a:gd name="T17" fmla="*/ 90 h 107"/>
                    <a:gd name="T18" fmla="*/ 0 w 116"/>
                    <a:gd name="T19" fmla="*/ 94 h 107"/>
                    <a:gd name="T20" fmla="*/ 0 w 116"/>
                    <a:gd name="T21" fmla="*/ 103 h 107"/>
                    <a:gd name="T22" fmla="*/ 5 w 116"/>
                    <a:gd name="T23" fmla="*/ 107 h 107"/>
                    <a:gd name="T24" fmla="*/ 54 w 116"/>
                    <a:gd name="T25" fmla="*/ 103 h 107"/>
                    <a:gd name="T26" fmla="*/ 54 w 116"/>
                    <a:gd name="T27" fmla="*/ 76 h 107"/>
                    <a:gd name="T28" fmla="*/ 58 w 116"/>
                    <a:gd name="T29" fmla="*/ 72 h 107"/>
                    <a:gd name="T30" fmla="*/ 67 w 116"/>
                    <a:gd name="T31" fmla="*/ 72 h 107"/>
                    <a:gd name="T32" fmla="*/ 72 w 116"/>
                    <a:gd name="T33" fmla="*/ 31 h 107"/>
                    <a:gd name="T34" fmla="*/ 116 w 116"/>
                    <a:gd name="T35" fmla="*/ 31 h 107"/>
                    <a:gd name="T36" fmla="*/ 116 w 116"/>
                    <a:gd name="T37" fmla="*/ 14 h 107"/>
                    <a:gd name="T38" fmla="*/ 116 w 116"/>
                    <a:gd name="T39" fmla="*/ 5 h 107"/>
                    <a:gd name="T40" fmla="*/ 54 w 116"/>
                    <a:gd name="T4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07">
                      <a:moveTo>
                        <a:pt x="54" y="0"/>
                      </a:moveTo>
                      <a:lnTo>
                        <a:pt x="45" y="23"/>
                      </a:lnTo>
                      <a:lnTo>
                        <a:pt x="36" y="27"/>
                      </a:lnTo>
                      <a:lnTo>
                        <a:pt x="36" y="36"/>
                      </a:lnTo>
                      <a:lnTo>
                        <a:pt x="27" y="49"/>
                      </a:lnTo>
                      <a:lnTo>
                        <a:pt x="14" y="58"/>
                      </a:lnTo>
                      <a:lnTo>
                        <a:pt x="9" y="72"/>
                      </a:lnTo>
                      <a:lnTo>
                        <a:pt x="9" y="76"/>
                      </a:lnTo>
                      <a:lnTo>
                        <a:pt x="0" y="90"/>
                      </a:lnTo>
                      <a:lnTo>
                        <a:pt x="0" y="94"/>
                      </a:lnTo>
                      <a:lnTo>
                        <a:pt x="0" y="103"/>
                      </a:lnTo>
                      <a:lnTo>
                        <a:pt x="5" y="107"/>
                      </a:lnTo>
                      <a:lnTo>
                        <a:pt x="54" y="103"/>
                      </a:lnTo>
                      <a:lnTo>
                        <a:pt x="54" y="76"/>
                      </a:lnTo>
                      <a:lnTo>
                        <a:pt x="58" y="72"/>
                      </a:lnTo>
                      <a:lnTo>
                        <a:pt x="67" y="72"/>
                      </a:lnTo>
                      <a:lnTo>
                        <a:pt x="72" y="31"/>
                      </a:lnTo>
                      <a:lnTo>
                        <a:pt x="116" y="31"/>
                      </a:lnTo>
                      <a:lnTo>
                        <a:pt x="116" y="14"/>
                      </a:lnTo>
                      <a:lnTo>
                        <a:pt x="116" y="5"/>
                      </a:lnTo>
                      <a:lnTo>
                        <a:pt x="54"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53" name="Freeform 52"/>
                <p:cNvSpPr>
                  <a:spLocks/>
                </p:cNvSpPr>
                <p:nvPr/>
              </p:nvSpPr>
              <p:spPr bwMode="gray">
                <a:xfrm>
                  <a:off x="2995" y="2435"/>
                  <a:ext cx="241" cy="291"/>
                </a:xfrm>
                <a:custGeom>
                  <a:avLst/>
                  <a:gdLst>
                    <a:gd name="T0" fmla="*/ 9 w 241"/>
                    <a:gd name="T1" fmla="*/ 174 h 291"/>
                    <a:gd name="T2" fmla="*/ 0 w 241"/>
                    <a:gd name="T3" fmla="*/ 157 h 291"/>
                    <a:gd name="T4" fmla="*/ 14 w 241"/>
                    <a:gd name="T5" fmla="*/ 139 h 291"/>
                    <a:gd name="T6" fmla="*/ 14 w 241"/>
                    <a:gd name="T7" fmla="*/ 130 h 291"/>
                    <a:gd name="T8" fmla="*/ 27 w 241"/>
                    <a:gd name="T9" fmla="*/ 116 h 291"/>
                    <a:gd name="T10" fmla="*/ 27 w 241"/>
                    <a:gd name="T11" fmla="*/ 49 h 291"/>
                    <a:gd name="T12" fmla="*/ 45 w 241"/>
                    <a:gd name="T13" fmla="*/ 23 h 291"/>
                    <a:gd name="T14" fmla="*/ 170 w 241"/>
                    <a:gd name="T15" fmla="*/ 27 h 291"/>
                    <a:gd name="T16" fmla="*/ 188 w 241"/>
                    <a:gd name="T17" fmla="*/ 14 h 291"/>
                    <a:gd name="T18" fmla="*/ 192 w 241"/>
                    <a:gd name="T19" fmla="*/ 0 h 291"/>
                    <a:gd name="T20" fmla="*/ 215 w 241"/>
                    <a:gd name="T21" fmla="*/ 27 h 291"/>
                    <a:gd name="T22" fmla="*/ 219 w 241"/>
                    <a:gd name="T23" fmla="*/ 36 h 291"/>
                    <a:gd name="T24" fmla="*/ 237 w 241"/>
                    <a:gd name="T25" fmla="*/ 72 h 291"/>
                    <a:gd name="T26" fmla="*/ 228 w 241"/>
                    <a:gd name="T27" fmla="*/ 85 h 291"/>
                    <a:gd name="T28" fmla="*/ 219 w 241"/>
                    <a:gd name="T29" fmla="*/ 112 h 291"/>
                    <a:gd name="T30" fmla="*/ 215 w 241"/>
                    <a:gd name="T31" fmla="*/ 139 h 291"/>
                    <a:gd name="T32" fmla="*/ 197 w 241"/>
                    <a:gd name="T33" fmla="*/ 157 h 291"/>
                    <a:gd name="T34" fmla="*/ 188 w 241"/>
                    <a:gd name="T35" fmla="*/ 188 h 291"/>
                    <a:gd name="T36" fmla="*/ 179 w 241"/>
                    <a:gd name="T37" fmla="*/ 224 h 291"/>
                    <a:gd name="T38" fmla="*/ 165 w 241"/>
                    <a:gd name="T39" fmla="*/ 237 h 291"/>
                    <a:gd name="T40" fmla="*/ 192 w 241"/>
                    <a:gd name="T41" fmla="*/ 255 h 291"/>
                    <a:gd name="T42" fmla="*/ 201 w 241"/>
                    <a:gd name="T43" fmla="*/ 268 h 291"/>
                    <a:gd name="T44" fmla="*/ 179 w 241"/>
                    <a:gd name="T45" fmla="*/ 277 h 291"/>
                    <a:gd name="T46" fmla="*/ 170 w 241"/>
                    <a:gd name="T47" fmla="*/ 286 h 291"/>
                    <a:gd name="T48" fmla="*/ 152 w 241"/>
                    <a:gd name="T49" fmla="*/ 291 h 291"/>
                    <a:gd name="T50" fmla="*/ 134 w 241"/>
                    <a:gd name="T51" fmla="*/ 286 h 291"/>
                    <a:gd name="T52" fmla="*/ 116 w 241"/>
                    <a:gd name="T53" fmla="*/ 277 h 291"/>
                    <a:gd name="T54" fmla="*/ 81 w 241"/>
                    <a:gd name="T55" fmla="*/ 273 h 291"/>
                    <a:gd name="T56" fmla="*/ 67 w 241"/>
                    <a:gd name="T57" fmla="*/ 255 h 291"/>
                    <a:gd name="T58" fmla="*/ 40 w 241"/>
                    <a:gd name="T59" fmla="*/ 224 h 291"/>
                    <a:gd name="T60" fmla="*/ 23 w 241"/>
                    <a:gd name="T61" fmla="*/ 215 h 291"/>
                    <a:gd name="T62" fmla="*/ 14 w 241"/>
                    <a:gd name="T63" fmla="*/ 183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91">
                      <a:moveTo>
                        <a:pt x="14" y="183"/>
                      </a:moveTo>
                      <a:lnTo>
                        <a:pt x="9" y="174"/>
                      </a:lnTo>
                      <a:lnTo>
                        <a:pt x="9" y="170"/>
                      </a:lnTo>
                      <a:lnTo>
                        <a:pt x="0" y="157"/>
                      </a:lnTo>
                      <a:lnTo>
                        <a:pt x="5" y="143"/>
                      </a:lnTo>
                      <a:lnTo>
                        <a:pt x="14" y="139"/>
                      </a:lnTo>
                      <a:lnTo>
                        <a:pt x="9" y="134"/>
                      </a:lnTo>
                      <a:lnTo>
                        <a:pt x="14" y="130"/>
                      </a:lnTo>
                      <a:lnTo>
                        <a:pt x="14" y="121"/>
                      </a:lnTo>
                      <a:lnTo>
                        <a:pt x="27" y="116"/>
                      </a:lnTo>
                      <a:lnTo>
                        <a:pt x="27" y="58"/>
                      </a:lnTo>
                      <a:lnTo>
                        <a:pt x="27" y="49"/>
                      </a:lnTo>
                      <a:lnTo>
                        <a:pt x="49" y="49"/>
                      </a:lnTo>
                      <a:lnTo>
                        <a:pt x="45" y="23"/>
                      </a:lnTo>
                      <a:lnTo>
                        <a:pt x="165" y="18"/>
                      </a:lnTo>
                      <a:lnTo>
                        <a:pt x="170" y="27"/>
                      </a:lnTo>
                      <a:lnTo>
                        <a:pt x="183" y="14"/>
                      </a:lnTo>
                      <a:lnTo>
                        <a:pt x="188" y="14"/>
                      </a:lnTo>
                      <a:lnTo>
                        <a:pt x="192" y="0"/>
                      </a:lnTo>
                      <a:lnTo>
                        <a:pt x="192" y="0"/>
                      </a:lnTo>
                      <a:lnTo>
                        <a:pt x="215" y="14"/>
                      </a:lnTo>
                      <a:lnTo>
                        <a:pt x="215" y="27"/>
                      </a:lnTo>
                      <a:lnTo>
                        <a:pt x="224" y="31"/>
                      </a:lnTo>
                      <a:lnTo>
                        <a:pt x="219" y="36"/>
                      </a:lnTo>
                      <a:lnTo>
                        <a:pt x="224" y="67"/>
                      </a:lnTo>
                      <a:lnTo>
                        <a:pt x="237" y="72"/>
                      </a:lnTo>
                      <a:lnTo>
                        <a:pt x="241" y="81"/>
                      </a:lnTo>
                      <a:lnTo>
                        <a:pt x="228" y="85"/>
                      </a:lnTo>
                      <a:lnTo>
                        <a:pt x="219" y="94"/>
                      </a:lnTo>
                      <a:lnTo>
                        <a:pt x="219" y="112"/>
                      </a:lnTo>
                      <a:lnTo>
                        <a:pt x="210" y="121"/>
                      </a:lnTo>
                      <a:lnTo>
                        <a:pt x="215" y="139"/>
                      </a:lnTo>
                      <a:lnTo>
                        <a:pt x="210" y="157"/>
                      </a:lnTo>
                      <a:lnTo>
                        <a:pt x="197" y="157"/>
                      </a:lnTo>
                      <a:lnTo>
                        <a:pt x="188" y="179"/>
                      </a:lnTo>
                      <a:lnTo>
                        <a:pt x="188" y="188"/>
                      </a:lnTo>
                      <a:lnTo>
                        <a:pt x="179" y="188"/>
                      </a:lnTo>
                      <a:lnTo>
                        <a:pt x="179" y="224"/>
                      </a:lnTo>
                      <a:lnTo>
                        <a:pt x="165" y="224"/>
                      </a:lnTo>
                      <a:lnTo>
                        <a:pt x="165" y="237"/>
                      </a:lnTo>
                      <a:lnTo>
                        <a:pt x="179" y="241"/>
                      </a:lnTo>
                      <a:lnTo>
                        <a:pt x="192" y="255"/>
                      </a:lnTo>
                      <a:lnTo>
                        <a:pt x="188" y="264"/>
                      </a:lnTo>
                      <a:lnTo>
                        <a:pt x="201" y="268"/>
                      </a:lnTo>
                      <a:lnTo>
                        <a:pt x="201" y="277"/>
                      </a:lnTo>
                      <a:lnTo>
                        <a:pt x="179" y="277"/>
                      </a:lnTo>
                      <a:lnTo>
                        <a:pt x="174" y="282"/>
                      </a:lnTo>
                      <a:lnTo>
                        <a:pt x="170" y="286"/>
                      </a:lnTo>
                      <a:lnTo>
                        <a:pt x="161" y="286"/>
                      </a:lnTo>
                      <a:lnTo>
                        <a:pt x="152" y="291"/>
                      </a:lnTo>
                      <a:lnTo>
                        <a:pt x="143" y="286"/>
                      </a:lnTo>
                      <a:lnTo>
                        <a:pt x="134" y="286"/>
                      </a:lnTo>
                      <a:lnTo>
                        <a:pt x="130" y="291"/>
                      </a:lnTo>
                      <a:lnTo>
                        <a:pt x="116" y="277"/>
                      </a:lnTo>
                      <a:lnTo>
                        <a:pt x="94" y="282"/>
                      </a:lnTo>
                      <a:lnTo>
                        <a:pt x="81" y="273"/>
                      </a:lnTo>
                      <a:lnTo>
                        <a:pt x="81" y="259"/>
                      </a:lnTo>
                      <a:lnTo>
                        <a:pt x="67" y="255"/>
                      </a:lnTo>
                      <a:lnTo>
                        <a:pt x="54" y="228"/>
                      </a:lnTo>
                      <a:lnTo>
                        <a:pt x="40" y="224"/>
                      </a:lnTo>
                      <a:lnTo>
                        <a:pt x="36" y="219"/>
                      </a:lnTo>
                      <a:lnTo>
                        <a:pt x="23" y="215"/>
                      </a:lnTo>
                      <a:lnTo>
                        <a:pt x="18" y="201"/>
                      </a:lnTo>
                      <a:lnTo>
                        <a:pt x="14" y="18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54" name="Freeform 53"/>
                <p:cNvSpPr>
                  <a:spLocks/>
                </p:cNvSpPr>
                <p:nvPr/>
              </p:nvSpPr>
              <p:spPr bwMode="gray">
                <a:xfrm>
                  <a:off x="3120" y="3168"/>
                  <a:ext cx="23" cy="27"/>
                </a:xfrm>
                <a:custGeom>
                  <a:avLst/>
                  <a:gdLst>
                    <a:gd name="T0" fmla="*/ 23 w 23"/>
                    <a:gd name="T1" fmla="*/ 22 h 27"/>
                    <a:gd name="T2" fmla="*/ 18 w 23"/>
                    <a:gd name="T3" fmla="*/ 27 h 27"/>
                    <a:gd name="T4" fmla="*/ 5 w 23"/>
                    <a:gd name="T5" fmla="*/ 27 h 27"/>
                    <a:gd name="T6" fmla="*/ 0 w 23"/>
                    <a:gd name="T7" fmla="*/ 22 h 27"/>
                    <a:gd name="T8" fmla="*/ 5 w 23"/>
                    <a:gd name="T9" fmla="*/ 5 h 27"/>
                    <a:gd name="T10" fmla="*/ 14 w 23"/>
                    <a:gd name="T11" fmla="*/ 0 h 27"/>
                    <a:gd name="T12" fmla="*/ 18 w 23"/>
                    <a:gd name="T13" fmla="*/ 5 h 27"/>
                    <a:gd name="T14" fmla="*/ 23 w 23"/>
                    <a:gd name="T15" fmla="*/ 5 h 27"/>
                    <a:gd name="T16" fmla="*/ 23 w 23"/>
                    <a:gd name="T17" fmla="*/ 9 h 27"/>
                    <a:gd name="T18" fmla="*/ 23 w 23"/>
                    <a:gd name="T19"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7">
                      <a:moveTo>
                        <a:pt x="23" y="22"/>
                      </a:moveTo>
                      <a:lnTo>
                        <a:pt x="18" y="27"/>
                      </a:lnTo>
                      <a:lnTo>
                        <a:pt x="5" y="27"/>
                      </a:lnTo>
                      <a:lnTo>
                        <a:pt x="0" y="22"/>
                      </a:lnTo>
                      <a:lnTo>
                        <a:pt x="5" y="5"/>
                      </a:lnTo>
                      <a:lnTo>
                        <a:pt x="14" y="0"/>
                      </a:lnTo>
                      <a:lnTo>
                        <a:pt x="18" y="5"/>
                      </a:lnTo>
                      <a:lnTo>
                        <a:pt x="23" y="5"/>
                      </a:lnTo>
                      <a:lnTo>
                        <a:pt x="23" y="9"/>
                      </a:lnTo>
                      <a:lnTo>
                        <a:pt x="23" y="2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55" name="Freeform 54"/>
                <p:cNvSpPr>
                  <a:spLocks/>
                </p:cNvSpPr>
                <p:nvPr/>
              </p:nvSpPr>
              <p:spPr bwMode="gray">
                <a:xfrm>
                  <a:off x="2683" y="2614"/>
                  <a:ext cx="31" cy="76"/>
                </a:xfrm>
                <a:custGeom>
                  <a:avLst/>
                  <a:gdLst>
                    <a:gd name="T0" fmla="*/ 13 w 31"/>
                    <a:gd name="T1" fmla="*/ 0 h 76"/>
                    <a:gd name="T2" fmla="*/ 4 w 31"/>
                    <a:gd name="T3" fmla="*/ 0 h 76"/>
                    <a:gd name="T4" fmla="*/ 0 w 31"/>
                    <a:gd name="T5" fmla="*/ 9 h 76"/>
                    <a:gd name="T6" fmla="*/ 8 w 31"/>
                    <a:gd name="T7" fmla="*/ 13 h 76"/>
                    <a:gd name="T8" fmla="*/ 8 w 31"/>
                    <a:gd name="T9" fmla="*/ 36 h 76"/>
                    <a:gd name="T10" fmla="*/ 4 w 31"/>
                    <a:gd name="T11" fmla="*/ 40 h 76"/>
                    <a:gd name="T12" fmla="*/ 8 w 31"/>
                    <a:gd name="T13" fmla="*/ 54 h 76"/>
                    <a:gd name="T14" fmla="*/ 8 w 31"/>
                    <a:gd name="T15" fmla="*/ 62 h 76"/>
                    <a:gd name="T16" fmla="*/ 13 w 31"/>
                    <a:gd name="T17" fmla="*/ 71 h 76"/>
                    <a:gd name="T18" fmla="*/ 17 w 31"/>
                    <a:gd name="T19" fmla="*/ 76 h 76"/>
                    <a:gd name="T20" fmla="*/ 31 w 31"/>
                    <a:gd name="T21" fmla="*/ 76 h 76"/>
                    <a:gd name="T22" fmla="*/ 26 w 31"/>
                    <a:gd name="T23" fmla="*/ 62 h 76"/>
                    <a:gd name="T24" fmla="*/ 26 w 31"/>
                    <a:gd name="T25" fmla="*/ 36 h 76"/>
                    <a:gd name="T26" fmla="*/ 22 w 31"/>
                    <a:gd name="T27" fmla="*/ 36 h 76"/>
                    <a:gd name="T28" fmla="*/ 22 w 31"/>
                    <a:gd name="T29" fmla="*/ 22 h 76"/>
                    <a:gd name="T30" fmla="*/ 13 w 31"/>
                    <a:gd name="T31" fmla="*/ 13 h 76"/>
                    <a:gd name="T32" fmla="*/ 13 w 31"/>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76">
                      <a:moveTo>
                        <a:pt x="13" y="0"/>
                      </a:moveTo>
                      <a:lnTo>
                        <a:pt x="4" y="0"/>
                      </a:lnTo>
                      <a:lnTo>
                        <a:pt x="0" y="9"/>
                      </a:lnTo>
                      <a:lnTo>
                        <a:pt x="8" y="13"/>
                      </a:lnTo>
                      <a:lnTo>
                        <a:pt x="8" y="36"/>
                      </a:lnTo>
                      <a:lnTo>
                        <a:pt x="4" y="40"/>
                      </a:lnTo>
                      <a:lnTo>
                        <a:pt x="8" y="54"/>
                      </a:lnTo>
                      <a:lnTo>
                        <a:pt x="8" y="62"/>
                      </a:lnTo>
                      <a:lnTo>
                        <a:pt x="13" y="71"/>
                      </a:lnTo>
                      <a:lnTo>
                        <a:pt x="17" y="76"/>
                      </a:lnTo>
                      <a:lnTo>
                        <a:pt x="31" y="76"/>
                      </a:lnTo>
                      <a:lnTo>
                        <a:pt x="26" y="62"/>
                      </a:lnTo>
                      <a:lnTo>
                        <a:pt x="26" y="36"/>
                      </a:lnTo>
                      <a:lnTo>
                        <a:pt x="22" y="36"/>
                      </a:lnTo>
                      <a:lnTo>
                        <a:pt x="22" y="22"/>
                      </a:lnTo>
                      <a:lnTo>
                        <a:pt x="13" y="13"/>
                      </a:lnTo>
                      <a:lnTo>
                        <a:pt x="13"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56" name="Freeform 55"/>
                <p:cNvSpPr>
                  <a:spLocks/>
                </p:cNvSpPr>
                <p:nvPr/>
              </p:nvSpPr>
              <p:spPr bwMode="gray">
                <a:xfrm>
                  <a:off x="2790" y="2189"/>
                  <a:ext cx="62" cy="134"/>
                </a:xfrm>
                <a:custGeom>
                  <a:avLst/>
                  <a:gdLst>
                    <a:gd name="T0" fmla="*/ 22 w 62"/>
                    <a:gd name="T1" fmla="*/ 134 h 134"/>
                    <a:gd name="T2" fmla="*/ 22 w 62"/>
                    <a:gd name="T3" fmla="*/ 99 h 134"/>
                    <a:gd name="T4" fmla="*/ 13 w 62"/>
                    <a:gd name="T5" fmla="*/ 94 h 134"/>
                    <a:gd name="T6" fmla="*/ 4 w 62"/>
                    <a:gd name="T7" fmla="*/ 81 h 134"/>
                    <a:gd name="T8" fmla="*/ 0 w 62"/>
                    <a:gd name="T9" fmla="*/ 63 h 134"/>
                    <a:gd name="T10" fmla="*/ 13 w 62"/>
                    <a:gd name="T11" fmla="*/ 45 h 134"/>
                    <a:gd name="T12" fmla="*/ 9 w 62"/>
                    <a:gd name="T13" fmla="*/ 18 h 134"/>
                    <a:gd name="T14" fmla="*/ 18 w 62"/>
                    <a:gd name="T15" fmla="*/ 9 h 134"/>
                    <a:gd name="T16" fmla="*/ 22 w 62"/>
                    <a:gd name="T17" fmla="*/ 5 h 134"/>
                    <a:gd name="T18" fmla="*/ 35 w 62"/>
                    <a:gd name="T19" fmla="*/ 0 h 134"/>
                    <a:gd name="T20" fmla="*/ 35 w 62"/>
                    <a:gd name="T21" fmla="*/ 9 h 134"/>
                    <a:gd name="T22" fmla="*/ 35 w 62"/>
                    <a:gd name="T23" fmla="*/ 9 h 134"/>
                    <a:gd name="T24" fmla="*/ 44 w 62"/>
                    <a:gd name="T25" fmla="*/ 5 h 134"/>
                    <a:gd name="T26" fmla="*/ 44 w 62"/>
                    <a:gd name="T27" fmla="*/ 9 h 134"/>
                    <a:gd name="T28" fmla="*/ 40 w 62"/>
                    <a:gd name="T29" fmla="*/ 18 h 134"/>
                    <a:gd name="T30" fmla="*/ 40 w 62"/>
                    <a:gd name="T31" fmla="*/ 27 h 134"/>
                    <a:gd name="T32" fmla="*/ 49 w 62"/>
                    <a:gd name="T33" fmla="*/ 36 h 134"/>
                    <a:gd name="T34" fmla="*/ 49 w 62"/>
                    <a:gd name="T35" fmla="*/ 45 h 134"/>
                    <a:gd name="T36" fmla="*/ 35 w 62"/>
                    <a:gd name="T37" fmla="*/ 54 h 134"/>
                    <a:gd name="T38" fmla="*/ 40 w 62"/>
                    <a:gd name="T39" fmla="*/ 63 h 134"/>
                    <a:gd name="T40" fmla="*/ 44 w 62"/>
                    <a:gd name="T41" fmla="*/ 67 h 134"/>
                    <a:gd name="T42" fmla="*/ 44 w 62"/>
                    <a:gd name="T43" fmla="*/ 58 h 134"/>
                    <a:gd name="T44" fmla="*/ 49 w 62"/>
                    <a:gd name="T45" fmla="*/ 63 h 134"/>
                    <a:gd name="T46" fmla="*/ 49 w 62"/>
                    <a:gd name="T47" fmla="*/ 72 h 134"/>
                    <a:gd name="T48" fmla="*/ 53 w 62"/>
                    <a:gd name="T49" fmla="*/ 72 h 134"/>
                    <a:gd name="T50" fmla="*/ 62 w 62"/>
                    <a:gd name="T51" fmla="*/ 76 h 134"/>
                    <a:gd name="T52" fmla="*/ 58 w 62"/>
                    <a:gd name="T53" fmla="*/ 81 h 134"/>
                    <a:gd name="T54" fmla="*/ 58 w 62"/>
                    <a:gd name="T55" fmla="*/ 90 h 134"/>
                    <a:gd name="T56" fmla="*/ 49 w 62"/>
                    <a:gd name="T57" fmla="*/ 99 h 134"/>
                    <a:gd name="T58" fmla="*/ 40 w 62"/>
                    <a:gd name="T59" fmla="*/ 103 h 134"/>
                    <a:gd name="T60" fmla="*/ 40 w 62"/>
                    <a:gd name="T61" fmla="*/ 126 h 134"/>
                    <a:gd name="T62" fmla="*/ 27 w 62"/>
                    <a:gd name="T63" fmla="*/ 130 h 134"/>
                    <a:gd name="T64" fmla="*/ 22 w 62"/>
                    <a:gd name="T6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134">
                      <a:moveTo>
                        <a:pt x="22" y="134"/>
                      </a:moveTo>
                      <a:lnTo>
                        <a:pt x="22" y="99"/>
                      </a:lnTo>
                      <a:lnTo>
                        <a:pt x="13" y="94"/>
                      </a:lnTo>
                      <a:lnTo>
                        <a:pt x="4" y="81"/>
                      </a:lnTo>
                      <a:lnTo>
                        <a:pt x="0" y="63"/>
                      </a:lnTo>
                      <a:lnTo>
                        <a:pt x="13" y="45"/>
                      </a:lnTo>
                      <a:lnTo>
                        <a:pt x="9" y="18"/>
                      </a:lnTo>
                      <a:lnTo>
                        <a:pt x="18" y="9"/>
                      </a:lnTo>
                      <a:lnTo>
                        <a:pt x="22" y="5"/>
                      </a:lnTo>
                      <a:lnTo>
                        <a:pt x="35" y="0"/>
                      </a:lnTo>
                      <a:lnTo>
                        <a:pt x="35" y="9"/>
                      </a:lnTo>
                      <a:lnTo>
                        <a:pt x="35" y="9"/>
                      </a:lnTo>
                      <a:lnTo>
                        <a:pt x="44" y="5"/>
                      </a:lnTo>
                      <a:lnTo>
                        <a:pt x="44" y="9"/>
                      </a:lnTo>
                      <a:lnTo>
                        <a:pt x="40" y="18"/>
                      </a:lnTo>
                      <a:lnTo>
                        <a:pt x="40" y="27"/>
                      </a:lnTo>
                      <a:lnTo>
                        <a:pt x="49" y="36"/>
                      </a:lnTo>
                      <a:lnTo>
                        <a:pt x="49" y="45"/>
                      </a:lnTo>
                      <a:lnTo>
                        <a:pt x="35" y="54"/>
                      </a:lnTo>
                      <a:lnTo>
                        <a:pt x="40" y="63"/>
                      </a:lnTo>
                      <a:lnTo>
                        <a:pt x="44" y="67"/>
                      </a:lnTo>
                      <a:lnTo>
                        <a:pt x="44" y="58"/>
                      </a:lnTo>
                      <a:lnTo>
                        <a:pt x="49" y="63"/>
                      </a:lnTo>
                      <a:lnTo>
                        <a:pt x="49" y="72"/>
                      </a:lnTo>
                      <a:lnTo>
                        <a:pt x="53" y="72"/>
                      </a:lnTo>
                      <a:lnTo>
                        <a:pt x="62" y="76"/>
                      </a:lnTo>
                      <a:lnTo>
                        <a:pt x="58" y="81"/>
                      </a:lnTo>
                      <a:lnTo>
                        <a:pt x="58" y="90"/>
                      </a:lnTo>
                      <a:lnTo>
                        <a:pt x="49" y="99"/>
                      </a:lnTo>
                      <a:lnTo>
                        <a:pt x="40" y="103"/>
                      </a:lnTo>
                      <a:lnTo>
                        <a:pt x="40" y="126"/>
                      </a:lnTo>
                      <a:lnTo>
                        <a:pt x="27" y="130"/>
                      </a:lnTo>
                      <a:lnTo>
                        <a:pt x="22" y="13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57" name="Freeform 56"/>
                <p:cNvSpPr>
                  <a:spLocks/>
                </p:cNvSpPr>
                <p:nvPr/>
              </p:nvSpPr>
              <p:spPr bwMode="gray">
                <a:xfrm>
                  <a:off x="3111" y="2717"/>
                  <a:ext cx="72" cy="85"/>
                </a:xfrm>
                <a:custGeom>
                  <a:avLst/>
                  <a:gdLst>
                    <a:gd name="T0" fmla="*/ 0 w 72"/>
                    <a:gd name="T1" fmla="*/ 85 h 85"/>
                    <a:gd name="T2" fmla="*/ 0 w 72"/>
                    <a:gd name="T3" fmla="*/ 53 h 85"/>
                    <a:gd name="T4" fmla="*/ 18 w 72"/>
                    <a:gd name="T5" fmla="*/ 31 h 85"/>
                    <a:gd name="T6" fmla="*/ 14 w 72"/>
                    <a:gd name="T7" fmla="*/ 27 h 85"/>
                    <a:gd name="T8" fmla="*/ 14 w 72"/>
                    <a:gd name="T9" fmla="*/ 9 h 85"/>
                    <a:gd name="T10" fmla="*/ 18 w 72"/>
                    <a:gd name="T11" fmla="*/ 4 h 85"/>
                    <a:gd name="T12" fmla="*/ 27 w 72"/>
                    <a:gd name="T13" fmla="*/ 4 h 85"/>
                    <a:gd name="T14" fmla="*/ 36 w 72"/>
                    <a:gd name="T15" fmla="*/ 9 h 85"/>
                    <a:gd name="T16" fmla="*/ 45 w 72"/>
                    <a:gd name="T17" fmla="*/ 4 h 85"/>
                    <a:gd name="T18" fmla="*/ 54 w 72"/>
                    <a:gd name="T19" fmla="*/ 4 h 85"/>
                    <a:gd name="T20" fmla="*/ 58 w 72"/>
                    <a:gd name="T21" fmla="*/ 0 h 85"/>
                    <a:gd name="T22" fmla="*/ 67 w 72"/>
                    <a:gd name="T23" fmla="*/ 9 h 85"/>
                    <a:gd name="T24" fmla="*/ 72 w 72"/>
                    <a:gd name="T25" fmla="*/ 22 h 85"/>
                    <a:gd name="T26" fmla="*/ 67 w 72"/>
                    <a:gd name="T27" fmla="*/ 44 h 85"/>
                    <a:gd name="T28" fmla="*/ 63 w 72"/>
                    <a:gd name="T29" fmla="*/ 58 h 85"/>
                    <a:gd name="T30" fmla="*/ 49 w 72"/>
                    <a:gd name="T31" fmla="*/ 58 h 85"/>
                    <a:gd name="T32" fmla="*/ 32 w 72"/>
                    <a:gd name="T33" fmla="*/ 62 h 85"/>
                    <a:gd name="T34" fmla="*/ 32 w 72"/>
                    <a:gd name="T35" fmla="*/ 76 h 85"/>
                    <a:gd name="T36" fmla="*/ 9 w 72"/>
                    <a:gd name="T37" fmla="*/ 80 h 85"/>
                    <a:gd name="T38" fmla="*/ 0 w 72"/>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85">
                      <a:moveTo>
                        <a:pt x="0" y="85"/>
                      </a:moveTo>
                      <a:lnTo>
                        <a:pt x="0" y="53"/>
                      </a:lnTo>
                      <a:lnTo>
                        <a:pt x="18" y="31"/>
                      </a:lnTo>
                      <a:lnTo>
                        <a:pt x="14" y="27"/>
                      </a:lnTo>
                      <a:lnTo>
                        <a:pt x="14" y="9"/>
                      </a:lnTo>
                      <a:lnTo>
                        <a:pt x="18" y="4"/>
                      </a:lnTo>
                      <a:lnTo>
                        <a:pt x="27" y="4"/>
                      </a:lnTo>
                      <a:lnTo>
                        <a:pt x="36" y="9"/>
                      </a:lnTo>
                      <a:lnTo>
                        <a:pt x="45" y="4"/>
                      </a:lnTo>
                      <a:lnTo>
                        <a:pt x="54" y="4"/>
                      </a:lnTo>
                      <a:lnTo>
                        <a:pt x="58" y="0"/>
                      </a:lnTo>
                      <a:lnTo>
                        <a:pt x="67" y="9"/>
                      </a:lnTo>
                      <a:lnTo>
                        <a:pt x="72" y="22"/>
                      </a:lnTo>
                      <a:lnTo>
                        <a:pt x="67" y="44"/>
                      </a:lnTo>
                      <a:lnTo>
                        <a:pt x="63" y="58"/>
                      </a:lnTo>
                      <a:lnTo>
                        <a:pt x="49" y="58"/>
                      </a:lnTo>
                      <a:lnTo>
                        <a:pt x="32" y="62"/>
                      </a:lnTo>
                      <a:lnTo>
                        <a:pt x="32" y="76"/>
                      </a:lnTo>
                      <a:lnTo>
                        <a:pt x="9" y="80"/>
                      </a:lnTo>
                      <a:lnTo>
                        <a:pt x="0" y="8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58" name="Freeform 57"/>
                <p:cNvSpPr>
                  <a:spLocks/>
                </p:cNvSpPr>
                <p:nvPr/>
              </p:nvSpPr>
              <p:spPr bwMode="gray">
                <a:xfrm>
                  <a:off x="3035" y="2292"/>
                  <a:ext cx="157" cy="170"/>
                </a:xfrm>
                <a:custGeom>
                  <a:avLst/>
                  <a:gdLst>
                    <a:gd name="T0" fmla="*/ 5 w 157"/>
                    <a:gd name="T1" fmla="*/ 166 h 170"/>
                    <a:gd name="T2" fmla="*/ 5 w 157"/>
                    <a:gd name="T3" fmla="*/ 40 h 170"/>
                    <a:gd name="T4" fmla="*/ 0 w 157"/>
                    <a:gd name="T5" fmla="*/ 31 h 170"/>
                    <a:gd name="T6" fmla="*/ 5 w 157"/>
                    <a:gd name="T7" fmla="*/ 23 h 170"/>
                    <a:gd name="T8" fmla="*/ 0 w 157"/>
                    <a:gd name="T9" fmla="*/ 14 h 170"/>
                    <a:gd name="T10" fmla="*/ 9 w 157"/>
                    <a:gd name="T11" fmla="*/ 0 h 170"/>
                    <a:gd name="T12" fmla="*/ 18 w 157"/>
                    <a:gd name="T13" fmla="*/ 0 h 170"/>
                    <a:gd name="T14" fmla="*/ 36 w 157"/>
                    <a:gd name="T15" fmla="*/ 5 h 170"/>
                    <a:gd name="T16" fmla="*/ 45 w 157"/>
                    <a:gd name="T17" fmla="*/ 5 h 170"/>
                    <a:gd name="T18" fmla="*/ 63 w 157"/>
                    <a:gd name="T19" fmla="*/ 14 h 170"/>
                    <a:gd name="T20" fmla="*/ 72 w 157"/>
                    <a:gd name="T21" fmla="*/ 9 h 170"/>
                    <a:gd name="T22" fmla="*/ 81 w 157"/>
                    <a:gd name="T23" fmla="*/ 9 h 170"/>
                    <a:gd name="T24" fmla="*/ 81 w 157"/>
                    <a:gd name="T25" fmla="*/ 5 h 170"/>
                    <a:gd name="T26" fmla="*/ 94 w 157"/>
                    <a:gd name="T27" fmla="*/ 0 h 170"/>
                    <a:gd name="T28" fmla="*/ 103 w 157"/>
                    <a:gd name="T29" fmla="*/ 5 h 170"/>
                    <a:gd name="T30" fmla="*/ 108 w 157"/>
                    <a:gd name="T31" fmla="*/ 14 h 170"/>
                    <a:gd name="T32" fmla="*/ 125 w 157"/>
                    <a:gd name="T33" fmla="*/ 14 h 170"/>
                    <a:gd name="T34" fmla="*/ 139 w 157"/>
                    <a:gd name="T35" fmla="*/ 5 h 170"/>
                    <a:gd name="T36" fmla="*/ 143 w 157"/>
                    <a:gd name="T37" fmla="*/ 9 h 170"/>
                    <a:gd name="T38" fmla="*/ 139 w 157"/>
                    <a:gd name="T39" fmla="*/ 18 h 170"/>
                    <a:gd name="T40" fmla="*/ 148 w 157"/>
                    <a:gd name="T41" fmla="*/ 40 h 170"/>
                    <a:gd name="T42" fmla="*/ 143 w 157"/>
                    <a:gd name="T43" fmla="*/ 40 h 170"/>
                    <a:gd name="T44" fmla="*/ 134 w 157"/>
                    <a:gd name="T45" fmla="*/ 58 h 170"/>
                    <a:gd name="T46" fmla="*/ 134 w 157"/>
                    <a:gd name="T47" fmla="*/ 67 h 170"/>
                    <a:gd name="T48" fmla="*/ 130 w 157"/>
                    <a:gd name="T49" fmla="*/ 63 h 170"/>
                    <a:gd name="T50" fmla="*/ 117 w 157"/>
                    <a:gd name="T51" fmla="*/ 40 h 170"/>
                    <a:gd name="T52" fmla="*/ 112 w 157"/>
                    <a:gd name="T53" fmla="*/ 36 h 170"/>
                    <a:gd name="T54" fmla="*/ 108 w 157"/>
                    <a:gd name="T55" fmla="*/ 36 h 170"/>
                    <a:gd name="T56" fmla="*/ 112 w 157"/>
                    <a:gd name="T57" fmla="*/ 45 h 170"/>
                    <a:gd name="T58" fmla="*/ 125 w 157"/>
                    <a:gd name="T59" fmla="*/ 63 h 170"/>
                    <a:gd name="T60" fmla="*/ 130 w 157"/>
                    <a:gd name="T61" fmla="*/ 76 h 170"/>
                    <a:gd name="T62" fmla="*/ 130 w 157"/>
                    <a:gd name="T63" fmla="*/ 81 h 170"/>
                    <a:gd name="T64" fmla="*/ 148 w 157"/>
                    <a:gd name="T65" fmla="*/ 121 h 170"/>
                    <a:gd name="T66" fmla="*/ 157 w 157"/>
                    <a:gd name="T67" fmla="*/ 130 h 170"/>
                    <a:gd name="T68" fmla="*/ 152 w 157"/>
                    <a:gd name="T69" fmla="*/ 130 h 170"/>
                    <a:gd name="T70" fmla="*/ 152 w 157"/>
                    <a:gd name="T71" fmla="*/ 143 h 170"/>
                    <a:gd name="T72" fmla="*/ 152 w 157"/>
                    <a:gd name="T73" fmla="*/ 143 h 170"/>
                    <a:gd name="T74" fmla="*/ 148 w 157"/>
                    <a:gd name="T75" fmla="*/ 157 h 170"/>
                    <a:gd name="T76" fmla="*/ 143 w 157"/>
                    <a:gd name="T77" fmla="*/ 157 h 170"/>
                    <a:gd name="T78" fmla="*/ 130 w 157"/>
                    <a:gd name="T79" fmla="*/ 170 h 170"/>
                    <a:gd name="T80" fmla="*/ 125 w 157"/>
                    <a:gd name="T81" fmla="*/ 161 h 170"/>
                    <a:gd name="T82" fmla="*/ 5 w 157"/>
                    <a:gd name="T83" fmla="*/ 16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7" h="170">
                      <a:moveTo>
                        <a:pt x="5" y="166"/>
                      </a:moveTo>
                      <a:lnTo>
                        <a:pt x="5" y="40"/>
                      </a:lnTo>
                      <a:lnTo>
                        <a:pt x="0" y="31"/>
                      </a:lnTo>
                      <a:lnTo>
                        <a:pt x="5" y="23"/>
                      </a:lnTo>
                      <a:lnTo>
                        <a:pt x="0" y="14"/>
                      </a:lnTo>
                      <a:lnTo>
                        <a:pt x="9" y="0"/>
                      </a:lnTo>
                      <a:lnTo>
                        <a:pt x="18" y="0"/>
                      </a:lnTo>
                      <a:lnTo>
                        <a:pt x="36" y="5"/>
                      </a:lnTo>
                      <a:lnTo>
                        <a:pt x="45" y="5"/>
                      </a:lnTo>
                      <a:lnTo>
                        <a:pt x="63" y="14"/>
                      </a:lnTo>
                      <a:lnTo>
                        <a:pt x="72" y="9"/>
                      </a:lnTo>
                      <a:lnTo>
                        <a:pt x="81" y="9"/>
                      </a:lnTo>
                      <a:lnTo>
                        <a:pt x="81" y="5"/>
                      </a:lnTo>
                      <a:lnTo>
                        <a:pt x="94" y="0"/>
                      </a:lnTo>
                      <a:lnTo>
                        <a:pt x="103" y="5"/>
                      </a:lnTo>
                      <a:lnTo>
                        <a:pt x="108" y="14"/>
                      </a:lnTo>
                      <a:lnTo>
                        <a:pt x="125" y="14"/>
                      </a:lnTo>
                      <a:lnTo>
                        <a:pt x="139" y="5"/>
                      </a:lnTo>
                      <a:lnTo>
                        <a:pt x="143" y="9"/>
                      </a:lnTo>
                      <a:lnTo>
                        <a:pt x="139" y="18"/>
                      </a:lnTo>
                      <a:lnTo>
                        <a:pt x="148" y="40"/>
                      </a:lnTo>
                      <a:lnTo>
                        <a:pt x="143" y="40"/>
                      </a:lnTo>
                      <a:lnTo>
                        <a:pt x="134" y="58"/>
                      </a:lnTo>
                      <a:lnTo>
                        <a:pt x="134" y="67"/>
                      </a:lnTo>
                      <a:lnTo>
                        <a:pt x="130" y="63"/>
                      </a:lnTo>
                      <a:lnTo>
                        <a:pt x="117" y="40"/>
                      </a:lnTo>
                      <a:lnTo>
                        <a:pt x="112" y="36"/>
                      </a:lnTo>
                      <a:lnTo>
                        <a:pt x="108" y="36"/>
                      </a:lnTo>
                      <a:lnTo>
                        <a:pt x="112" y="45"/>
                      </a:lnTo>
                      <a:lnTo>
                        <a:pt x="125" y="63"/>
                      </a:lnTo>
                      <a:lnTo>
                        <a:pt x="130" y="76"/>
                      </a:lnTo>
                      <a:lnTo>
                        <a:pt x="130" y="81"/>
                      </a:lnTo>
                      <a:lnTo>
                        <a:pt x="148" y="121"/>
                      </a:lnTo>
                      <a:lnTo>
                        <a:pt x="157" y="130"/>
                      </a:lnTo>
                      <a:lnTo>
                        <a:pt x="152" y="130"/>
                      </a:lnTo>
                      <a:lnTo>
                        <a:pt x="152" y="143"/>
                      </a:lnTo>
                      <a:lnTo>
                        <a:pt x="152" y="143"/>
                      </a:lnTo>
                      <a:lnTo>
                        <a:pt x="148" y="157"/>
                      </a:lnTo>
                      <a:lnTo>
                        <a:pt x="143" y="157"/>
                      </a:lnTo>
                      <a:lnTo>
                        <a:pt x="130" y="170"/>
                      </a:lnTo>
                      <a:lnTo>
                        <a:pt x="125" y="161"/>
                      </a:lnTo>
                      <a:lnTo>
                        <a:pt x="5" y="16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59" name="Freeform 58"/>
                <p:cNvSpPr>
                  <a:spLocks noEditPoints="1"/>
                </p:cNvSpPr>
                <p:nvPr/>
              </p:nvSpPr>
              <p:spPr bwMode="gray">
                <a:xfrm>
                  <a:off x="3107" y="2793"/>
                  <a:ext cx="161" cy="161"/>
                </a:xfrm>
                <a:custGeom>
                  <a:avLst/>
                  <a:gdLst>
                    <a:gd name="T0" fmla="*/ 0 w 161"/>
                    <a:gd name="T1" fmla="*/ 53 h 161"/>
                    <a:gd name="T2" fmla="*/ 4 w 161"/>
                    <a:gd name="T3" fmla="*/ 53 h 161"/>
                    <a:gd name="T4" fmla="*/ 22 w 161"/>
                    <a:gd name="T5" fmla="*/ 40 h 161"/>
                    <a:gd name="T6" fmla="*/ 22 w 161"/>
                    <a:gd name="T7" fmla="*/ 31 h 161"/>
                    <a:gd name="T8" fmla="*/ 18 w 161"/>
                    <a:gd name="T9" fmla="*/ 31 h 161"/>
                    <a:gd name="T10" fmla="*/ 18 w 161"/>
                    <a:gd name="T11" fmla="*/ 22 h 161"/>
                    <a:gd name="T12" fmla="*/ 18 w 161"/>
                    <a:gd name="T13" fmla="*/ 9 h 161"/>
                    <a:gd name="T14" fmla="*/ 13 w 161"/>
                    <a:gd name="T15" fmla="*/ 4 h 161"/>
                    <a:gd name="T16" fmla="*/ 36 w 161"/>
                    <a:gd name="T17" fmla="*/ 0 h 161"/>
                    <a:gd name="T18" fmla="*/ 36 w 161"/>
                    <a:gd name="T19" fmla="*/ 4 h 161"/>
                    <a:gd name="T20" fmla="*/ 31 w 161"/>
                    <a:gd name="T21" fmla="*/ 18 h 161"/>
                    <a:gd name="T22" fmla="*/ 36 w 161"/>
                    <a:gd name="T23" fmla="*/ 26 h 161"/>
                    <a:gd name="T24" fmla="*/ 40 w 161"/>
                    <a:gd name="T25" fmla="*/ 22 h 161"/>
                    <a:gd name="T26" fmla="*/ 58 w 161"/>
                    <a:gd name="T27" fmla="*/ 22 h 161"/>
                    <a:gd name="T28" fmla="*/ 62 w 161"/>
                    <a:gd name="T29" fmla="*/ 18 h 161"/>
                    <a:gd name="T30" fmla="*/ 53 w 161"/>
                    <a:gd name="T31" fmla="*/ 18 h 161"/>
                    <a:gd name="T32" fmla="*/ 53 w 161"/>
                    <a:gd name="T33" fmla="*/ 9 h 161"/>
                    <a:gd name="T34" fmla="*/ 58 w 161"/>
                    <a:gd name="T35" fmla="*/ 13 h 161"/>
                    <a:gd name="T36" fmla="*/ 62 w 161"/>
                    <a:gd name="T37" fmla="*/ 0 h 161"/>
                    <a:gd name="T38" fmla="*/ 103 w 161"/>
                    <a:gd name="T39" fmla="*/ 26 h 161"/>
                    <a:gd name="T40" fmla="*/ 138 w 161"/>
                    <a:gd name="T41" fmla="*/ 53 h 161"/>
                    <a:gd name="T42" fmla="*/ 134 w 161"/>
                    <a:gd name="T43" fmla="*/ 80 h 161"/>
                    <a:gd name="T44" fmla="*/ 147 w 161"/>
                    <a:gd name="T45" fmla="*/ 89 h 161"/>
                    <a:gd name="T46" fmla="*/ 143 w 161"/>
                    <a:gd name="T47" fmla="*/ 102 h 161"/>
                    <a:gd name="T48" fmla="*/ 147 w 161"/>
                    <a:gd name="T49" fmla="*/ 102 h 161"/>
                    <a:gd name="T50" fmla="*/ 143 w 161"/>
                    <a:gd name="T51" fmla="*/ 111 h 161"/>
                    <a:gd name="T52" fmla="*/ 147 w 161"/>
                    <a:gd name="T53" fmla="*/ 134 h 161"/>
                    <a:gd name="T54" fmla="*/ 161 w 161"/>
                    <a:gd name="T55" fmla="*/ 138 h 161"/>
                    <a:gd name="T56" fmla="*/ 156 w 161"/>
                    <a:gd name="T57" fmla="*/ 138 h 161"/>
                    <a:gd name="T58" fmla="*/ 143 w 161"/>
                    <a:gd name="T59" fmla="*/ 147 h 161"/>
                    <a:gd name="T60" fmla="*/ 120 w 161"/>
                    <a:gd name="T61" fmla="*/ 147 h 161"/>
                    <a:gd name="T62" fmla="*/ 116 w 161"/>
                    <a:gd name="T63" fmla="*/ 156 h 161"/>
                    <a:gd name="T64" fmla="*/ 107 w 161"/>
                    <a:gd name="T65" fmla="*/ 152 h 161"/>
                    <a:gd name="T66" fmla="*/ 98 w 161"/>
                    <a:gd name="T67" fmla="*/ 161 h 161"/>
                    <a:gd name="T68" fmla="*/ 89 w 161"/>
                    <a:gd name="T69" fmla="*/ 152 h 161"/>
                    <a:gd name="T70" fmla="*/ 76 w 161"/>
                    <a:gd name="T71" fmla="*/ 156 h 161"/>
                    <a:gd name="T72" fmla="*/ 71 w 161"/>
                    <a:gd name="T73" fmla="*/ 152 h 161"/>
                    <a:gd name="T74" fmla="*/ 71 w 161"/>
                    <a:gd name="T75" fmla="*/ 134 h 161"/>
                    <a:gd name="T76" fmla="*/ 62 w 161"/>
                    <a:gd name="T77" fmla="*/ 125 h 161"/>
                    <a:gd name="T78" fmla="*/ 62 w 161"/>
                    <a:gd name="T79" fmla="*/ 129 h 161"/>
                    <a:gd name="T80" fmla="*/ 53 w 161"/>
                    <a:gd name="T81" fmla="*/ 120 h 161"/>
                    <a:gd name="T82" fmla="*/ 49 w 161"/>
                    <a:gd name="T83" fmla="*/ 125 h 161"/>
                    <a:gd name="T84" fmla="*/ 36 w 161"/>
                    <a:gd name="T85" fmla="*/ 120 h 161"/>
                    <a:gd name="T86" fmla="*/ 27 w 161"/>
                    <a:gd name="T87" fmla="*/ 111 h 161"/>
                    <a:gd name="T88" fmla="*/ 18 w 161"/>
                    <a:gd name="T89" fmla="*/ 107 h 161"/>
                    <a:gd name="T90" fmla="*/ 9 w 161"/>
                    <a:gd name="T91" fmla="*/ 80 h 161"/>
                    <a:gd name="T92" fmla="*/ 4 w 161"/>
                    <a:gd name="T93" fmla="*/ 80 h 161"/>
                    <a:gd name="T94" fmla="*/ 4 w 161"/>
                    <a:gd name="T95" fmla="*/ 76 h 161"/>
                    <a:gd name="T96" fmla="*/ 0 w 161"/>
                    <a:gd name="T97" fmla="*/ 53 h 161"/>
                    <a:gd name="T98" fmla="*/ 143 w 161"/>
                    <a:gd name="T99" fmla="*/ 71 h 161"/>
                    <a:gd name="T100" fmla="*/ 138 w 161"/>
                    <a:gd name="T101" fmla="*/ 76 h 161"/>
                    <a:gd name="T102" fmla="*/ 143 w 161"/>
                    <a:gd name="T103" fmla="*/ 80 h 161"/>
                    <a:gd name="T104" fmla="*/ 147 w 161"/>
                    <a:gd name="T105" fmla="*/ 85 h 161"/>
                    <a:gd name="T106" fmla="*/ 147 w 161"/>
                    <a:gd name="T107" fmla="*/ 76 h 161"/>
                    <a:gd name="T108" fmla="*/ 143 w 161"/>
                    <a:gd name="T109"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1" h="161">
                      <a:moveTo>
                        <a:pt x="0" y="53"/>
                      </a:moveTo>
                      <a:lnTo>
                        <a:pt x="4" y="53"/>
                      </a:lnTo>
                      <a:lnTo>
                        <a:pt x="22" y="40"/>
                      </a:lnTo>
                      <a:lnTo>
                        <a:pt x="22" y="31"/>
                      </a:lnTo>
                      <a:lnTo>
                        <a:pt x="18" y="31"/>
                      </a:lnTo>
                      <a:lnTo>
                        <a:pt x="18" y="22"/>
                      </a:lnTo>
                      <a:lnTo>
                        <a:pt x="18" y="9"/>
                      </a:lnTo>
                      <a:lnTo>
                        <a:pt x="13" y="4"/>
                      </a:lnTo>
                      <a:lnTo>
                        <a:pt x="36" y="0"/>
                      </a:lnTo>
                      <a:lnTo>
                        <a:pt x="36" y="4"/>
                      </a:lnTo>
                      <a:lnTo>
                        <a:pt x="31" y="18"/>
                      </a:lnTo>
                      <a:lnTo>
                        <a:pt x="36" y="26"/>
                      </a:lnTo>
                      <a:lnTo>
                        <a:pt x="40" y="22"/>
                      </a:lnTo>
                      <a:lnTo>
                        <a:pt x="58" y="22"/>
                      </a:lnTo>
                      <a:lnTo>
                        <a:pt x="62" y="18"/>
                      </a:lnTo>
                      <a:lnTo>
                        <a:pt x="53" y="18"/>
                      </a:lnTo>
                      <a:lnTo>
                        <a:pt x="53" y="9"/>
                      </a:lnTo>
                      <a:lnTo>
                        <a:pt x="58" y="13"/>
                      </a:lnTo>
                      <a:lnTo>
                        <a:pt x="62" y="0"/>
                      </a:lnTo>
                      <a:lnTo>
                        <a:pt x="103" y="26"/>
                      </a:lnTo>
                      <a:lnTo>
                        <a:pt x="138" y="53"/>
                      </a:lnTo>
                      <a:lnTo>
                        <a:pt x="134" y="80"/>
                      </a:lnTo>
                      <a:lnTo>
                        <a:pt x="147" y="89"/>
                      </a:lnTo>
                      <a:lnTo>
                        <a:pt x="143" y="102"/>
                      </a:lnTo>
                      <a:lnTo>
                        <a:pt x="147" y="102"/>
                      </a:lnTo>
                      <a:lnTo>
                        <a:pt x="143" y="111"/>
                      </a:lnTo>
                      <a:lnTo>
                        <a:pt x="147" y="134"/>
                      </a:lnTo>
                      <a:lnTo>
                        <a:pt x="161" y="138"/>
                      </a:lnTo>
                      <a:lnTo>
                        <a:pt x="156" y="138"/>
                      </a:lnTo>
                      <a:lnTo>
                        <a:pt x="143" y="147"/>
                      </a:lnTo>
                      <a:lnTo>
                        <a:pt x="120" y="147"/>
                      </a:lnTo>
                      <a:lnTo>
                        <a:pt x="116" y="156"/>
                      </a:lnTo>
                      <a:lnTo>
                        <a:pt x="107" y="152"/>
                      </a:lnTo>
                      <a:lnTo>
                        <a:pt x="98" y="161"/>
                      </a:lnTo>
                      <a:lnTo>
                        <a:pt x="89" y="152"/>
                      </a:lnTo>
                      <a:lnTo>
                        <a:pt x="76" y="156"/>
                      </a:lnTo>
                      <a:lnTo>
                        <a:pt x="71" y="152"/>
                      </a:lnTo>
                      <a:lnTo>
                        <a:pt x="71" y="134"/>
                      </a:lnTo>
                      <a:lnTo>
                        <a:pt x="62" y="125"/>
                      </a:lnTo>
                      <a:lnTo>
                        <a:pt x="62" y="129"/>
                      </a:lnTo>
                      <a:lnTo>
                        <a:pt x="53" y="120"/>
                      </a:lnTo>
                      <a:lnTo>
                        <a:pt x="49" y="125"/>
                      </a:lnTo>
                      <a:lnTo>
                        <a:pt x="36" y="120"/>
                      </a:lnTo>
                      <a:lnTo>
                        <a:pt x="27" y="111"/>
                      </a:lnTo>
                      <a:lnTo>
                        <a:pt x="18" y="107"/>
                      </a:lnTo>
                      <a:lnTo>
                        <a:pt x="9" y="80"/>
                      </a:lnTo>
                      <a:lnTo>
                        <a:pt x="4" y="80"/>
                      </a:lnTo>
                      <a:lnTo>
                        <a:pt x="4" y="76"/>
                      </a:lnTo>
                      <a:lnTo>
                        <a:pt x="0" y="53"/>
                      </a:lnTo>
                      <a:close/>
                      <a:moveTo>
                        <a:pt x="143" y="71"/>
                      </a:moveTo>
                      <a:lnTo>
                        <a:pt x="138" y="76"/>
                      </a:lnTo>
                      <a:lnTo>
                        <a:pt x="143" y="80"/>
                      </a:lnTo>
                      <a:lnTo>
                        <a:pt x="147" y="85"/>
                      </a:lnTo>
                      <a:lnTo>
                        <a:pt x="147" y="76"/>
                      </a:lnTo>
                      <a:lnTo>
                        <a:pt x="143" y="7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60" name="Freeform 59"/>
                <p:cNvSpPr>
                  <a:spLocks/>
                </p:cNvSpPr>
                <p:nvPr/>
              </p:nvSpPr>
              <p:spPr bwMode="gray">
                <a:xfrm>
                  <a:off x="2602" y="2556"/>
                  <a:ext cx="112" cy="89"/>
                </a:xfrm>
                <a:custGeom>
                  <a:avLst/>
                  <a:gdLst>
                    <a:gd name="T0" fmla="*/ 0 w 112"/>
                    <a:gd name="T1" fmla="*/ 71 h 89"/>
                    <a:gd name="T2" fmla="*/ 9 w 112"/>
                    <a:gd name="T3" fmla="*/ 45 h 89"/>
                    <a:gd name="T4" fmla="*/ 18 w 112"/>
                    <a:gd name="T5" fmla="*/ 40 h 89"/>
                    <a:gd name="T6" fmla="*/ 22 w 112"/>
                    <a:gd name="T7" fmla="*/ 22 h 89"/>
                    <a:gd name="T8" fmla="*/ 31 w 112"/>
                    <a:gd name="T9" fmla="*/ 27 h 89"/>
                    <a:gd name="T10" fmla="*/ 67 w 112"/>
                    <a:gd name="T11" fmla="*/ 0 h 89"/>
                    <a:gd name="T12" fmla="*/ 85 w 112"/>
                    <a:gd name="T13" fmla="*/ 4 h 89"/>
                    <a:gd name="T14" fmla="*/ 85 w 112"/>
                    <a:gd name="T15" fmla="*/ 13 h 89"/>
                    <a:gd name="T16" fmla="*/ 94 w 112"/>
                    <a:gd name="T17" fmla="*/ 27 h 89"/>
                    <a:gd name="T18" fmla="*/ 94 w 112"/>
                    <a:gd name="T19" fmla="*/ 36 h 89"/>
                    <a:gd name="T20" fmla="*/ 103 w 112"/>
                    <a:gd name="T21" fmla="*/ 40 h 89"/>
                    <a:gd name="T22" fmla="*/ 112 w 112"/>
                    <a:gd name="T23" fmla="*/ 36 h 89"/>
                    <a:gd name="T24" fmla="*/ 112 w 112"/>
                    <a:gd name="T25" fmla="*/ 49 h 89"/>
                    <a:gd name="T26" fmla="*/ 103 w 112"/>
                    <a:gd name="T27" fmla="*/ 58 h 89"/>
                    <a:gd name="T28" fmla="*/ 94 w 112"/>
                    <a:gd name="T29" fmla="*/ 58 h 89"/>
                    <a:gd name="T30" fmla="*/ 85 w 112"/>
                    <a:gd name="T31" fmla="*/ 58 h 89"/>
                    <a:gd name="T32" fmla="*/ 81 w 112"/>
                    <a:gd name="T33" fmla="*/ 58 h 89"/>
                    <a:gd name="T34" fmla="*/ 72 w 112"/>
                    <a:gd name="T35" fmla="*/ 62 h 89"/>
                    <a:gd name="T36" fmla="*/ 40 w 112"/>
                    <a:gd name="T37" fmla="*/ 62 h 89"/>
                    <a:gd name="T38" fmla="*/ 40 w 112"/>
                    <a:gd name="T39" fmla="*/ 76 h 89"/>
                    <a:gd name="T40" fmla="*/ 40 w 112"/>
                    <a:gd name="T41" fmla="*/ 89 h 89"/>
                    <a:gd name="T42" fmla="*/ 36 w 112"/>
                    <a:gd name="T43" fmla="*/ 85 h 89"/>
                    <a:gd name="T44" fmla="*/ 31 w 112"/>
                    <a:gd name="T45" fmla="*/ 80 h 89"/>
                    <a:gd name="T46" fmla="*/ 18 w 112"/>
                    <a:gd name="T47" fmla="*/ 85 h 89"/>
                    <a:gd name="T48" fmla="*/ 0 w 112"/>
                    <a:gd name="T49" fmla="*/ 7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89">
                      <a:moveTo>
                        <a:pt x="0" y="71"/>
                      </a:moveTo>
                      <a:lnTo>
                        <a:pt x="9" y="45"/>
                      </a:lnTo>
                      <a:lnTo>
                        <a:pt x="18" y="40"/>
                      </a:lnTo>
                      <a:lnTo>
                        <a:pt x="22" y="22"/>
                      </a:lnTo>
                      <a:lnTo>
                        <a:pt x="31" y="27"/>
                      </a:lnTo>
                      <a:lnTo>
                        <a:pt x="67" y="0"/>
                      </a:lnTo>
                      <a:lnTo>
                        <a:pt x="85" y="4"/>
                      </a:lnTo>
                      <a:lnTo>
                        <a:pt x="85" y="13"/>
                      </a:lnTo>
                      <a:lnTo>
                        <a:pt x="94" y="27"/>
                      </a:lnTo>
                      <a:lnTo>
                        <a:pt x="94" y="36"/>
                      </a:lnTo>
                      <a:lnTo>
                        <a:pt x="103" y="40"/>
                      </a:lnTo>
                      <a:lnTo>
                        <a:pt x="112" y="36"/>
                      </a:lnTo>
                      <a:lnTo>
                        <a:pt x="112" y="49"/>
                      </a:lnTo>
                      <a:lnTo>
                        <a:pt x="103" y="58"/>
                      </a:lnTo>
                      <a:lnTo>
                        <a:pt x="94" y="58"/>
                      </a:lnTo>
                      <a:lnTo>
                        <a:pt x="85" y="58"/>
                      </a:lnTo>
                      <a:lnTo>
                        <a:pt x="81" y="58"/>
                      </a:lnTo>
                      <a:lnTo>
                        <a:pt x="72" y="62"/>
                      </a:lnTo>
                      <a:lnTo>
                        <a:pt x="40" y="62"/>
                      </a:lnTo>
                      <a:lnTo>
                        <a:pt x="40" y="76"/>
                      </a:lnTo>
                      <a:lnTo>
                        <a:pt x="40" y="89"/>
                      </a:lnTo>
                      <a:lnTo>
                        <a:pt x="36" y="85"/>
                      </a:lnTo>
                      <a:lnTo>
                        <a:pt x="31" y="80"/>
                      </a:lnTo>
                      <a:lnTo>
                        <a:pt x="18" y="85"/>
                      </a:lnTo>
                      <a:lnTo>
                        <a:pt x="0" y="7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61" name="Freeform 60"/>
                <p:cNvSpPr>
                  <a:spLocks/>
                </p:cNvSpPr>
                <p:nvPr/>
              </p:nvSpPr>
              <p:spPr bwMode="gray">
                <a:xfrm>
                  <a:off x="2995" y="2904"/>
                  <a:ext cx="170" cy="143"/>
                </a:xfrm>
                <a:custGeom>
                  <a:avLst/>
                  <a:gdLst>
                    <a:gd name="T0" fmla="*/ 23 w 170"/>
                    <a:gd name="T1" fmla="*/ 134 h 143"/>
                    <a:gd name="T2" fmla="*/ 0 w 170"/>
                    <a:gd name="T3" fmla="*/ 112 h 143"/>
                    <a:gd name="T4" fmla="*/ 5 w 170"/>
                    <a:gd name="T5" fmla="*/ 67 h 143"/>
                    <a:gd name="T6" fmla="*/ 27 w 170"/>
                    <a:gd name="T7" fmla="*/ 63 h 143"/>
                    <a:gd name="T8" fmla="*/ 31 w 170"/>
                    <a:gd name="T9" fmla="*/ 54 h 143"/>
                    <a:gd name="T10" fmla="*/ 31 w 170"/>
                    <a:gd name="T11" fmla="*/ 32 h 143"/>
                    <a:gd name="T12" fmla="*/ 40 w 170"/>
                    <a:gd name="T13" fmla="*/ 41 h 143"/>
                    <a:gd name="T14" fmla="*/ 49 w 170"/>
                    <a:gd name="T15" fmla="*/ 36 h 143"/>
                    <a:gd name="T16" fmla="*/ 58 w 170"/>
                    <a:gd name="T17" fmla="*/ 50 h 143"/>
                    <a:gd name="T18" fmla="*/ 81 w 170"/>
                    <a:gd name="T19" fmla="*/ 45 h 143"/>
                    <a:gd name="T20" fmla="*/ 85 w 170"/>
                    <a:gd name="T21" fmla="*/ 54 h 143"/>
                    <a:gd name="T22" fmla="*/ 94 w 170"/>
                    <a:gd name="T23" fmla="*/ 58 h 143"/>
                    <a:gd name="T24" fmla="*/ 103 w 170"/>
                    <a:gd name="T25" fmla="*/ 67 h 143"/>
                    <a:gd name="T26" fmla="*/ 121 w 170"/>
                    <a:gd name="T27" fmla="*/ 67 h 143"/>
                    <a:gd name="T28" fmla="*/ 121 w 170"/>
                    <a:gd name="T29" fmla="*/ 50 h 143"/>
                    <a:gd name="T30" fmla="*/ 107 w 170"/>
                    <a:gd name="T31" fmla="*/ 58 h 143"/>
                    <a:gd name="T32" fmla="*/ 94 w 170"/>
                    <a:gd name="T33" fmla="*/ 45 h 143"/>
                    <a:gd name="T34" fmla="*/ 98 w 170"/>
                    <a:gd name="T35" fmla="*/ 18 h 143"/>
                    <a:gd name="T36" fmla="*/ 103 w 170"/>
                    <a:gd name="T37" fmla="*/ 5 h 143"/>
                    <a:gd name="T38" fmla="*/ 125 w 170"/>
                    <a:gd name="T39" fmla="*/ 0 h 143"/>
                    <a:gd name="T40" fmla="*/ 125 w 170"/>
                    <a:gd name="T41" fmla="*/ 5 h 143"/>
                    <a:gd name="T42" fmla="*/ 134 w 170"/>
                    <a:gd name="T43" fmla="*/ 5 h 143"/>
                    <a:gd name="T44" fmla="*/ 139 w 170"/>
                    <a:gd name="T45" fmla="*/ 0 h 143"/>
                    <a:gd name="T46" fmla="*/ 148 w 170"/>
                    <a:gd name="T47" fmla="*/ 9 h 143"/>
                    <a:gd name="T48" fmla="*/ 161 w 170"/>
                    <a:gd name="T49" fmla="*/ 14 h 143"/>
                    <a:gd name="T50" fmla="*/ 170 w 170"/>
                    <a:gd name="T51" fmla="*/ 27 h 143"/>
                    <a:gd name="T52" fmla="*/ 170 w 170"/>
                    <a:gd name="T53" fmla="*/ 36 h 143"/>
                    <a:gd name="T54" fmla="*/ 165 w 170"/>
                    <a:gd name="T55" fmla="*/ 36 h 143"/>
                    <a:gd name="T56" fmla="*/ 165 w 170"/>
                    <a:gd name="T57" fmla="*/ 58 h 143"/>
                    <a:gd name="T58" fmla="*/ 161 w 170"/>
                    <a:gd name="T59" fmla="*/ 63 h 143"/>
                    <a:gd name="T60" fmla="*/ 157 w 170"/>
                    <a:gd name="T61" fmla="*/ 76 h 143"/>
                    <a:gd name="T62" fmla="*/ 161 w 170"/>
                    <a:gd name="T63" fmla="*/ 81 h 143"/>
                    <a:gd name="T64" fmla="*/ 125 w 170"/>
                    <a:gd name="T65" fmla="*/ 99 h 143"/>
                    <a:gd name="T66" fmla="*/ 125 w 170"/>
                    <a:gd name="T67" fmla="*/ 108 h 143"/>
                    <a:gd name="T68" fmla="*/ 107 w 170"/>
                    <a:gd name="T69" fmla="*/ 112 h 143"/>
                    <a:gd name="T70" fmla="*/ 103 w 170"/>
                    <a:gd name="T71" fmla="*/ 117 h 143"/>
                    <a:gd name="T72" fmla="*/ 90 w 170"/>
                    <a:gd name="T73" fmla="*/ 126 h 143"/>
                    <a:gd name="T74" fmla="*/ 72 w 170"/>
                    <a:gd name="T75" fmla="*/ 143 h 143"/>
                    <a:gd name="T76" fmla="*/ 45 w 170"/>
                    <a:gd name="T77" fmla="*/ 139 h 143"/>
                    <a:gd name="T78" fmla="*/ 31 w 170"/>
                    <a:gd name="T79" fmla="*/ 130 h 143"/>
                    <a:gd name="T80" fmla="*/ 23 w 170"/>
                    <a:gd name="T81" fmla="*/ 1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143">
                      <a:moveTo>
                        <a:pt x="23" y="134"/>
                      </a:moveTo>
                      <a:lnTo>
                        <a:pt x="0" y="112"/>
                      </a:lnTo>
                      <a:lnTo>
                        <a:pt x="5" y="67"/>
                      </a:lnTo>
                      <a:lnTo>
                        <a:pt x="27" y="63"/>
                      </a:lnTo>
                      <a:lnTo>
                        <a:pt x="31" y="54"/>
                      </a:lnTo>
                      <a:lnTo>
                        <a:pt x="31" y="32"/>
                      </a:lnTo>
                      <a:lnTo>
                        <a:pt x="40" y="41"/>
                      </a:lnTo>
                      <a:lnTo>
                        <a:pt x="49" y="36"/>
                      </a:lnTo>
                      <a:lnTo>
                        <a:pt x="58" y="50"/>
                      </a:lnTo>
                      <a:lnTo>
                        <a:pt x="81" y="45"/>
                      </a:lnTo>
                      <a:lnTo>
                        <a:pt x="85" y="54"/>
                      </a:lnTo>
                      <a:lnTo>
                        <a:pt x="94" y="58"/>
                      </a:lnTo>
                      <a:lnTo>
                        <a:pt x="103" y="67"/>
                      </a:lnTo>
                      <a:lnTo>
                        <a:pt x="121" y="67"/>
                      </a:lnTo>
                      <a:lnTo>
                        <a:pt x="121" y="50"/>
                      </a:lnTo>
                      <a:lnTo>
                        <a:pt x="107" y="58"/>
                      </a:lnTo>
                      <a:lnTo>
                        <a:pt x="94" y="45"/>
                      </a:lnTo>
                      <a:lnTo>
                        <a:pt x="98" y="18"/>
                      </a:lnTo>
                      <a:lnTo>
                        <a:pt x="103" y="5"/>
                      </a:lnTo>
                      <a:lnTo>
                        <a:pt x="125" y="0"/>
                      </a:lnTo>
                      <a:lnTo>
                        <a:pt x="125" y="5"/>
                      </a:lnTo>
                      <a:lnTo>
                        <a:pt x="134" y="5"/>
                      </a:lnTo>
                      <a:lnTo>
                        <a:pt x="139" y="0"/>
                      </a:lnTo>
                      <a:lnTo>
                        <a:pt x="148" y="9"/>
                      </a:lnTo>
                      <a:lnTo>
                        <a:pt x="161" y="14"/>
                      </a:lnTo>
                      <a:lnTo>
                        <a:pt x="170" y="27"/>
                      </a:lnTo>
                      <a:lnTo>
                        <a:pt x="170" y="36"/>
                      </a:lnTo>
                      <a:lnTo>
                        <a:pt x="165" y="36"/>
                      </a:lnTo>
                      <a:lnTo>
                        <a:pt x="165" y="58"/>
                      </a:lnTo>
                      <a:lnTo>
                        <a:pt x="161" y="63"/>
                      </a:lnTo>
                      <a:lnTo>
                        <a:pt x="157" y="76"/>
                      </a:lnTo>
                      <a:lnTo>
                        <a:pt x="161" y="81"/>
                      </a:lnTo>
                      <a:lnTo>
                        <a:pt x="125" y="99"/>
                      </a:lnTo>
                      <a:lnTo>
                        <a:pt x="125" y="108"/>
                      </a:lnTo>
                      <a:lnTo>
                        <a:pt x="107" y="112"/>
                      </a:lnTo>
                      <a:lnTo>
                        <a:pt x="103" y="117"/>
                      </a:lnTo>
                      <a:lnTo>
                        <a:pt x="90" y="126"/>
                      </a:lnTo>
                      <a:lnTo>
                        <a:pt x="72" y="143"/>
                      </a:lnTo>
                      <a:lnTo>
                        <a:pt x="45" y="139"/>
                      </a:lnTo>
                      <a:lnTo>
                        <a:pt x="31" y="130"/>
                      </a:lnTo>
                      <a:lnTo>
                        <a:pt x="23" y="13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62" name="Freeform 61"/>
                <p:cNvSpPr>
                  <a:spLocks/>
                </p:cNvSpPr>
                <p:nvPr/>
              </p:nvSpPr>
              <p:spPr bwMode="gray">
                <a:xfrm>
                  <a:off x="3451" y="2592"/>
                  <a:ext cx="18" cy="9"/>
                </a:xfrm>
                <a:custGeom>
                  <a:avLst/>
                  <a:gdLst>
                    <a:gd name="T0" fmla="*/ 0 w 18"/>
                    <a:gd name="T1" fmla="*/ 4 h 9"/>
                    <a:gd name="T2" fmla="*/ 9 w 18"/>
                    <a:gd name="T3" fmla="*/ 9 h 9"/>
                    <a:gd name="T4" fmla="*/ 18 w 18"/>
                    <a:gd name="T5" fmla="*/ 4 h 9"/>
                    <a:gd name="T6" fmla="*/ 4 w 18"/>
                    <a:gd name="T7" fmla="*/ 0 h 9"/>
                    <a:gd name="T8" fmla="*/ 0 w 18"/>
                    <a:gd name="T9" fmla="*/ 4 h 9"/>
                  </a:gdLst>
                  <a:ahLst/>
                  <a:cxnLst>
                    <a:cxn ang="0">
                      <a:pos x="T0" y="T1"/>
                    </a:cxn>
                    <a:cxn ang="0">
                      <a:pos x="T2" y="T3"/>
                    </a:cxn>
                    <a:cxn ang="0">
                      <a:pos x="T4" y="T5"/>
                    </a:cxn>
                    <a:cxn ang="0">
                      <a:pos x="T6" y="T7"/>
                    </a:cxn>
                    <a:cxn ang="0">
                      <a:pos x="T8" y="T9"/>
                    </a:cxn>
                  </a:cxnLst>
                  <a:rect l="0" t="0" r="r" b="b"/>
                  <a:pathLst>
                    <a:path w="18" h="9">
                      <a:moveTo>
                        <a:pt x="0" y="4"/>
                      </a:moveTo>
                      <a:lnTo>
                        <a:pt x="9" y="9"/>
                      </a:lnTo>
                      <a:lnTo>
                        <a:pt x="18" y="4"/>
                      </a:lnTo>
                      <a:lnTo>
                        <a:pt x="4" y="0"/>
                      </a:lnTo>
                      <a:lnTo>
                        <a:pt x="0" y="4"/>
                      </a:lnTo>
                    </a:path>
                  </a:pathLst>
                </a:custGeom>
                <a:solidFill>
                  <a:schemeClr val="bg2"/>
                </a:solidFill>
                <a:ln w="3175" cmpd="sng">
                  <a:solidFill>
                    <a:schemeClr val="bg1"/>
                  </a:solidFill>
                  <a:prstDash val="solid"/>
                  <a:round/>
                  <a:headEnd/>
                  <a:tailEnd/>
                </a:ln>
              </p:spPr>
              <p:txBody>
                <a:bodyPr/>
                <a:lstStyle/>
                <a:p>
                  <a:endParaRPr lang="en-US">
                    <a:solidFill>
                      <a:srgbClr val="000000"/>
                    </a:solidFill>
                  </a:endParaRPr>
                </a:p>
              </p:txBody>
            </p:sp>
            <p:sp>
              <p:nvSpPr>
                <p:cNvPr id="563" name="Freeform 62"/>
                <p:cNvSpPr>
                  <a:spLocks/>
                </p:cNvSpPr>
                <p:nvPr/>
              </p:nvSpPr>
              <p:spPr bwMode="gray">
                <a:xfrm>
                  <a:off x="3120" y="2904"/>
                  <a:ext cx="14" cy="5"/>
                </a:xfrm>
                <a:custGeom>
                  <a:avLst/>
                  <a:gdLst>
                    <a:gd name="T0" fmla="*/ 14 w 14"/>
                    <a:gd name="T1" fmla="*/ 0 h 5"/>
                    <a:gd name="T2" fmla="*/ 9 w 14"/>
                    <a:gd name="T3" fmla="*/ 5 h 5"/>
                    <a:gd name="T4" fmla="*/ 0 w 14"/>
                    <a:gd name="T5" fmla="*/ 5 h 5"/>
                    <a:gd name="T6" fmla="*/ 0 w 14"/>
                    <a:gd name="T7" fmla="*/ 0 h 5"/>
                  </a:gdLst>
                  <a:ahLst/>
                  <a:cxnLst>
                    <a:cxn ang="0">
                      <a:pos x="T0" y="T1"/>
                    </a:cxn>
                    <a:cxn ang="0">
                      <a:pos x="T2" y="T3"/>
                    </a:cxn>
                    <a:cxn ang="0">
                      <a:pos x="T4" y="T5"/>
                    </a:cxn>
                    <a:cxn ang="0">
                      <a:pos x="T6" y="T7"/>
                    </a:cxn>
                  </a:cxnLst>
                  <a:rect l="0" t="0" r="r" b="b"/>
                  <a:pathLst>
                    <a:path w="14" h="5">
                      <a:moveTo>
                        <a:pt x="14" y="0"/>
                      </a:moveTo>
                      <a:lnTo>
                        <a:pt x="9" y="5"/>
                      </a:lnTo>
                      <a:lnTo>
                        <a:pt x="0" y="5"/>
                      </a:lnTo>
                      <a:lnTo>
                        <a:pt x="0" y="0"/>
                      </a:lnTo>
                    </a:path>
                  </a:pathLst>
                </a:custGeom>
                <a:solidFill>
                  <a:schemeClr val="bg2"/>
                </a:solidFill>
                <a:ln w="3175" cmpd="sng">
                  <a:solidFill>
                    <a:schemeClr val="bg1"/>
                  </a:solidFill>
                  <a:prstDash val="solid"/>
                  <a:round/>
                  <a:headEnd/>
                  <a:tailEnd/>
                </a:ln>
              </p:spPr>
              <p:txBody>
                <a:bodyPr/>
                <a:lstStyle/>
                <a:p>
                  <a:endParaRPr lang="en-US">
                    <a:solidFill>
                      <a:srgbClr val="000000"/>
                    </a:solidFill>
                  </a:endParaRPr>
                </a:p>
              </p:txBody>
            </p:sp>
          </p:grpSp>
          <p:grpSp>
            <p:nvGrpSpPr>
              <p:cNvPr id="360" name="Group 63"/>
              <p:cNvGrpSpPr>
                <a:grpSpLocks/>
              </p:cNvGrpSpPr>
              <p:nvPr/>
            </p:nvGrpSpPr>
            <p:grpSpPr bwMode="auto">
              <a:xfrm>
                <a:off x="553183" y="1409232"/>
                <a:ext cx="2939878" cy="4351333"/>
                <a:chOff x="253" y="898"/>
                <a:chExt cx="1938" cy="2869"/>
              </a:xfrm>
            </p:grpSpPr>
            <p:sp>
              <p:nvSpPr>
                <p:cNvPr id="466" name="Freeform 64"/>
                <p:cNvSpPr>
                  <a:spLocks noEditPoints="1"/>
                </p:cNvSpPr>
                <p:nvPr/>
              </p:nvSpPr>
              <p:spPr bwMode="gray">
                <a:xfrm>
                  <a:off x="1633" y="3110"/>
                  <a:ext cx="286" cy="639"/>
                </a:xfrm>
                <a:custGeom>
                  <a:avLst/>
                  <a:gdLst>
                    <a:gd name="T0" fmla="*/ 76 w 286"/>
                    <a:gd name="T1" fmla="*/ 576 h 639"/>
                    <a:gd name="T2" fmla="*/ 67 w 286"/>
                    <a:gd name="T3" fmla="*/ 532 h 639"/>
                    <a:gd name="T4" fmla="*/ 80 w 286"/>
                    <a:gd name="T5" fmla="*/ 523 h 639"/>
                    <a:gd name="T6" fmla="*/ 85 w 286"/>
                    <a:gd name="T7" fmla="*/ 500 h 639"/>
                    <a:gd name="T8" fmla="*/ 116 w 286"/>
                    <a:gd name="T9" fmla="*/ 456 h 639"/>
                    <a:gd name="T10" fmla="*/ 89 w 286"/>
                    <a:gd name="T11" fmla="*/ 438 h 639"/>
                    <a:gd name="T12" fmla="*/ 103 w 286"/>
                    <a:gd name="T13" fmla="*/ 411 h 639"/>
                    <a:gd name="T14" fmla="*/ 125 w 286"/>
                    <a:gd name="T15" fmla="*/ 375 h 639"/>
                    <a:gd name="T16" fmla="*/ 129 w 286"/>
                    <a:gd name="T17" fmla="*/ 362 h 639"/>
                    <a:gd name="T18" fmla="*/ 143 w 286"/>
                    <a:gd name="T19" fmla="*/ 362 h 639"/>
                    <a:gd name="T20" fmla="*/ 134 w 286"/>
                    <a:gd name="T21" fmla="*/ 353 h 639"/>
                    <a:gd name="T22" fmla="*/ 125 w 286"/>
                    <a:gd name="T23" fmla="*/ 326 h 639"/>
                    <a:gd name="T24" fmla="*/ 165 w 286"/>
                    <a:gd name="T25" fmla="*/ 331 h 639"/>
                    <a:gd name="T26" fmla="*/ 170 w 286"/>
                    <a:gd name="T27" fmla="*/ 290 h 639"/>
                    <a:gd name="T28" fmla="*/ 228 w 286"/>
                    <a:gd name="T29" fmla="*/ 277 h 639"/>
                    <a:gd name="T30" fmla="*/ 241 w 286"/>
                    <a:gd name="T31" fmla="*/ 241 h 639"/>
                    <a:gd name="T32" fmla="*/ 232 w 286"/>
                    <a:gd name="T33" fmla="*/ 237 h 639"/>
                    <a:gd name="T34" fmla="*/ 219 w 286"/>
                    <a:gd name="T35" fmla="*/ 214 h 639"/>
                    <a:gd name="T36" fmla="*/ 219 w 286"/>
                    <a:gd name="T37" fmla="*/ 188 h 639"/>
                    <a:gd name="T38" fmla="*/ 219 w 286"/>
                    <a:gd name="T39" fmla="*/ 165 h 639"/>
                    <a:gd name="T40" fmla="*/ 232 w 286"/>
                    <a:gd name="T41" fmla="*/ 134 h 639"/>
                    <a:gd name="T42" fmla="*/ 268 w 286"/>
                    <a:gd name="T43" fmla="*/ 94 h 639"/>
                    <a:gd name="T44" fmla="*/ 286 w 286"/>
                    <a:gd name="T45" fmla="*/ 58 h 639"/>
                    <a:gd name="T46" fmla="*/ 272 w 286"/>
                    <a:gd name="T47" fmla="*/ 76 h 639"/>
                    <a:gd name="T48" fmla="*/ 241 w 286"/>
                    <a:gd name="T49" fmla="*/ 89 h 639"/>
                    <a:gd name="T50" fmla="*/ 214 w 286"/>
                    <a:gd name="T51" fmla="*/ 85 h 639"/>
                    <a:gd name="T52" fmla="*/ 228 w 286"/>
                    <a:gd name="T53" fmla="*/ 49 h 639"/>
                    <a:gd name="T54" fmla="*/ 183 w 286"/>
                    <a:gd name="T55" fmla="*/ 31 h 639"/>
                    <a:gd name="T56" fmla="*/ 152 w 286"/>
                    <a:gd name="T57" fmla="*/ 0 h 639"/>
                    <a:gd name="T58" fmla="*/ 134 w 286"/>
                    <a:gd name="T59" fmla="*/ 13 h 639"/>
                    <a:gd name="T60" fmla="*/ 103 w 286"/>
                    <a:gd name="T61" fmla="*/ 0 h 639"/>
                    <a:gd name="T62" fmla="*/ 89 w 286"/>
                    <a:gd name="T63" fmla="*/ 31 h 639"/>
                    <a:gd name="T64" fmla="*/ 62 w 286"/>
                    <a:gd name="T65" fmla="*/ 71 h 639"/>
                    <a:gd name="T66" fmla="*/ 58 w 286"/>
                    <a:gd name="T67" fmla="*/ 94 h 639"/>
                    <a:gd name="T68" fmla="*/ 53 w 286"/>
                    <a:gd name="T69" fmla="*/ 138 h 639"/>
                    <a:gd name="T70" fmla="*/ 40 w 286"/>
                    <a:gd name="T71" fmla="*/ 156 h 639"/>
                    <a:gd name="T72" fmla="*/ 53 w 286"/>
                    <a:gd name="T73" fmla="*/ 183 h 639"/>
                    <a:gd name="T74" fmla="*/ 44 w 286"/>
                    <a:gd name="T75" fmla="*/ 214 h 639"/>
                    <a:gd name="T76" fmla="*/ 31 w 286"/>
                    <a:gd name="T77" fmla="*/ 250 h 639"/>
                    <a:gd name="T78" fmla="*/ 27 w 286"/>
                    <a:gd name="T79" fmla="*/ 290 h 639"/>
                    <a:gd name="T80" fmla="*/ 22 w 286"/>
                    <a:gd name="T81" fmla="*/ 308 h 639"/>
                    <a:gd name="T82" fmla="*/ 27 w 286"/>
                    <a:gd name="T83" fmla="*/ 349 h 639"/>
                    <a:gd name="T84" fmla="*/ 27 w 286"/>
                    <a:gd name="T85" fmla="*/ 375 h 639"/>
                    <a:gd name="T86" fmla="*/ 31 w 286"/>
                    <a:gd name="T87" fmla="*/ 398 h 639"/>
                    <a:gd name="T88" fmla="*/ 22 w 286"/>
                    <a:gd name="T89" fmla="*/ 407 h 639"/>
                    <a:gd name="T90" fmla="*/ 22 w 286"/>
                    <a:gd name="T91" fmla="*/ 424 h 639"/>
                    <a:gd name="T92" fmla="*/ 13 w 286"/>
                    <a:gd name="T93" fmla="*/ 487 h 639"/>
                    <a:gd name="T94" fmla="*/ 0 w 286"/>
                    <a:gd name="T95" fmla="*/ 509 h 639"/>
                    <a:gd name="T96" fmla="*/ 13 w 286"/>
                    <a:gd name="T97" fmla="*/ 536 h 639"/>
                    <a:gd name="T98" fmla="*/ 22 w 286"/>
                    <a:gd name="T99" fmla="*/ 563 h 639"/>
                    <a:gd name="T100" fmla="*/ 71 w 286"/>
                    <a:gd name="T101" fmla="*/ 635 h 639"/>
                    <a:gd name="T102" fmla="*/ 94 w 286"/>
                    <a:gd name="T103" fmla="*/ 635 h 639"/>
                    <a:gd name="T104" fmla="*/ 107 w 286"/>
                    <a:gd name="T105" fmla="*/ 635 h 639"/>
                    <a:gd name="T106" fmla="*/ 125 w 286"/>
                    <a:gd name="T107" fmla="*/ 626 h 639"/>
                    <a:gd name="T108" fmla="*/ 89 w 286"/>
                    <a:gd name="T109" fmla="*/ 617 h 639"/>
                    <a:gd name="T110" fmla="*/ 71 w 286"/>
                    <a:gd name="T111" fmla="*/ 594 h 639"/>
                    <a:gd name="T112" fmla="*/ 71 w 286"/>
                    <a:gd name="T113" fmla="*/ 576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6" h="639">
                      <a:moveTo>
                        <a:pt x="62" y="567"/>
                      </a:moveTo>
                      <a:lnTo>
                        <a:pt x="76" y="576"/>
                      </a:lnTo>
                      <a:lnTo>
                        <a:pt x="67" y="541"/>
                      </a:lnTo>
                      <a:lnTo>
                        <a:pt x="67" y="532"/>
                      </a:lnTo>
                      <a:lnTo>
                        <a:pt x="76" y="523"/>
                      </a:lnTo>
                      <a:lnTo>
                        <a:pt x="80" y="523"/>
                      </a:lnTo>
                      <a:lnTo>
                        <a:pt x="89" y="505"/>
                      </a:lnTo>
                      <a:lnTo>
                        <a:pt x="85" y="500"/>
                      </a:lnTo>
                      <a:lnTo>
                        <a:pt x="111" y="478"/>
                      </a:lnTo>
                      <a:lnTo>
                        <a:pt x="116" y="456"/>
                      </a:lnTo>
                      <a:lnTo>
                        <a:pt x="103" y="451"/>
                      </a:lnTo>
                      <a:lnTo>
                        <a:pt x="89" y="438"/>
                      </a:lnTo>
                      <a:lnTo>
                        <a:pt x="94" y="424"/>
                      </a:lnTo>
                      <a:lnTo>
                        <a:pt x="103" y="411"/>
                      </a:lnTo>
                      <a:lnTo>
                        <a:pt x="120" y="411"/>
                      </a:lnTo>
                      <a:lnTo>
                        <a:pt x="125" y="375"/>
                      </a:lnTo>
                      <a:lnTo>
                        <a:pt x="134" y="366"/>
                      </a:lnTo>
                      <a:lnTo>
                        <a:pt x="129" y="362"/>
                      </a:lnTo>
                      <a:lnTo>
                        <a:pt x="138" y="366"/>
                      </a:lnTo>
                      <a:lnTo>
                        <a:pt x="143" y="362"/>
                      </a:lnTo>
                      <a:lnTo>
                        <a:pt x="143" y="353"/>
                      </a:lnTo>
                      <a:lnTo>
                        <a:pt x="134" y="353"/>
                      </a:lnTo>
                      <a:lnTo>
                        <a:pt x="125" y="349"/>
                      </a:lnTo>
                      <a:lnTo>
                        <a:pt x="125" y="326"/>
                      </a:lnTo>
                      <a:lnTo>
                        <a:pt x="147" y="335"/>
                      </a:lnTo>
                      <a:lnTo>
                        <a:pt x="165" y="331"/>
                      </a:lnTo>
                      <a:lnTo>
                        <a:pt x="161" y="313"/>
                      </a:lnTo>
                      <a:lnTo>
                        <a:pt x="170" y="290"/>
                      </a:lnTo>
                      <a:lnTo>
                        <a:pt x="210" y="286"/>
                      </a:lnTo>
                      <a:lnTo>
                        <a:pt x="228" y="277"/>
                      </a:lnTo>
                      <a:lnTo>
                        <a:pt x="241" y="255"/>
                      </a:lnTo>
                      <a:lnTo>
                        <a:pt x="241" y="241"/>
                      </a:lnTo>
                      <a:lnTo>
                        <a:pt x="237" y="246"/>
                      </a:lnTo>
                      <a:lnTo>
                        <a:pt x="232" y="237"/>
                      </a:lnTo>
                      <a:lnTo>
                        <a:pt x="237" y="228"/>
                      </a:lnTo>
                      <a:lnTo>
                        <a:pt x="219" y="214"/>
                      </a:lnTo>
                      <a:lnTo>
                        <a:pt x="214" y="206"/>
                      </a:lnTo>
                      <a:lnTo>
                        <a:pt x="219" y="188"/>
                      </a:lnTo>
                      <a:lnTo>
                        <a:pt x="223" y="183"/>
                      </a:lnTo>
                      <a:lnTo>
                        <a:pt x="219" y="165"/>
                      </a:lnTo>
                      <a:lnTo>
                        <a:pt x="228" y="138"/>
                      </a:lnTo>
                      <a:lnTo>
                        <a:pt x="232" y="134"/>
                      </a:lnTo>
                      <a:lnTo>
                        <a:pt x="232" y="130"/>
                      </a:lnTo>
                      <a:lnTo>
                        <a:pt x="268" y="94"/>
                      </a:lnTo>
                      <a:lnTo>
                        <a:pt x="286" y="80"/>
                      </a:lnTo>
                      <a:lnTo>
                        <a:pt x="286" y="58"/>
                      </a:lnTo>
                      <a:lnTo>
                        <a:pt x="277" y="58"/>
                      </a:lnTo>
                      <a:lnTo>
                        <a:pt x="272" y="76"/>
                      </a:lnTo>
                      <a:lnTo>
                        <a:pt x="259" y="89"/>
                      </a:lnTo>
                      <a:lnTo>
                        <a:pt x="241" y="89"/>
                      </a:lnTo>
                      <a:lnTo>
                        <a:pt x="228" y="85"/>
                      </a:lnTo>
                      <a:lnTo>
                        <a:pt x="214" y="85"/>
                      </a:lnTo>
                      <a:lnTo>
                        <a:pt x="228" y="58"/>
                      </a:lnTo>
                      <a:lnTo>
                        <a:pt x="228" y="49"/>
                      </a:lnTo>
                      <a:lnTo>
                        <a:pt x="192" y="31"/>
                      </a:lnTo>
                      <a:lnTo>
                        <a:pt x="183" y="31"/>
                      </a:lnTo>
                      <a:lnTo>
                        <a:pt x="156" y="4"/>
                      </a:lnTo>
                      <a:lnTo>
                        <a:pt x="152" y="0"/>
                      </a:lnTo>
                      <a:lnTo>
                        <a:pt x="138" y="0"/>
                      </a:lnTo>
                      <a:lnTo>
                        <a:pt x="134" y="13"/>
                      </a:lnTo>
                      <a:lnTo>
                        <a:pt x="125" y="4"/>
                      </a:lnTo>
                      <a:lnTo>
                        <a:pt x="103" y="0"/>
                      </a:lnTo>
                      <a:lnTo>
                        <a:pt x="89" y="13"/>
                      </a:lnTo>
                      <a:lnTo>
                        <a:pt x="89" y="31"/>
                      </a:lnTo>
                      <a:lnTo>
                        <a:pt x="67" y="45"/>
                      </a:lnTo>
                      <a:lnTo>
                        <a:pt x="62" y="71"/>
                      </a:lnTo>
                      <a:lnTo>
                        <a:pt x="67" y="80"/>
                      </a:lnTo>
                      <a:lnTo>
                        <a:pt x="58" y="94"/>
                      </a:lnTo>
                      <a:lnTo>
                        <a:pt x="49" y="121"/>
                      </a:lnTo>
                      <a:lnTo>
                        <a:pt x="53" y="138"/>
                      </a:lnTo>
                      <a:lnTo>
                        <a:pt x="44" y="143"/>
                      </a:lnTo>
                      <a:lnTo>
                        <a:pt x="40" y="156"/>
                      </a:lnTo>
                      <a:lnTo>
                        <a:pt x="49" y="183"/>
                      </a:lnTo>
                      <a:lnTo>
                        <a:pt x="53" y="183"/>
                      </a:lnTo>
                      <a:lnTo>
                        <a:pt x="53" y="201"/>
                      </a:lnTo>
                      <a:lnTo>
                        <a:pt x="44" y="214"/>
                      </a:lnTo>
                      <a:lnTo>
                        <a:pt x="40" y="237"/>
                      </a:lnTo>
                      <a:lnTo>
                        <a:pt x="31" y="250"/>
                      </a:lnTo>
                      <a:lnTo>
                        <a:pt x="36" y="286"/>
                      </a:lnTo>
                      <a:lnTo>
                        <a:pt x="27" y="290"/>
                      </a:lnTo>
                      <a:lnTo>
                        <a:pt x="27" y="304"/>
                      </a:lnTo>
                      <a:lnTo>
                        <a:pt x="22" y="308"/>
                      </a:lnTo>
                      <a:lnTo>
                        <a:pt x="22" y="326"/>
                      </a:lnTo>
                      <a:lnTo>
                        <a:pt x="27" y="349"/>
                      </a:lnTo>
                      <a:lnTo>
                        <a:pt x="22" y="362"/>
                      </a:lnTo>
                      <a:lnTo>
                        <a:pt x="27" y="375"/>
                      </a:lnTo>
                      <a:lnTo>
                        <a:pt x="22" y="398"/>
                      </a:lnTo>
                      <a:lnTo>
                        <a:pt x="31" y="398"/>
                      </a:lnTo>
                      <a:lnTo>
                        <a:pt x="31" y="407"/>
                      </a:lnTo>
                      <a:lnTo>
                        <a:pt x="22" y="407"/>
                      </a:lnTo>
                      <a:lnTo>
                        <a:pt x="31" y="416"/>
                      </a:lnTo>
                      <a:lnTo>
                        <a:pt x="22" y="424"/>
                      </a:lnTo>
                      <a:lnTo>
                        <a:pt x="22" y="442"/>
                      </a:lnTo>
                      <a:lnTo>
                        <a:pt x="13" y="487"/>
                      </a:lnTo>
                      <a:lnTo>
                        <a:pt x="9" y="492"/>
                      </a:lnTo>
                      <a:lnTo>
                        <a:pt x="0" y="509"/>
                      </a:lnTo>
                      <a:lnTo>
                        <a:pt x="4" y="536"/>
                      </a:lnTo>
                      <a:lnTo>
                        <a:pt x="13" y="536"/>
                      </a:lnTo>
                      <a:lnTo>
                        <a:pt x="13" y="554"/>
                      </a:lnTo>
                      <a:lnTo>
                        <a:pt x="22" y="563"/>
                      </a:lnTo>
                      <a:lnTo>
                        <a:pt x="62" y="567"/>
                      </a:lnTo>
                      <a:close/>
                      <a:moveTo>
                        <a:pt x="71" y="635"/>
                      </a:moveTo>
                      <a:lnTo>
                        <a:pt x="80" y="635"/>
                      </a:lnTo>
                      <a:lnTo>
                        <a:pt x="94" y="635"/>
                      </a:lnTo>
                      <a:lnTo>
                        <a:pt x="103" y="639"/>
                      </a:lnTo>
                      <a:lnTo>
                        <a:pt x="107" y="635"/>
                      </a:lnTo>
                      <a:lnTo>
                        <a:pt x="120" y="635"/>
                      </a:lnTo>
                      <a:lnTo>
                        <a:pt x="125" y="626"/>
                      </a:lnTo>
                      <a:lnTo>
                        <a:pt x="107" y="626"/>
                      </a:lnTo>
                      <a:lnTo>
                        <a:pt x="89" y="617"/>
                      </a:lnTo>
                      <a:lnTo>
                        <a:pt x="80" y="594"/>
                      </a:lnTo>
                      <a:lnTo>
                        <a:pt x="71" y="594"/>
                      </a:lnTo>
                      <a:lnTo>
                        <a:pt x="76" y="585"/>
                      </a:lnTo>
                      <a:lnTo>
                        <a:pt x="71" y="576"/>
                      </a:lnTo>
                      <a:lnTo>
                        <a:pt x="71" y="63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67" name="Freeform 65"/>
                <p:cNvSpPr>
                  <a:spLocks noEditPoints="1"/>
                </p:cNvSpPr>
                <p:nvPr/>
              </p:nvSpPr>
              <p:spPr bwMode="gray">
                <a:xfrm>
                  <a:off x="1557" y="2373"/>
                  <a:ext cx="85" cy="98"/>
                </a:xfrm>
                <a:custGeom>
                  <a:avLst/>
                  <a:gdLst>
                    <a:gd name="T0" fmla="*/ 4 w 85"/>
                    <a:gd name="T1" fmla="*/ 4 h 98"/>
                    <a:gd name="T2" fmla="*/ 0 w 85"/>
                    <a:gd name="T3" fmla="*/ 9 h 98"/>
                    <a:gd name="T4" fmla="*/ 9 w 85"/>
                    <a:gd name="T5" fmla="*/ 9 h 98"/>
                    <a:gd name="T6" fmla="*/ 13 w 85"/>
                    <a:gd name="T7" fmla="*/ 9 h 98"/>
                    <a:gd name="T8" fmla="*/ 13 w 85"/>
                    <a:gd name="T9" fmla="*/ 4 h 98"/>
                    <a:gd name="T10" fmla="*/ 4 w 85"/>
                    <a:gd name="T11" fmla="*/ 4 h 98"/>
                    <a:gd name="T12" fmla="*/ 9 w 85"/>
                    <a:gd name="T13" fmla="*/ 26 h 98"/>
                    <a:gd name="T14" fmla="*/ 4 w 85"/>
                    <a:gd name="T15" fmla="*/ 40 h 98"/>
                    <a:gd name="T16" fmla="*/ 13 w 85"/>
                    <a:gd name="T17" fmla="*/ 40 h 98"/>
                    <a:gd name="T18" fmla="*/ 13 w 85"/>
                    <a:gd name="T19" fmla="*/ 40 h 98"/>
                    <a:gd name="T20" fmla="*/ 9 w 85"/>
                    <a:gd name="T21" fmla="*/ 26 h 98"/>
                    <a:gd name="T22" fmla="*/ 9 w 85"/>
                    <a:gd name="T23" fmla="*/ 26 h 98"/>
                    <a:gd name="T24" fmla="*/ 18 w 85"/>
                    <a:gd name="T25" fmla="*/ 26 h 98"/>
                    <a:gd name="T26" fmla="*/ 18 w 85"/>
                    <a:gd name="T27" fmla="*/ 35 h 98"/>
                    <a:gd name="T28" fmla="*/ 22 w 85"/>
                    <a:gd name="T29" fmla="*/ 31 h 98"/>
                    <a:gd name="T30" fmla="*/ 22 w 85"/>
                    <a:gd name="T31" fmla="*/ 31 h 98"/>
                    <a:gd name="T32" fmla="*/ 22 w 85"/>
                    <a:gd name="T33" fmla="*/ 26 h 98"/>
                    <a:gd name="T34" fmla="*/ 18 w 85"/>
                    <a:gd name="T35" fmla="*/ 26 h 98"/>
                    <a:gd name="T36" fmla="*/ 18 w 85"/>
                    <a:gd name="T37" fmla="*/ 0 h 98"/>
                    <a:gd name="T38" fmla="*/ 22 w 85"/>
                    <a:gd name="T39" fmla="*/ 9 h 98"/>
                    <a:gd name="T40" fmla="*/ 22 w 85"/>
                    <a:gd name="T41" fmla="*/ 13 h 98"/>
                    <a:gd name="T42" fmla="*/ 22 w 85"/>
                    <a:gd name="T43" fmla="*/ 17 h 98"/>
                    <a:gd name="T44" fmla="*/ 27 w 85"/>
                    <a:gd name="T45" fmla="*/ 9 h 98"/>
                    <a:gd name="T46" fmla="*/ 22 w 85"/>
                    <a:gd name="T47" fmla="*/ 4 h 98"/>
                    <a:gd name="T48" fmla="*/ 18 w 85"/>
                    <a:gd name="T49" fmla="*/ 0 h 98"/>
                    <a:gd name="T50" fmla="*/ 18 w 85"/>
                    <a:gd name="T51" fmla="*/ 53 h 98"/>
                    <a:gd name="T52" fmla="*/ 18 w 85"/>
                    <a:gd name="T53" fmla="*/ 44 h 98"/>
                    <a:gd name="T54" fmla="*/ 13 w 85"/>
                    <a:gd name="T55" fmla="*/ 44 h 98"/>
                    <a:gd name="T56" fmla="*/ 13 w 85"/>
                    <a:gd name="T57" fmla="*/ 53 h 98"/>
                    <a:gd name="T58" fmla="*/ 18 w 85"/>
                    <a:gd name="T59" fmla="*/ 53 h 98"/>
                    <a:gd name="T60" fmla="*/ 31 w 85"/>
                    <a:gd name="T61" fmla="*/ 22 h 98"/>
                    <a:gd name="T62" fmla="*/ 27 w 85"/>
                    <a:gd name="T63" fmla="*/ 22 h 98"/>
                    <a:gd name="T64" fmla="*/ 31 w 85"/>
                    <a:gd name="T65" fmla="*/ 26 h 98"/>
                    <a:gd name="T66" fmla="*/ 36 w 85"/>
                    <a:gd name="T67" fmla="*/ 31 h 98"/>
                    <a:gd name="T68" fmla="*/ 36 w 85"/>
                    <a:gd name="T69" fmla="*/ 35 h 98"/>
                    <a:gd name="T70" fmla="*/ 40 w 85"/>
                    <a:gd name="T71" fmla="*/ 26 h 98"/>
                    <a:gd name="T72" fmla="*/ 31 w 85"/>
                    <a:gd name="T73" fmla="*/ 22 h 98"/>
                    <a:gd name="T74" fmla="*/ 45 w 85"/>
                    <a:gd name="T75" fmla="*/ 35 h 98"/>
                    <a:gd name="T76" fmla="*/ 49 w 85"/>
                    <a:gd name="T77" fmla="*/ 44 h 98"/>
                    <a:gd name="T78" fmla="*/ 45 w 85"/>
                    <a:gd name="T79" fmla="*/ 49 h 98"/>
                    <a:gd name="T80" fmla="*/ 53 w 85"/>
                    <a:gd name="T81" fmla="*/ 49 h 98"/>
                    <a:gd name="T82" fmla="*/ 49 w 85"/>
                    <a:gd name="T83" fmla="*/ 44 h 98"/>
                    <a:gd name="T84" fmla="*/ 45 w 85"/>
                    <a:gd name="T85" fmla="*/ 35 h 98"/>
                    <a:gd name="T86" fmla="*/ 49 w 85"/>
                    <a:gd name="T87" fmla="*/ 53 h 98"/>
                    <a:gd name="T88" fmla="*/ 49 w 85"/>
                    <a:gd name="T89" fmla="*/ 53 h 98"/>
                    <a:gd name="T90" fmla="*/ 49 w 85"/>
                    <a:gd name="T91" fmla="*/ 62 h 98"/>
                    <a:gd name="T92" fmla="*/ 58 w 85"/>
                    <a:gd name="T93" fmla="*/ 67 h 98"/>
                    <a:gd name="T94" fmla="*/ 53 w 85"/>
                    <a:gd name="T95" fmla="*/ 58 h 98"/>
                    <a:gd name="T96" fmla="*/ 49 w 85"/>
                    <a:gd name="T97" fmla="*/ 53 h 98"/>
                    <a:gd name="T98" fmla="*/ 62 w 85"/>
                    <a:gd name="T99" fmla="*/ 62 h 98"/>
                    <a:gd name="T100" fmla="*/ 62 w 85"/>
                    <a:gd name="T101" fmla="*/ 67 h 98"/>
                    <a:gd name="T102" fmla="*/ 67 w 85"/>
                    <a:gd name="T103" fmla="*/ 67 h 98"/>
                    <a:gd name="T104" fmla="*/ 67 w 85"/>
                    <a:gd name="T105" fmla="*/ 71 h 98"/>
                    <a:gd name="T106" fmla="*/ 67 w 85"/>
                    <a:gd name="T107" fmla="*/ 80 h 98"/>
                    <a:gd name="T108" fmla="*/ 71 w 85"/>
                    <a:gd name="T109" fmla="*/ 71 h 98"/>
                    <a:gd name="T110" fmla="*/ 71 w 85"/>
                    <a:gd name="T111" fmla="*/ 67 h 98"/>
                    <a:gd name="T112" fmla="*/ 67 w 85"/>
                    <a:gd name="T113" fmla="*/ 67 h 98"/>
                    <a:gd name="T114" fmla="*/ 62 w 85"/>
                    <a:gd name="T115" fmla="*/ 62 h 98"/>
                    <a:gd name="T116" fmla="*/ 71 w 85"/>
                    <a:gd name="T117" fmla="*/ 93 h 98"/>
                    <a:gd name="T118" fmla="*/ 80 w 85"/>
                    <a:gd name="T119" fmla="*/ 98 h 98"/>
                    <a:gd name="T120" fmla="*/ 85 w 85"/>
                    <a:gd name="T121" fmla="*/ 89 h 98"/>
                    <a:gd name="T122" fmla="*/ 76 w 85"/>
                    <a:gd name="T123" fmla="*/ 89 h 98"/>
                    <a:gd name="T124" fmla="*/ 71 w 85"/>
                    <a:gd name="T125" fmla="*/ 9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 h="98">
                      <a:moveTo>
                        <a:pt x="4" y="4"/>
                      </a:moveTo>
                      <a:lnTo>
                        <a:pt x="0" y="9"/>
                      </a:lnTo>
                      <a:lnTo>
                        <a:pt x="9" y="9"/>
                      </a:lnTo>
                      <a:lnTo>
                        <a:pt x="13" y="9"/>
                      </a:lnTo>
                      <a:lnTo>
                        <a:pt x="13" y="4"/>
                      </a:lnTo>
                      <a:lnTo>
                        <a:pt x="4" y="4"/>
                      </a:lnTo>
                      <a:close/>
                      <a:moveTo>
                        <a:pt x="9" y="26"/>
                      </a:moveTo>
                      <a:lnTo>
                        <a:pt x="4" y="40"/>
                      </a:lnTo>
                      <a:lnTo>
                        <a:pt x="13" y="40"/>
                      </a:lnTo>
                      <a:lnTo>
                        <a:pt x="13" y="40"/>
                      </a:lnTo>
                      <a:lnTo>
                        <a:pt x="9" y="26"/>
                      </a:lnTo>
                      <a:lnTo>
                        <a:pt x="9" y="26"/>
                      </a:lnTo>
                      <a:close/>
                      <a:moveTo>
                        <a:pt x="18" y="26"/>
                      </a:moveTo>
                      <a:lnTo>
                        <a:pt x="18" y="35"/>
                      </a:lnTo>
                      <a:lnTo>
                        <a:pt x="22" y="31"/>
                      </a:lnTo>
                      <a:lnTo>
                        <a:pt x="22" y="31"/>
                      </a:lnTo>
                      <a:lnTo>
                        <a:pt x="22" y="26"/>
                      </a:lnTo>
                      <a:lnTo>
                        <a:pt x="18" y="26"/>
                      </a:lnTo>
                      <a:close/>
                      <a:moveTo>
                        <a:pt x="18" y="0"/>
                      </a:moveTo>
                      <a:lnTo>
                        <a:pt x="22" y="9"/>
                      </a:lnTo>
                      <a:lnTo>
                        <a:pt x="22" y="13"/>
                      </a:lnTo>
                      <a:lnTo>
                        <a:pt x="22" y="17"/>
                      </a:lnTo>
                      <a:lnTo>
                        <a:pt x="27" y="9"/>
                      </a:lnTo>
                      <a:lnTo>
                        <a:pt x="22" y="4"/>
                      </a:lnTo>
                      <a:lnTo>
                        <a:pt x="18" y="0"/>
                      </a:lnTo>
                      <a:close/>
                      <a:moveTo>
                        <a:pt x="18" y="53"/>
                      </a:moveTo>
                      <a:lnTo>
                        <a:pt x="18" y="44"/>
                      </a:lnTo>
                      <a:lnTo>
                        <a:pt x="13" y="44"/>
                      </a:lnTo>
                      <a:lnTo>
                        <a:pt x="13" y="53"/>
                      </a:lnTo>
                      <a:lnTo>
                        <a:pt x="18" y="53"/>
                      </a:lnTo>
                      <a:close/>
                      <a:moveTo>
                        <a:pt x="31" y="22"/>
                      </a:moveTo>
                      <a:lnTo>
                        <a:pt x="27" y="22"/>
                      </a:lnTo>
                      <a:lnTo>
                        <a:pt x="31" y="26"/>
                      </a:lnTo>
                      <a:lnTo>
                        <a:pt x="36" y="31"/>
                      </a:lnTo>
                      <a:lnTo>
                        <a:pt x="36" y="35"/>
                      </a:lnTo>
                      <a:lnTo>
                        <a:pt x="40" y="26"/>
                      </a:lnTo>
                      <a:lnTo>
                        <a:pt x="31" y="22"/>
                      </a:lnTo>
                      <a:close/>
                      <a:moveTo>
                        <a:pt x="45" y="35"/>
                      </a:moveTo>
                      <a:lnTo>
                        <a:pt x="49" y="44"/>
                      </a:lnTo>
                      <a:lnTo>
                        <a:pt x="45" y="49"/>
                      </a:lnTo>
                      <a:lnTo>
                        <a:pt x="53" y="49"/>
                      </a:lnTo>
                      <a:lnTo>
                        <a:pt x="49" y="44"/>
                      </a:lnTo>
                      <a:lnTo>
                        <a:pt x="45" y="35"/>
                      </a:lnTo>
                      <a:close/>
                      <a:moveTo>
                        <a:pt x="49" y="53"/>
                      </a:moveTo>
                      <a:lnTo>
                        <a:pt x="49" y="53"/>
                      </a:lnTo>
                      <a:lnTo>
                        <a:pt x="49" y="62"/>
                      </a:lnTo>
                      <a:lnTo>
                        <a:pt x="58" y="67"/>
                      </a:lnTo>
                      <a:lnTo>
                        <a:pt x="53" y="58"/>
                      </a:lnTo>
                      <a:lnTo>
                        <a:pt x="49" y="53"/>
                      </a:lnTo>
                      <a:close/>
                      <a:moveTo>
                        <a:pt x="62" y="62"/>
                      </a:moveTo>
                      <a:lnTo>
                        <a:pt x="62" y="67"/>
                      </a:lnTo>
                      <a:lnTo>
                        <a:pt x="67" y="67"/>
                      </a:lnTo>
                      <a:lnTo>
                        <a:pt x="67" y="71"/>
                      </a:lnTo>
                      <a:lnTo>
                        <a:pt x="67" y="80"/>
                      </a:lnTo>
                      <a:lnTo>
                        <a:pt x="71" y="71"/>
                      </a:lnTo>
                      <a:lnTo>
                        <a:pt x="71" y="67"/>
                      </a:lnTo>
                      <a:lnTo>
                        <a:pt x="67" y="67"/>
                      </a:lnTo>
                      <a:lnTo>
                        <a:pt x="62" y="62"/>
                      </a:lnTo>
                      <a:close/>
                      <a:moveTo>
                        <a:pt x="71" y="93"/>
                      </a:moveTo>
                      <a:lnTo>
                        <a:pt x="80" y="98"/>
                      </a:lnTo>
                      <a:lnTo>
                        <a:pt x="85" y="89"/>
                      </a:lnTo>
                      <a:lnTo>
                        <a:pt x="76" y="89"/>
                      </a:lnTo>
                      <a:lnTo>
                        <a:pt x="71" y="9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68" name="Freeform 66"/>
                <p:cNvSpPr>
                  <a:spLocks/>
                </p:cNvSpPr>
                <p:nvPr/>
              </p:nvSpPr>
              <p:spPr bwMode="gray">
                <a:xfrm>
                  <a:off x="1834" y="2583"/>
                  <a:ext cx="4" cy="9"/>
                </a:xfrm>
                <a:custGeom>
                  <a:avLst/>
                  <a:gdLst>
                    <a:gd name="T0" fmla="*/ 0 w 4"/>
                    <a:gd name="T1" fmla="*/ 0 h 9"/>
                    <a:gd name="T2" fmla="*/ 0 w 4"/>
                    <a:gd name="T3" fmla="*/ 4 h 9"/>
                    <a:gd name="T4" fmla="*/ 0 w 4"/>
                    <a:gd name="T5" fmla="*/ 9 h 9"/>
                    <a:gd name="T6" fmla="*/ 4 w 4"/>
                    <a:gd name="T7" fmla="*/ 4 h 9"/>
                    <a:gd name="T8" fmla="*/ 0 w 4"/>
                    <a:gd name="T9" fmla="*/ 0 h 9"/>
                  </a:gdLst>
                  <a:ahLst/>
                  <a:cxnLst>
                    <a:cxn ang="0">
                      <a:pos x="T0" y="T1"/>
                    </a:cxn>
                    <a:cxn ang="0">
                      <a:pos x="T2" y="T3"/>
                    </a:cxn>
                    <a:cxn ang="0">
                      <a:pos x="T4" y="T5"/>
                    </a:cxn>
                    <a:cxn ang="0">
                      <a:pos x="T6" y="T7"/>
                    </a:cxn>
                    <a:cxn ang="0">
                      <a:pos x="T8" y="T9"/>
                    </a:cxn>
                  </a:cxnLst>
                  <a:rect l="0" t="0" r="r" b="b"/>
                  <a:pathLst>
                    <a:path w="4" h="9">
                      <a:moveTo>
                        <a:pt x="0" y="0"/>
                      </a:moveTo>
                      <a:lnTo>
                        <a:pt x="0" y="4"/>
                      </a:lnTo>
                      <a:lnTo>
                        <a:pt x="0" y="9"/>
                      </a:lnTo>
                      <a:lnTo>
                        <a:pt x="4" y="4"/>
                      </a:lnTo>
                      <a:lnTo>
                        <a:pt x="0"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69" name="Freeform 67"/>
                <p:cNvSpPr>
                  <a:spLocks/>
                </p:cNvSpPr>
                <p:nvPr/>
              </p:nvSpPr>
              <p:spPr bwMode="gray">
                <a:xfrm>
                  <a:off x="1691" y="2922"/>
                  <a:ext cx="170" cy="201"/>
                </a:xfrm>
                <a:custGeom>
                  <a:avLst/>
                  <a:gdLst>
                    <a:gd name="T0" fmla="*/ 0 w 170"/>
                    <a:gd name="T1" fmla="*/ 121 h 201"/>
                    <a:gd name="T2" fmla="*/ 4 w 170"/>
                    <a:gd name="T3" fmla="*/ 130 h 201"/>
                    <a:gd name="T4" fmla="*/ 9 w 170"/>
                    <a:gd name="T5" fmla="*/ 143 h 201"/>
                    <a:gd name="T6" fmla="*/ 9 w 170"/>
                    <a:gd name="T7" fmla="*/ 161 h 201"/>
                    <a:gd name="T8" fmla="*/ 22 w 170"/>
                    <a:gd name="T9" fmla="*/ 197 h 201"/>
                    <a:gd name="T10" fmla="*/ 31 w 170"/>
                    <a:gd name="T11" fmla="*/ 201 h 201"/>
                    <a:gd name="T12" fmla="*/ 45 w 170"/>
                    <a:gd name="T13" fmla="*/ 188 h 201"/>
                    <a:gd name="T14" fmla="*/ 67 w 170"/>
                    <a:gd name="T15" fmla="*/ 192 h 201"/>
                    <a:gd name="T16" fmla="*/ 76 w 170"/>
                    <a:gd name="T17" fmla="*/ 201 h 201"/>
                    <a:gd name="T18" fmla="*/ 80 w 170"/>
                    <a:gd name="T19" fmla="*/ 188 h 201"/>
                    <a:gd name="T20" fmla="*/ 94 w 170"/>
                    <a:gd name="T21" fmla="*/ 188 h 201"/>
                    <a:gd name="T22" fmla="*/ 98 w 170"/>
                    <a:gd name="T23" fmla="*/ 192 h 201"/>
                    <a:gd name="T24" fmla="*/ 103 w 170"/>
                    <a:gd name="T25" fmla="*/ 179 h 201"/>
                    <a:gd name="T26" fmla="*/ 103 w 170"/>
                    <a:gd name="T27" fmla="*/ 166 h 201"/>
                    <a:gd name="T28" fmla="*/ 112 w 170"/>
                    <a:gd name="T29" fmla="*/ 157 h 201"/>
                    <a:gd name="T30" fmla="*/ 147 w 170"/>
                    <a:gd name="T31" fmla="*/ 148 h 201"/>
                    <a:gd name="T32" fmla="*/ 161 w 170"/>
                    <a:gd name="T33" fmla="*/ 152 h 201"/>
                    <a:gd name="T34" fmla="*/ 165 w 170"/>
                    <a:gd name="T35" fmla="*/ 166 h 201"/>
                    <a:gd name="T36" fmla="*/ 170 w 170"/>
                    <a:gd name="T37" fmla="*/ 161 h 201"/>
                    <a:gd name="T38" fmla="*/ 170 w 170"/>
                    <a:gd name="T39" fmla="*/ 157 h 201"/>
                    <a:gd name="T40" fmla="*/ 165 w 170"/>
                    <a:gd name="T41" fmla="*/ 152 h 201"/>
                    <a:gd name="T42" fmla="*/ 170 w 170"/>
                    <a:gd name="T43" fmla="*/ 125 h 201"/>
                    <a:gd name="T44" fmla="*/ 170 w 170"/>
                    <a:gd name="T45" fmla="*/ 116 h 201"/>
                    <a:gd name="T46" fmla="*/ 156 w 170"/>
                    <a:gd name="T47" fmla="*/ 116 h 201"/>
                    <a:gd name="T48" fmla="*/ 161 w 170"/>
                    <a:gd name="T49" fmla="*/ 99 h 201"/>
                    <a:gd name="T50" fmla="*/ 134 w 170"/>
                    <a:gd name="T51" fmla="*/ 99 h 201"/>
                    <a:gd name="T52" fmla="*/ 129 w 170"/>
                    <a:gd name="T53" fmla="*/ 85 h 201"/>
                    <a:gd name="T54" fmla="*/ 134 w 170"/>
                    <a:gd name="T55" fmla="*/ 67 h 201"/>
                    <a:gd name="T56" fmla="*/ 129 w 170"/>
                    <a:gd name="T57" fmla="*/ 58 h 201"/>
                    <a:gd name="T58" fmla="*/ 116 w 170"/>
                    <a:gd name="T59" fmla="*/ 58 h 201"/>
                    <a:gd name="T60" fmla="*/ 80 w 170"/>
                    <a:gd name="T61" fmla="*/ 40 h 201"/>
                    <a:gd name="T62" fmla="*/ 62 w 170"/>
                    <a:gd name="T63" fmla="*/ 32 h 201"/>
                    <a:gd name="T64" fmla="*/ 62 w 170"/>
                    <a:gd name="T65" fmla="*/ 0 h 201"/>
                    <a:gd name="T66" fmla="*/ 40 w 170"/>
                    <a:gd name="T67" fmla="*/ 5 h 201"/>
                    <a:gd name="T68" fmla="*/ 13 w 170"/>
                    <a:gd name="T69" fmla="*/ 23 h 201"/>
                    <a:gd name="T70" fmla="*/ 0 w 170"/>
                    <a:gd name="T71" fmla="*/ 23 h 201"/>
                    <a:gd name="T72" fmla="*/ 9 w 170"/>
                    <a:gd name="T73" fmla="*/ 40 h 201"/>
                    <a:gd name="T74" fmla="*/ 4 w 170"/>
                    <a:gd name="T75" fmla="*/ 49 h 201"/>
                    <a:gd name="T76" fmla="*/ 4 w 170"/>
                    <a:gd name="T77" fmla="*/ 72 h 201"/>
                    <a:gd name="T78" fmla="*/ 0 w 170"/>
                    <a:gd name="T79" fmla="*/ 94 h 201"/>
                    <a:gd name="T80" fmla="*/ 4 w 170"/>
                    <a:gd name="T81" fmla="*/ 99 h 201"/>
                    <a:gd name="T82" fmla="*/ 0 w 170"/>
                    <a:gd name="T83" fmla="*/ 112 h 201"/>
                    <a:gd name="T84" fmla="*/ 0 w 170"/>
                    <a:gd name="T85" fmla="*/ 12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201">
                      <a:moveTo>
                        <a:pt x="0" y="121"/>
                      </a:moveTo>
                      <a:lnTo>
                        <a:pt x="4" y="130"/>
                      </a:lnTo>
                      <a:lnTo>
                        <a:pt x="9" y="143"/>
                      </a:lnTo>
                      <a:lnTo>
                        <a:pt x="9" y="161"/>
                      </a:lnTo>
                      <a:lnTo>
                        <a:pt x="22" y="197"/>
                      </a:lnTo>
                      <a:lnTo>
                        <a:pt x="31" y="201"/>
                      </a:lnTo>
                      <a:lnTo>
                        <a:pt x="45" y="188"/>
                      </a:lnTo>
                      <a:lnTo>
                        <a:pt x="67" y="192"/>
                      </a:lnTo>
                      <a:lnTo>
                        <a:pt x="76" y="201"/>
                      </a:lnTo>
                      <a:lnTo>
                        <a:pt x="80" y="188"/>
                      </a:lnTo>
                      <a:lnTo>
                        <a:pt x="94" y="188"/>
                      </a:lnTo>
                      <a:lnTo>
                        <a:pt x="98" y="192"/>
                      </a:lnTo>
                      <a:lnTo>
                        <a:pt x="103" y="179"/>
                      </a:lnTo>
                      <a:lnTo>
                        <a:pt x="103" y="166"/>
                      </a:lnTo>
                      <a:lnTo>
                        <a:pt x="112" y="157"/>
                      </a:lnTo>
                      <a:lnTo>
                        <a:pt x="147" y="148"/>
                      </a:lnTo>
                      <a:lnTo>
                        <a:pt x="161" y="152"/>
                      </a:lnTo>
                      <a:lnTo>
                        <a:pt x="165" y="166"/>
                      </a:lnTo>
                      <a:lnTo>
                        <a:pt x="170" y="161"/>
                      </a:lnTo>
                      <a:lnTo>
                        <a:pt x="170" y="157"/>
                      </a:lnTo>
                      <a:lnTo>
                        <a:pt x="165" y="152"/>
                      </a:lnTo>
                      <a:lnTo>
                        <a:pt x="170" y="125"/>
                      </a:lnTo>
                      <a:lnTo>
                        <a:pt x="170" y="116"/>
                      </a:lnTo>
                      <a:lnTo>
                        <a:pt x="156" y="116"/>
                      </a:lnTo>
                      <a:lnTo>
                        <a:pt x="161" y="99"/>
                      </a:lnTo>
                      <a:lnTo>
                        <a:pt x="134" y="99"/>
                      </a:lnTo>
                      <a:lnTo>
                        <a:pt x="129" y="85"/>
                      </a:lnTo>
                      <a:lnTo>
                        <a:pt x="134" y="67"/>
                      </a:lnTo>
                      <a:lnTo>
                        <a:pt x="129" y="58"/>
                      </a:lnTo>
                      <a:lnTo>
                        <a:pt x="116" y="58"/>
                      </a:lnTo>
                      <a:lnTo>
                        <a:pt x="80" y="40"/>
                      </a:lnTo>
                      <a:lnTo>
                        <a:pt x="62" y="32"/>
                      </a:lnTo>
                      <a:lnTo>
                        <a:pt x="62" y="0"/>
                      </a:lnTo>
                      <a:lnTo>
                        <a:pt x="40" y="5"/>
                      </a:lnTo>
                      <a:lnTo>
                        <a:pt x="13" y="23"/>
                      </a:lnTo>
                      <a:lnTo>
                        <a:pt x="0" y="23"/>
                      </a:lnTo>
                      <a:lnTo>
                        <a:pt x="9" y="40"/>
                      </a:lnTo>
                      <a:lnTo>
                        <a:pt x="4" y="49"/>
                      </a:lnTo>
                      <a:lnTo>
                        <a:pt x="4" y="72"/>
                      </a:lnTo>
                      <a:lnTo>
                        <a:pt x="0" y="94"/>
                      </a:lnTo>
                      <a:lnTo>
                        <a:pt x="4" y="99"/>
                      </a:lnTo>
                      <a:lnTo>
                        <a:pt x="0" y="112"/>
                      </a:lnTo>
                      <a:lnTo>
                        <a:pt x="0" y="12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70" name="Freeform 68"/>
                <p:cNvSpPr>
                  <a:spLocks/>
                </p:cNvSpPr>
                <p:nvPr/>
              </p:nvSpPr>
              <p:spPr bwMode="gray">
                <a:xfrm>
                  <a:off x="1624" y="2703"/>
                  <a:ext cx="567" cy="608"/>
                </a:xfrm>
                <a:custGeom>
                  <a:avLst/>
                  <a:gdLst>
                    <a:gd name="T0" fmla="*/ 45 w 567"/>
                    <a:gd name="T1" fmla="*/ 143 h 608"/>
                    <a:gd name="T2" fmla="*/ 13 w 567"/>
                    <a:gd name="T3" fmla="*/ 170 h 608"/>
                    <a:gd name="T4" fmla="*/ 9 w 567"/>
                    <a:gd name="T5" fmla="*/ 219 h 608"/>
                    <a:gd name="T6" fmla="*/ 49 w 567"/>
                    <a:gd name="T7" fmla="*/ 215 h 608"/>
                    <a:gd name="T8" fmla="*/ 80 w 567"/>
                    <a:gd name="T9" fmla="*/ 242 h 608"/>
                    <a:gd name="T10" fmla="*/ 129 w 567"/>
                    <a:gd name="T11" fmla="*/ 251 h 608"/>
                    <a:gd name="T12" fmla="*/ 196 w 567"/>
                    <a:gd name="T13" fmla="*/ 277 h 608"/>
                    <a:gd name="T14" fmla="*/ 201 w 567"/>
                    <a:gd name="T15" fmla="*/ 318 h 608"/>
                    <a:gd name="T16" fmla="*/ 237 w 567"/>
                    <a:gd name="T17" fmla="*/ 335 h 608"/>
                    <a:gd name="T18" fmla="*/ 237 w 567"/>
                    <a:gd name="T19" fmla="*/ 376 h 608"/>
                    <a:gd name="T20" fmla="*/ 232 w 567"/>
                    <a:gd name="T21" fmla="*/ 411 h 608"/>
                    <a:gd name="T22" fmla="*/ 268 w 567"/>
                    <a:gd name="T23" fmla="*/ 416 h 608"/>
                    <a:gd name="T24" fmla="*/ 286 w 567"/>
                    <a:gd name="T25" fmla="*/ 443 h 608"/>
                    <a:gd name="T26" fmla="*/ 295 w 567"/>
                    <a:gd name="T27" fmla="*/ 465 h 608"/>
                    <a:gd name="T28" fmla="*/ 241 w 567"/>
                    <a:gd name="T29" fmla="*/ 537 h 608"/>
                    <a:gd name="T30" fmla="*/ 259 w 567"/>
                    <a:gd name="T31" fmla="*/ 554 h 608"/>
                    <a:gd name="T32" fmla="*/ 290 w 567"/>
                    <a:gd name="T33" fmla="*/ 568 h 608"/>
                    <a:gd name="T34" fmla="*/ 295 w 567"/>
                    <a:gd name="T35" fmla="*/ 608 h 608"/>
                    <a:gd name="T36" fmla="*/ 362 w 567"/>
                    <a:gd name="T37" fmla="*/ 514 h 608"/>
                    <a:gd name="T38" fmla="*/ 366 w 567"/>
                    <a:gd name="T39" fmla="*/ 461 h 608"/>
                    <a:gd name="T40" fmla="*/ 415 w 567"/>
                    <a:gd name="T41" fmla="*/ 443 h 608"/>
                    <a:gd name="T42" fmla="*/ 464 w 567"/>
                    <a:gd name="T43" fmla="*/ 420 h 608"/>
                    <a:gd name="T44" fmla="*/ 496 w 567"/>
                    <a:gd name="T45" fmla="*/ 367 h 608"/>
                    <a:gd name="T46" fmla="*/ 505 w 567"/>
                    <a:gd name="T47" fmla="*/ 277 h 608"/>
                    <a:gd name="T48" fmla="*/ 531 w 567"/>
                    <a:gd name="T49" fmla="*/ 237 h 608"/>
                    <a:gd name="T50" fmla="*/ 567 w 567"/>
                    <a:gd name="T51" fmla="*/ 184 h 608"/>
                    <a:gd name="T52" fmla="*/ 527 w 567"/>
                    <a:gd name="T53" fmla="*/ 143 h 608"/>
                    <a:gd name="T54" fmla="*/ 487 w 567"/>
                    <a:gd name="T55" fmla="*/ 116 h 608"/>
                    <a:gd name="T56" fmla="*/ 424 w 567"/>
                    <a:gd name="T57" fmla="*/ 116 h 608"/>
                    <a:gd name="T58" fmla="*/ 411 w 567"/>
                    <a:gd name="T59" fmla="*/ 103 h 608"/>
                    <a:gd name="T60" fmla="*/ 357 w 567"/>
                    <a:gd name="T61" fmla="*/ 103 h 608"/>
                    <a:gd name="T62" fmla="*/ 357 w 567"/>
                    <a:gd name="T63" fmla="*/ 94 h 608"/>
                    <a:gd name="T64" fmla="*/ 335 w 567"/>
                    <a:gd name="T65" fmla="*/ 76 h 608"/>
                    <a:gd name="T66" fmla="*/ 348 w 567"/>
                    <a:gd name="T67" fmla="*/ 49 h 608"/>
                    <a:gd name="T68" fmla="*/ 321 w 567"/>
                    <a:gd name="T69" fmla="*/ 14 h 608"/>
                    <a:gd name="T70" fmla="*/ 299 w 567"/>
                    <a:gd name="T71" fmla="*/ 49 h 608"/>
                    <a:gd name="T72" fmla="*/ 259 w 567"/>
                    <a:gd name="T73" fmla="*/ 41 h 608"/>
                    <a:gd name="T74" fmla="*/ 228 w 567"/>
                    <a:gd name="T75" fmla="*/ 54 h 608"/>
                    <a:gd name="T76" fmla="*/ 201 w 567"/>
                    <a:gd name="T77" fmla="*/ 45 h 608"/>
                    <a:gd name="T78" fmla="*/ 201 w 567"/>
                    <a:gd name="T79" fmla="*/ 14 h 608"/>
                    <a:gd name="T80" fmla="*/ 192 w 567"/>
                    <a:gd name="T81" fmla="*/ 14 h 608"/>
                    <a:gd name="T82" fmla="*/ 134 w 567"/>
                    <a:gd name="T83" fmla="*/ 9 h 608"/>
                    <a:gd name="T84" fmla="*/ 138 w 567"/>
                    <a:gd name="T85" fmla="*/ 41 h 608"/>
                    <a:gd name="T86" fmla="*/ 134 w 567"/>
                    <a:gd name="T87" fmla="*/ 54 h 608"/>
                    <a:gd name="T88" fmla="*/ 94 w 567"/>
                    <a:gd name="T89" fmla="*/ 58 h 608"/>
                    <a:gd name="T90" fmla="*/ 62 w 567"/>
                    <a:gd name="T91" fmla="*/ 54 h 608"/>
                    <a:gd name="T92" fmla="*/ 67 w 567"/>
                    <a:gd name="T93" fmla="*/ 76 h 608"/>
                    <a:gd name="T94" fmla="*/ 67 w 567"/>
                    <a:gd name="T95" fmla="*/ 85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7" h="608">
                      <a:moveTo>
                        <a:pt x="53" y="139"/>
                      </a:moveTo>
                      <a:lnTo>
                        <a:pt x="58" y="143"/>
                      </a:lnTo>
                      <a:lnTo>
                        <a:pt x="45" y="143"/>
                      </a:lnTo>
                      <a:lnTo>
                        <a:pt x="27" y="148"/>
                      </a:lnTo>
                      <a:lnTo>
                        <a:pt x="18" y="157"/>
                      </a:lnTo>
                      <a:lnTo>
                        <a:pt x="13" y="170"/>
                      </a:lnTo>
                      <a:lnTo>
                        <a:pt x="0" y="188"/>
                      </a:lnTo>
                      <a:lnTo>
                        <a:pt x="9" y="206"/>
                      </a:lnTo>
                      <a:lnTo>
                        <a:pt x="9" y="219"/>
                      </a:lnTo>
                      <a:lnTo>
                        <a:pt x="22" y="219"/>
                      </a:lnTo>
                      <a:lnTo>
                        <a:pt x="27" y="228"/>
                      </a:lnTo>
                      <a:lnTo>
                        <a:pt x="49" y="215"/>
                      </a:lnTo>
                      <a:lnTo>
                        <a:pt x="49" y="242"/>
                      </a:lnTo>
                      <a:lnTo>
                        <a:pt x="67" y="242"/>
                      </a:lnTo>
                      <a:lnTo>
                        <a:pt x="80" y="242"/>
                      </a:lnTo>
                      <a:lnTo>
                        <a:pt x="107" y="224"/>
                      </a:lnTo>
                      <a:lnTo>
                        <a:pt x="129" y="219"/>
                      </a:lnTo>
                      <a:lnTo>
                        <a:pt x="129" y="251"/>
                      </a:lnTo>
                      <a:lnTo>
                        <a:pt x="147" y="259"/>
                      </a:lnTo>
                      <a:lnTo>
                        <a:pt x="183" y="277"/>
                      </a:lnTo>
                      <a:lnTo>
                        <a:pt x="196" y="277"/>
                      </a:lnTo>
                      <a:lnTo>
                        <a:pt x="201" y="286"/>
                      </a:lnTo>
                      <a:lnTo>
                        <a:pt x="196" y="304"/>
                      </a:lnTo>
                      <a:lnTo>
                        <a:pt x="201" y="318"/>
                      </a:lnTo>
                      <a:lnTo>
                        <a:pt x="228" y="318"/>
                      </a:lnTo>
                      <a:lnTo>
                        <a:pt x="223" y="335"/>
                      </a:lnTo>
                      <a:lnTo>
                        <a:pt x="237" y="335"/>
                      </a:lnTo>
                      <a:lnTo>
                        <a:pt x="237" y="344"/>
                      </a:lnTo>
                      <a:lnTo>
                        <a:pt x="232" y="371"/>
                      </a:lnTo>
                      <a:lnTo>
                        <a:pt x="237" y="376"/>
                      </a:lnTo>
                      <a:lnTo>
                        <a:pt x="237" y="380"/>
                      </a:lnTo>
                      <a:lnTo>
                        <a:pt x="237" y="394"/>
                      </a:lnTo>
                      <a:lnTo>
                        <a:pt x="232" y="411"/>
                      </a:lnTo>
                      <a:lnTo>
                        <a:pt x="246" y="411"/>
                      </a:lnTo>
                      <a:lnTo>
                        <a:pt x="259" y="407"/>
                      </a:lnTo>
                      <a:lnTo>
                        <a:pt x="268" y="416"/>
                      </a:lnTo>
                      <a:lnTo>
                        <a:pt x="268" y="443"/>
                      </a:lnTo>
                      <a:lnTo>
                        <a:pt x="281" y="438"/>
                      </a:lnTo>
                      <a:lnTo>
                        <a:pt x="286" y="443"/>
                      </a:lnTo>
                      <a:lnTo>
                        <a:pt x="281" y="461"/>
                      </a:lnTo>
                      <a:lnTo>
                        <a:pt x="286" y="465"/>
                      </a:lnTo>
                      <a:lnTo>
                        <a:pt x="295" y="465"/>
                      </a:lnTo>
                      <a:lnTo>
                        <a:pt x="295" y="487"/>
                      </a:lnTo>
                      <a:lnTo>
                        <a:pt x="277" y="501"/>
                      </a:lnTo>
                      <a:lnTo>
                        <a:pt x="241" y="537"/>
                      </a:lnTo>
                      <a:lnTo>
                        <a:pt x="241" y="541"/>
                      </a:lnTo>
                      <a:lnTo>
                        <a:pt x="250" y="541"/>
                      </a:lnTo>
                      <a:lnTo>
                        <a:pt x="259" y="554"/>
                      </a:lnTo>
                      <a:lnTo>
                        <a:pt x="268" y="550"/>
                      </a:lnTo>
                      <a:lnTo>
                        <a:pt x="277" y="563"/>
                      </a:lnTo>
                      <a:lnTo>
                        <a:pt x="290" y="568"/>
                      </a:lnTo>
                      <a:lnTo>
                        <a:pt x="299" y="586"/>
                      </a:lnTo>
                      <a:lnTo>
                        <a:pt x="295" y="595"/>
                      </a:lnTo>
                      <a:lnTo>
                        <a:pt x="295" y="608"/>
                      </a:lnTo>
                      <a:lnTo>
                        <a:pt x="308" y="599"/>
                      </a:lnTo>
                      <a:lnTo>
                        <a:pt x="317" y="577"/>
                      </a:lnTo>
                      <a:lnTo>
                        <a:pt x="362" y="514"/>
                      </a:lnTo>
                      <a:lnTo>
                        <a:pt x="366" y="501"/>
                      </a:lnTo>
                      <a:lnTo>
                        <a:pt x="371" y="465"/>
                      </a:lnTo>
                      <a:lnTo>
                        <a:pt x="366" y="461"/>
                      </a:lnTo>
                      <a:lnTo>
                        <a:pt x="375" y="461"/>
                      </a:lnTo>
                      <a:lnTo>
                        <a:pt x="397" y="443"/>
                      </a:lnTo>
                      <a:lnTo>
                        <a:pt x="415" y="443"/>
                      </a:lnTo>
                      <a:lnTo>
                        <a:pt x="415" y="434"/>
                      </a:lnTo>
                      <a:lnTo>
                        <a:pt x="447" y="425"/>
                      </a:lnTo>
                      <a:lnTo>
                        <a:pt x="464" y="420"/>
                      </a:lnTo>
                      <a:lnTo>
                        <a:pt x="464" y="416"/>
                      </a:lnTo>
                      <a:lnTo>
                        <a:pt x="473" y="411"/>
                      </a:lnTo>
                      <a:lnTo>
                        <a:pt x="496" y="367"/>
                      </a:lnTo>
                      <a:lnTo>
                        <a:pt x="496" y="349"/>
                      </a:lnTo>
                      <a:lnTo>
                        <a:pt x="505" y="340"/>
                      </a:lnTo>
                      <a:lnTo>
                        <a:pt x="505" y="277"/>
                      </a:lnTo>
                      <a:lnTo>
                        <a:pt x="509" y="264"/>
                      </a:lnTo>
                      <a:lnTo>
                        <a:pt x="514" y="268"/>
                      </a:lnTo>
                      <a:lnTo>
                        <a:pt x="531" y="237"/>
                      </a:lnTo>
                      <a:lnTo>
                        <a:pt x="540" y="237"/>
                      </a:lnTo>
                      <a:lnTo>
                        <a:pt x="567" y="197"/>
                      </a:lnTo>
                      <a:lnTo>
                        <a:pt x="567" y="184"/>
                      </a:lnTo>
                      <a:lnTo>
                        <a:pt x="558" y="152"/>
                      </a:lnTo>
                      <a:lnTo>
                        <a:pt x="536" y="152"/>
                      </a:lnTo>
                      <a:lnTo>
                        <a:pt x="527" y="143"/>
                      </a:lnTo>
                      <a:lnTo>
                        <a:pt x="523" y="143"/>
                      </a:lnTo>
                      <a:lnTo>
                        <a:pt x="500" y="121"/>
                      </a:lnTo>
                      <a:lnTo>
                        <a:pt x="487" y="116"/>
                      </a:lnTo>
                      <a:lnTo>
                        <a:pt x="460" y="116"/>
                      </a:lnTo>
                      <a:lnTo>
                        <a:pt x="438" y="112"/>
                      </a:lnTo>
                      <a:lnTo>
                        <a:pt x="424" y="116"/>
                      </a:lnTo>
                      <a:lnTo>
                        <a:pt x="424" y="103"/>
                      </a:lnTo>
                      <a:lnTo>
                        <a:pt x="420" y="94"/>
                      </a:lnTo>
                      <a:lnTo>
                        <a:pt x="411" y="103"/>
                      </a:lnTo>
                      <a:lnTo>
                        <a:pt x="406" y="94"/>
                      </a:lnTo>
                      <a:lnTo>
                        <a:pt x="375" y="90"/>
                      </a:lnTo>
                      <a:lnTo>
                        <a:pt x="357" y="103"/>
                      </a:lnTo>
                      <a:lnTo>
                        <a:pt x="348" y="116"/>
                      </a:lnTo>
                      <a:lnTo>
                        <a:pt x="353" y="99"/>
                      </a:lnTo>
                      <a:lnTo>
                        <a:pt x="357" y="94"/>
                      </a:lnTo>
                      <a:lnTo>
                        <a:pt x="366" y="85"/>
                      </a:lnTo>
                      <a:lnTo>
                        <a:pt x="339" y="81"/>
                      </a:lnTo>
                      <a:lnTo>
                        <a:pt x="335" y="76"/>
                      </a:lnTo>
                      <a:lnTo>
                        <a:pt x="353" y="76"/>
                      </a:lnTo>
                      <a:lnTo>
                        <a:pt x="344" y="72"/>
                      </a:lnTo>
                      <a:lnTo>
                        <a:pt x="348" y="49"/>
                      </a:lnTo>
                      <a:lnTo>
                        <a:pt x="335" y="45"/>
                      </a:lnTo>
                      <a:lnTo>
                        <a:pt x="330" y="18"/>
                      </a:lnTo>
                      <a:lnTo>
                        <a:pt x="321" y="14"/>
                      </a:lnTo>
                      <a:lnTo>
                        <a:pt x="321" y="23"/>
                      </a:lnTo>
                      <a:lnTo>
                        <a:pt x="313" y="41"/>
                      </a:lnTo>
                      <a:lnTo>
                        <a:pt x="299" y="49"/>
                      </a:lnTo>
                      <a:lnTo>
                        <a:pt x="286" y="49"/>
                      </a:lnTo>
                      <a:lnTo>
                        <a:pt x="277" y="41"/>
                      </a:lnTo>
                      <a:lnTo>
                        <a:pt x="259" y="41"/>
                      </a:lnTo>
                      <a:lnTo>
                        <a:pt x="259" y="54"/>
                      </a:lnTo>
                      <a:lnTo>
                        <a:pt x="254" y="49"/>
                      </a:lnTo>
                      <a:lnTo>
                        <a:pt x="228" y="54"/>
                      </a:lnTo>
                      <a:lnTo>
                        <a:pt x="219" y="63"/>
                      </a:lnTo>
                      <a:lnTo>
                        <a:pt x="210" y="58"/>
                      </a:lnTo>
                      <a:lnTo>
                        <a:pt x="201" y="45"/>
                      </a:lnTo>
                      <a:lnTo>
                        <a:pt x="201" y="23"/>
                      </a:lnTo>
                      <a:lnTo>
                        <a:pt x="210" y="14"/>
                      </a:lnTo>
                      <a:lnTo>
                        <a:pt x="201" y="14"/>
                      </a:lnTo>
                      <a:lnTo>
                        <a:pt x="201" y="0"/>
                      </a:lnTo>
                      <a:lnTo>
                        <a:pt x="192" y="0"/>
                      </a:lnTo>
                      <a:lnTo>
                        <a:pt x="192" y="14"/>
                      </a:lnTo>
                      <a:lnTo>
                        <a:pt x="161" y="18"/>
                      </a:lnTo>
                      <a:lnTo>
                        <a:pt x="147" y="18"/>
                      </a:lnTo>
                      <a:lnTo>
                        <a:pt x="134" y="9"/>
                      </a:lnTo>
                      <a:lnTo>
                        <a:pt x="129" y="18"/>
                      </a:lnTo>
                      <a:lnTo>
                        <a:pt x="134" y="23"/>
                      </a:lnTo>
                      <a:lnTo>
                        <a:pt x="138" y="41"/>
                      </a:lnTo>
                      <a:lnTo>
                        <a:pt x="152" y="45"/>
                      </a:lnTo>
                      <a:lnTo>
                        <a:pt x="143" y="45"/>
                      </a:lnTo>
                      <a:lnTo>
                        <a:pt x="134" y="54"/>
                      </a:lnTo>
                      <a:lnTo>
                        <a:pt x="112" y="63"/>
                      </a:lnTo>
                      <a:lnTo>
                        <a:pt x="103" y="58"/>
                      </a:lnTo>
                      <a:lnTo>
                        <a:pt x="94" y="58"/>
                      </a:lnTo>
                      <a:lnTo>
                        <a:pt x="94" y="45"/>
                      </a:lnTo>
                      <a:lnTo>
                        <a:pt x="80" y="54"/>
                      </a:lnTo>
                      <a:lnTo>
                        <a:pt x="62" y="54"/>
                      </a:lnTo>
                      <a:lnTo>
                        <a:pt x="58" y="67"/>
                      </a:lnTo>
                      <a:lnTo>
                        <a:pt x="71" y="67"/>
                      </a:lnTo>
                      <a:lnTo>
                        <a:pt x="67" y="76"/>
                      </a:lnTo>
                      <a:lnTo>
                        <a:pt x="53" y="76"/>
                      </a:lnTo>
                      <a:lnTo>
                        <a:pt x="58" y="85"/>
                      </a:lnTo>
                      <a:lnTo>
                        <a:pt x="67" y="85"/>
                      </a:lnTo>
                      <a:lnTo>
                        <a:pt x="71" y="94"/>
                      </a:lnTo>
                      <a:lnTo>
                        <a:pt x="53" y="13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71" name="Freeform 69"/>
                <p:cNvSpPr>
                  <a:spLocks/>
                </p:cNvSpPr>
                <p:nvPr/>
              </p:nvSpPr>
              <p:spPr bwMode="gray">
                <a:xfrm>
                  <a:off x="1401" y="2507"/>
                  <a:ext cx="22" cy="40"/>
                </a:xfrm>
                <a:custGeom>
                  <a:avLst/>
                  <a:gdLst>
                    <a:gd name="T0" fmla="*/ 4 w 22"/>
                    <a:gd name="T1" fmla="*/ 9 h 40"/>
                    <a:gd name="T2" fmla="*/ 0 w 22"/>
                    <a:gd name="T3" fmla="*/ 26 h 40"/>
                    <a:gd name="T4" fmla="*/ 4 w 22"/>
                    <a:gd name="T5" fmla="*/ 40 h 40"/>
                    <a:gd name="T6" fmla="*/ 8 w 22"/>
                    <a:gd name="T7" fmla="*/ 40 h 40"/>
                    <a:gd name="T8" fmla="*/ 13 w 22"/>
                    <a:gd name="T9" fmla="*/ 35 h 40"/>
                    <a:gd name="T10" fmla="*/ 17 w 22"/>
                    <a:gd name="T11" fmla="*/ 31 h 40"/>
                    <a:gd name="T12" fmla="*/ 22 w 22"/>
                    <a:gd name="T13" fmla="*/ 26 h 40"/>
                    <a:gd name="T14" fmla="*/ 17 w 22"/>
                    <a:gd name="T15" fmla="*/ 4 h 40"/>
                    <a:gd name="T16" fmla="*/ 13 w 22"/>
                    <a:gd name="T17" fmla="*/ 0 h 40"/>
                    <a:gd name="T18" fmla="*/ 4 w 22"/>
                    <a:gd name="T19"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40">
                      <a:moveTo>
                        <a:pt x="4" y="9"/>
                      </a:moveTo>
                      <a:lnTo>
                        <a:pt x="0" y="26"/>
                      </a:lnTo>
                      <a:lnTo>
                        <a:pt x="4" y="40"/>
                      </a:lnTo>
                      <a:lnTo>
                        <a:pt x="8" y="40"/>
                      </a:lnTo>
                      <a:lnTo>
                        <a:pt x="13" y="35"/>
                      </a:lnTo>
                      <a:lnTo>
                        <a:pt x="17" y="31"/>
                      </a:lnTo>
                      <a:lnTo>
                        <a:pt x="22" y="26"/>
                      </a:lnTo>
                      <a:lnTo>
                        <a:pt x="17" y="4"/>
                      </a:lnTo>
                      <a:lnTo>
                        <a:pt x="13" y="0"/>
                      </a:lnTo>
                      <a:lnTo>
                        <a:pt x="4"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72" name="Freeform 70"/>
                <p:cNvSpPr>
                  <a:spLocks noEditPoints="1"/>
                </p:cNvSpPr>
                <p:nvPr/>
              </p:nvSpPr>
              <p:spPr bwMode="gray">
                <a:xfrm>
                  <a:off x="659" y="898"/>
                  <a:ext cx="1273" cy="1202"/>
                </a:xfrm>
                <a:custGeom>
                  <a:avLst/>
                  <a:gdLst>
                    <a:gd name="T0" fmla="*/ 161 w 1273"/>
                    <a:gd name="T1" fmla="*/ 894 h 1202"/>
                    <a:gd name="T2" fmla="*/ 188 w 1273"/>
                    <a:gd name="T3" fmla="*/ 1001 h 1202"/>
                    <a:gd name="T4" fmla="*/ 733 w 1273"/>
                    <a:gd name="T5" fmla="*/ 1081 h 1202"/>
                    <a:gd name="T6" fmla="*/ 858 w 1273"/>
                    <a:gd name="T7" fmla="*/ 1162 h 1202"/>
                    <a:gd name="T8" fmla="*/ 1014 w 1273"/>
                    <a:gd name="T9" fmla="*/ 1099 h 1202"/>
                    <a:gd name="T10" fmla="*/ 1197 w 1273"/>
                    <a:gd name="T11" fmla="*/ 934 h 1202"/>
                    <a:gd name="T12" fmla="*/ 1121 w 1273"/>
                    <a:gd name="T13" fmla="*/ 818 h 1202"/>
                    <a:gd name="T14" fmla="*/ 956 w 1273"/>
                    <a:gd name="T15" fmla="*/ 710 h 1202"/>
                    <a:gd name="T16" fmla="*/ 902 w 1273"/>
                    <a:gd name="T17" fmla="*/ 979 h 1202"/>
                    <a:gd name="T18" fmla="*/ 692 w 1273"/>
                    <a:gd name="T19" fmla="*/ 813 h 1202"/>
                    <a:gd name="T20" fmla="*/ 755 w 1273"/>
                    <a:gd name="T21" fmla="*/ 612 h 1202"/>
                    <a:gd name="T22" fmla="*/ 817 w 1273"/>
                    <a:gd name="T23" fmla="*/ 581 h 1202"/>
                    <a:gd name="T24" fmla="*/ 817 w 1273"/>
                    <a:gd name="T25" fmla="*/ 438 h 1202"/>
                    <a:gd name="T26" fmla="*/ 728 w 1273"/>
                    <a:gd name="T27" fmla="*/ 456 h 1202"/>
                    <a:gd name="T28" fmla="*/ 643 w 1273"/>
                    <a:gd name="T29" fmla="*/ 407 h 1202"/>
                    <a:gd name="T30" fmla="*/ 616 w 1273"/>
                    <a:gd name="T31" fmla="*/ 500 h 1202"/>
                    <a:gd name="T32" fmla="*/ 478 w 1273"/>
                    <a:gd name="T33" fmla="*/ 541 h 1202"/>
                    <a:gd name="T34" fmla="*/ 237 w 1273"/>
                    <a:gd name="T35" fmla="*/ 424 h 1202"/>
                    <a:gd name="T36" fmla="*/ 121 w 1273"/>
                    <a:gd name="T37" fmla="*/ 938 h 1202"/>
                    <a:gd name="T38" fmla="*/ 232 w 1273"/>
                    <a:gd name="T39" fmla="*/ 1041 h 1202"/>
                    <a:gd name="T40" fmla="*/ 304 w 1273"/>
                    <a:gd name="T41" fmla="*/ 348 h 1202"/>
                    <a:gd name="T42" fmla="*/ 295 w 1273"/>
                    <a:gd name="T43" fmla="*/ 112 h 1202"/>
                    <a:gd name="T44" fmla="*/ 317 w 1273"/>
                    <a:gd name="T45" fmla="*/ 18 h 1202"/>
                    <a:gd name="T46" fmla="*/ 420 w 1273"/>
                    <a:gd name="T47" fmla="*/ 411 h 1202"/>
                    <a:gd name="T48" fmla="*/ 554 w 1273"/>
                    <a:gd name="T49" fmla="*/ 478 h 1202"/>
                    <a:gd name="T50" fmla="*/ 487 w 1273"/>
                    <a:gd name="T51" fmla="*/ 344 h 1202"/>
                    <a:gd name="T52" fmla="*/ 380 w 1273"/>
                    <a:gd name="T53" fmla="*/ 259 h 1202"/>
                    <a:gd name="T54" fmla="*/ 344 w 1273"/>
                    <a:gd name="T55" fmla="*/ 594 h 1202"/>
                    <a:gd name="T56" fmla="*/ 241 w 1273"/>
                    <a:gd name="T57" fmla="*/ 585 h 1202"/>
                    <a:gd name="T58" fmla="*/ 451 w 1273"/>
                    <a:gd name="T59" fmla="*/ 702 h 1202"/>
                    <a:gd name="T60" fmla="*/ 362 w 1273"/>
                    <a:gd name="T61" fmla="*/ 89 h 1202"/>
                    <a:gd name="T62" fmla="*/ 407 w 1273"/>
                    <a:gd name="T63" fmla="*/ 156 h 1202"/>
                    <a:gd name="T64" fmla="*/ 509 w 1273"/>
                    <a:gd name="T65" fmla="*/ 165 h 1202"/>
                    <a:gd name="T66" fmla="*/ 456 w 1273"/>
                    <a:gd name="T67" fmla="*/ 152 h 1202"/>
                    <a:gd name="T68" fmla="*/ 616 w 1273"/>
                    <a:gd name="T69" fmla="*/ 179 h 1202"/>
                    <a:gd name="T70" fmla="*/ 563 w 1273"/>
                    <a:gd name="T71" fmla="*/ 89 h 1202"/>
                    <a:gd name="T72" fmla="*/ 572 w 1273"/>
                    <a:gd name="T73" fmla="*/ 259 h 1202"/>
                    <a:gd name="T74" fmla="*/ 634 w 1273"/>
                    <a:gd name="T75" fmla="*/ 264 h 1202"/>
                    <a:gd name="T76" fmla="*/ 688 w 1273"/>
                    <a:gd name="T77" fmla="*/ 295 h 1202"/>
                    <a:gd name="T78" fmla="*/ 679 w 1273"/>
                    <a:gd name="T79" fmla="*/ 62 h 1202"/>
                    <a:gd name="T80" fmla="*/ 809 w 1273"/>
                    <a:gd name="T81" fmla="*/ 205 h 1202"/>
                    <a:gd name="T82" fmla="*/ 773 w 1273"/>
                    <a:gd name="T83" fmla="*/ 143 h 1202"/>
                    <a:gd name="T84" fmla="*/ 804 w 1273"/>
                    <a:gd name="T85" fmla="*/ 688 h 1202"/>
                    <a:gd name="T86" fmla="*/ 791 w 1273"/>
                    <a:gd name="T87" fmla="*/ 657 h 1202"/>
                    <a:gd name="T88" fmla="*/ 759 w 1273"/>
                    <a:gd name="T89" fmla="*/ 89 h 1202"/>
                    <a:gd name="T90" fmla="*/ 849 w 1273"/>
                    <a:gd name="T91" fmla="*/ 40 h 1202"/>
                    <a:gd name="T92" fmla="*/ 844 w 1273"/>
                    <a:gd name="T93" fmla="*/ 688 h 1202"/>
                    <a:gd name="T94" fmla="*/ 929 w 1273"/>
                    <a:gd name="T95" fmla="*/ 438 h 1202"/>
                    <a:gd name="T96" fmla="*/ 978 w 1273"/>
                    <a:gd name="T97" fmla="*/ 563 h 1202"/>
                    <a:gd name="T98" fmla="*/ 1005 w 1273"/>
                    <a:gd name="T99" fmla="*/ 693 h 1202"/>
                    <a:gd name="T100" fmla="*/ 1117 w 1273"/>
                    <a:gd name="T101" fmla="*/ 626 h 1202"/>
                    <a:gd name="T102" fmla="*/ 1041 w 1273"/>
                    <a:gd name="T103" fmla="*/ 420 h 1202"/>
                    <a:gd name="T104" fmla="*/ 951 w 1273"/>
                    <a:gd name="T105" fmla="*/ 308 h 1202"/>
                    <a:gd name="T106" fmla="*/ 804 w 1273"/>
                    <a:gd name="T107" fmla="*/ 273 h 1202"/>
                    <a:gd name="T108" fmla="*/ 737 w 1273"/>
                    <a:gd name="T109" fmla="*/ 366 h 1202"/>
                    <a:gd name="T110" fmla="*/ 889 w 1273"/>
                    <a:gd name="T111" fmla="*/ 706 h 1202"/>
                    <a:gd name="T112" fmla="*/ 1054 w 1273"/>
                    <a:gd name="T113" fmla="*/ 1135 h 1202"/>
                    <a:gd name="T114" fmla="*/ 1161 w 1273"/>
                    <a:gd name="T115" fmla="*/ 1122 h 1202"/>
                    <a:gd name="T116" fmla="*/ 1085 w 1273"/>
                    <a:gd name="T117" fmla="*/ 1050 h 1202"/>
                    <a:gd name="T118" fmla="*/ 1108 w 1273"/>
                    <a:gd name="T119" fmla="*/ 1041 h 1202"/>
                    <a:gd name="T120" fmla="*/ 1224 w 1273"/>
                    <a:gd name="T121" fmla="*/ 1086 h 1202"/>
                    <a:gd name="T122" fmla="*/ 1260 w 1273"/>
                    <a:gd name="T123" fmla="*/ 1077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73" h="1202">
                      <a:moveTo>
                        <a:pt x="0" y="442"/>
                      </a:moveTo>
                      <a:lnTo>
                        <a:pt x="0" y="777"/>
                      </a:lnTo>
                      <a:lnTo>
                        <a:pt x="4" y="782"/>
                      </a:lnTo>
                      <a:lnTo>
                        <a:pt x="13" y="782"/>
                      </a:lnTo>
                      <a:lnTo>
                        <a:pt x="22" y="773"/>
                      </a:lnTo>
                      <a:lnTo>
                        <a:pt x="27" y="777"/>
                      </a:lnTo>
                      <a:lnTo>
                        <a:pt x="31" y="782"/>
                      </a:lnTo>
                      <a:lnTo>
                        <a:pt x="45" y="800"/>
                      </a:lnTo>
                      <a:lnTo>
                        <a:pt x="49" y="809"/>
                      </a:lnTo>
                      <a:lnTo>
                        <a:pt x="63" y="804"/>
                      </a:lnTo>
                      <a:lnTo>
                        <a:pt x="71" y="791"/>
                      </a:lnTo>
                      <a:lnTo>
                        <a:pt x="85" y="791"/>
                      </a:lnTo>
                      <a:lnTo>
                        <a:pt x="103" y="804"/>
                      </a:lnTo>
                      <a:lnTo>
                        <a:pt x="121" y="840"/>
                      </a:lnTo>
                      <a:lnTo>
                        <a:pt x="134" y="867"/>
                      </a:lnTo>
                      <a:lnTo>
                        <a:pt x="152" y="885"/>
                      </a:lnTo>
                      <a:lnTo>
                        <a:pt x="161" y="885"/>
                      </a:lnTo>
                      <a:lnTo>
                        <a:pt x="161" y="894"/>
                      </a:lnTo>
                      <a:lnTo>
                        <a:pt x="165" y="903"/>
                      </a:lnTo>
                      <a:lnTo>
                        <a:pt x="161" y="920"/>
                      </a:lnTo>
                      <a:lnTo>
                        <a:pt x="156" y="929"/>
                      </a:lnTo>
                      <a:lnTo>
                        <a:pt x="156" y="938"/>
                      </a:lnTo>
                      <a:lnTo>
                        <a:pt x="152" y="938"/>
                      </a:lnTo>
                      <a:lnTo>
                        <a:pt x="152" y="943"/>
                      </a:lnTo>
                      <a:lnTo>
                        <a:pt x="161" y="943"/>
                      </a:lnTo>
                      <a:lnTo>
                        <a:pt x="156" y="956"/>
                      </a:lnTo>
                      <a:lnTo>
                        <a:pt x="165" y="965"/>
                      </a:lnTo>
                      <a:lnTo>
                        <a:pt x="174" y="956"/>
                      </a:lnTo>
                      <a:lnTo>
                        <a:pt x="179" y="956"/>
                      </a:lnTo>
                      <a:lnTo>
                        <a:pt x="170" y="965"/>
                      </a:lnTo>
                      <a:lnTo>
                        <a:pt x="179" y="979"/>
                      </a:lnTo>
                      <a:lnTo>
                        <a:pt x="183" y="979"/>
                      </a:lnTo>
                      <a:lnTo>
                        <a:pt x="183" y="970"/>
                      </a:lnTo>
                      <a:lnTo>
                        <a:pt x="188" y="970"/>
                      </a:lnTo>
                      <a:lnTo>
                        <a:pt x="188" y="983"/>
                      </a:lnTo>
                      <a:lnTo>
                        <a:pt x="188" y="1001"/>
                      </a:lnTo>
                      <a:lnTo>
                        <a:pt x="197" y="1001"/>
                      </a:lnTo>
                      <a:lnTo>
                        <a:pt x="197" y="1005"/>
                      </a:lnTo>
                      <a:lnTo>
                        <a:pt x="206" y="1014"/>
                      </a:lnTo>
                      <a:lnTo>
                        <a:pt x="219" y="1023"/>
                      </a:lnTo>
                      <a:lnTo>
                        <a:pt x="237" y="1028"/>
                      </a:lnTo>
                      <a:lnTo>
                        <a:pt x="237" y="1037"/>
                      </a:lnTo>
                      <a:lnTo>
                        <a:pt x="246" y="1046"/>
                      </a:lnTo>
                      <a:lnTo>
                        <a:pt x="264" y="1055"/>
                      </a:lnTo>
                      <a:lnTo>
                        <a:pt x="268" y="1059"/>
                      </a:lnTo>
                      <a:lnTo>
                        <a:pt x="268" y="1063"/>
                      </a:lnTo>
                      <a:lnTo>
                        <a:pt x="657" y="1063"/>
                      </a:lnTo>
                      <a:lnTo>
                        <a:pt x="666" y="1059"/>
                      </a:lnTo>
                      <a:lnTo>
                        <a:pt x="670" y="1068"/>
                      </a:lnTo>
                      <a:lnTo>
                        <a:pt x="692" y="1068"/>
                      </a:lnTo>
                      <a:lnTo>
                        <a:pt x="701" y="1072"/>
                      </a:lnTo>
                      <a:lnTo>
                        <a:pt x="710" y="1081"/>
                      </a:lnTo>
                      <a:lnTo>
                        <a:pt x="724" y="1077"/>
                      </a:lnTo>
                      <a:lnTo>
                        <a:pt x="733" y="1081"/>
                      </a:lnTo>
                      <a:lnTo>
                        <a:pt x="750" y="1072"/>
                      </a:lnTo>
                      <a:lnTo>
                        <a:pt x="759" y="1068"/>
                      </a:lnTo>
                      <a:lnTo>
                        <a:pt x="764" y="1059"/>
                      </a:lnTo>
                      <a:lnTo>
                        <a:pt x="786" y="1063"/>
                      </a:lnTo>
                      <a:lnTo>
                        <a:pt x="795" y="1081"/>
                      </a:lnTo>
                      <a:lnTo>
                        <a:pt x="809" y="1081"/>
                      </a:lnTo>
                      <a:lnTo>
                        <a:pt x="809" y="1099"/>
                      </a:lnTo>
                      <a:lnTo>
                        <a:pt x="817" y="1113"/>
                      </a:lnTo>
                      <a:lnTo>
                        <a:pt x="826" y="1117"/>
                      </a:lnTo>
                      <a:lnTo>
                        <a:pt x="867" y="1122"/>
                      </a:lnTo>
                      <a:lnTo>
                        <a:pt x="889" y="1148"/>
                      </a:lnTo>
                      <a:lnTo>
                        <a:pt x="876" y="1144"/>
                      </a:lnTo>
                      <a:lnTo>
                        <a:pt x="880" y="1153"/>
                      </a:lnTo>
                      <a:lnTo>
                        <a:pt x="867" y="1148"/>
                      </a:lnTo>
                      <a:lnTo>
                        <a:pt x="858" y="1135"/>
                      </a:lnTo>
                      <a:lnTo>
                        <a:pt x="853" y="1135"/>
                      </a:lnTo>
                      <a:lnTo>
                        <a:pt x="862" y="1148"/>
                      </a:lnTo>
                      <a:lnTo>
                        <a:pt x="858" y="1162"/>
                      </a:lnTo>
                      <a:lnTo>
                        <a:pt x="858" y="1171"/>
                      </a:lnTo>
                      <a:lnTo>
                        <a:pt x="844" y="1189"/>
                      </a:lnTo>
                      <a:lnTo>
                        <a:pt x="844" y="1193"/>
                      </a:lnTo>
                      <a:lnTo>
                        <a:pt x="840" y="1198"/>
                      </a:lnTo>
                      <a:lnTo>
                        <a:pt x="844" y="1202"/>
                      </a:lnTo>
                      <a:lnTo>
                        <a:pt x="862" y="1189"/>
                      </a:lnTo>
                      <a:lnTo>
                        <a:pt x="876" y="1193"/>
                      </a:lnTo>
                      <a:lnTo>
                        <a:pt x="876" y="1189"/>
                      </a:lnTo>
                      <a:lnTo>
                        <a:pt x="893" y="1184"/>
                      </a:lnTo>
                      <a:lnTo>
                        <a:pt x="893" y="1180"/>
                      </a:lnTo>
                      <a:lnTo>
                        <a:pt x="880" y="1175"/>
                      </a:lnTo>
                      <a:lnTo>
                        <a:pt x="889" y="1171"/>
                      </a:lnTo>
                      <a:lnTo>
                        <a:pt x="911" y="1162"/>
                      </a:lnTo>
                      <a:lnTo>
                        <a:pt x="925" y="1166"/>
                      </a:lnTo>
                      <a:lnTo>
                        <a:pt x="929" y="1157"/>
                      </a:lnTo>
                      <a:lnTo>
                        <a:pt x="934" y="1157"/>
                      </a:lnTo>
                      <a:lnTo>
                        <a:pt x="992" y="1108"/>
                      </a:lnTo>
                      <a:lnTo>
                        <a:pt x="1014" y="1099"/>
                      </a:lnTo>
                      <a:lnTo>
                        <a:pt x="1032" y="1072"/>
                      </a:lnTo>
                      <a:lnTo>
                        <a:pt x="1041" y="1059"/>
                      </a:lnTo>
                      <a:lnTo>
                        <a:pt x="1063" y="1050"/>
                      </a:lnTo>
                      <a:lnTo>
                        <a:pt x="1072" y="1032"/>
                      </a:lnTo>
                      <a:lnTo>
                        <a:pt x="1170" y="1032"/>
                      </a:lnTo>
                      <a:lnTo>
                        <a:pt x="1193" y="1001"/>
                      </a:lnTo>
                      <a:lnTo>
                        <a:pt x="1215" y="996"/>
                      </a:lnTo>
                      <a:lnTo>
                        <a:pt x="1228" y="983"/>
                      </a:lnTo>
                      <a:lnTo>
                        <a:pt x="1228" y="974"/>
                      </a:lnTo>
                      <a:lnTo>
                        <a:pt x="1224" y="974"/>
                      </a:lnTo>
                      <a:lnTo>
                        <a:pt x="1228" y="965"/>
                      </a:lnTo>
                      <a:lnTo>
                        <a:pt x="1228" y="956"/>
                      </a:lnTo>
                      <a:lnTo>
                        <a:pt x="1219" y="943"/>
                      </a:lnTo>
                      <a:lnTo>
                        <a:pt x="1211" y="947"/>
                      </a:lnTo>
                      <a:lnTo>
                        <a:pt x="1202" y="952"/>
                      </a:lnTo>
                      <a:lnTo>
                        <a:pt x="1206" y="938"/>
                      </a:lnTo>
                      <a:lnTo>
                        <a:pt x="1206" y="934"/>
                      </a:lnTo>
                      <a:lnTo>
                        <a:pt x="1197" y="934"/>
                      </a:lnTo>
                      <a:lnTo>
                        <a:pt x="1170" y="956"/>
                      </a:lnTo>
                      <a:lnTo>
                        <a:pt x="1170" y="943"/>
                      </a:lnTo>
                      <a:lnTo>
                        <a:pt x="1184" y="938"/>
                      </a:lnTo>
                      <a:lnTo>
                        <a:pt x="1193" y="929"/>
                      </a:lnTo>
                      <a:lnTo>
                        <a:pt x="1197" y="925"/>
                      </a:lnTo>
                      <a:lnTo>
                        <a:pt x="1197" y="916"/>
                      </a:lnTo>
                      <a:lnTo>
                        <a:pt x="1184" y="925"/>
                      </a:lnTo>
                      <a:lnTo>
                        <a:pt x="1184" y="912"/>
                      </a:lnTo>
                      <a:lnTo>
                        <a:pt x="1161" y="912"/>
                      </a:lnTo>
                      <a:lnTo>
                        <a:pt x="1161" y="894"/>
                      </a:lnTo>
                      <a:lnTo>
                        <a:pt x="1139" y="885"/>
                      </a:lnTo>
                      <a:lnTo>
                        <a:pt x="1135" y="871"/>
                      </a:lnTo>
                      <a:lnTo>
                        <a:pt x="1148" y="871"/>
                      </a:lnTo>
                      <a:lnTo>
                        <a:pt x="1135" y="840"/>
                      </a:lnTo>
                      <a:lnTo>
                        <a:pt x="1126" y="836"/>
                      </a:lnTo>
                      <a:lnTo>
                        <a:pt x="1130" y="827"/>
                      </a:lnTo>
                      <a:lnTo>
                        <a:pt x="1117" y="822"/>
                      </a:lnTo>
                      <a:lnTo>
                        <a:pt x="1121" y="818"/>
                      </a:lnTo>
                      <a:lnTo>
                        <a:pt x="1094" y="769"/>
                      </a:lnTo>
                      <a:lnTo>
                        <a:pt x="1090" y="791"/>
                      </a:lnTo>
                      <a:lnTo>
                        <a:pt x="1081" y="809"/>
                      </a:lnTo>
                      <a:lnTo>
                        <a:pt x="1077" y="809"/>
                      </a:lnTo>
                      <a:lnTo>
                        <a:pt x="1059" y="831"/>
                      </a:lnTo>
                      <a:lnTo>
                        <a:pt x="1045" y="809"/>
                      </a:lnTo>
                      <a:lnTo>
                        <a:pt x="1027" y="813"/>
                      </a:lnTo>
                      <a:lnTo>
                        <a:pt x="1032" y="804"/>
                      </a:lnTo>
                      <a:lnTo>
                        <a:pt x="1027" y="800"/>
                      </a:lnTo>
                      <a:lnTo>
                        <a:pt x="1027" y="777"/>
                      </a:lnTo>
                      <a:lnTo>
                        <a:pt x="1023" y="764"/>
                      </a:lnTo>
                      <a:lnTo>
                        <a:pt x="1032" y="760"/>
                      </a:lnTo>
                      <a:lnTo>
                        <a:pt x="1027" y="751"/>
                      </a:lnTo>
                      <a:lnTo>
                        <a:pt x="1018" y="755"/>
                      </a:lnTo>
                      <a:lnTo>
                        <a:pt x="1001" y="746"/>
                      </a:lnTo>
                      <a:lnTo>
                        <a:pt x="987" y="715"/>
                      </a:lnTo>
                      <a:lnTo>
                        <a:pt x="969" y="702"/>
                      </a:lnTo>
                      <a:lnTo>
                        <a:pt x="956" y="710"/>
                      </a:lnTo>
                      <a:lnTo>
                        <a:pt x="911" y="697"/>
                      </a:lnTo>
                      <a:lnTo>
                        <a:pt x="902" y="706"/>
                      </a:lnTo>
                      <a:lnTo>
                        <a:pt x="902" y="719"/>
                      </a:lnTo>
                      <a:lnTo>
                        <a:pt x="907" y="733"/>
                      </a:lnTo>
                      <a:lnTo>
                        <a:pt x="902" y="760"/>
                      </a:lnTo>
                      <a:lnTo>
                        <a:pt x="907" y="760"/>
                      </a:lnTo>
                      <a:lnTo>
                        <a:pt x="911" y="782"/>
                      </a:lnTo>
                      <a:lnTo>
                        <a:pt x="920" y="782"/>
                      </a:lnTo>
                      <a:lnTo>
                        <a:pt x="898" y="809"/>
                      </a:lnTo>
                      <a:lnTo>
                        <a:pt x="898" y="818"/>
                      </a:lnTo>
                      <a:lnTo>
                        <a:pt x="902" y="822"/>
                      </a:lnTo>
                      <a:lnTo>
                        <a:pt x="925" y="849"/>
                      </a:lnTo>
                      <a:lnTo>
                        <a:pt x="929" y="880"/>
                      </a:lnTo>
                      <a:lnTo>
                        <a:pt x="902" y="912"/>
                      </a:lnTo>
                      <a:lnTo>
                        <a:pt x="880" y="920"/>
                      </a:lnTo>
                      <a:lnTo>
                        <a:pt x="898" y="938"/>
                      </a:lnTo>
                      <a:lnTo>
                        <a:pt x="893" y="961"/>
                      </a:lnTo>
                      <a:lnTo>
                        <a:pt x="902" y="979"/>
                      </a:lnTo>
                      <a:lnTo>
                        <a:pt x="898" y="988"/>
                      </a:lnTo>
                      <a:lnTo>
                        <a:pt x="902" y="1001"/>
                      </a:lnTo>
                      <a:lnTo>
                        <a:pt x="898" y="1005"/>
                      </a:lnTo>
                      <a:lnTo>
                        <a:pt x="889" y="996"/>
                      </a:lnTo>
                      <a:lnTo>
                        <a:pt x="880" y="1010"/>
                      </a:lnTo>
                      <a:lnTo>
                        <a:pt x="862" y="988"/>
                      </a:lnTo>
                      <a:lnTo>
                        <a:pt x="853" y="983"/>
                      </a:lnTo>
                      <a:lnTo>
                        <a:pt x="858" y="979"/>
                      </a:lnTo>
                      <a:lnTo>
                        <a:pt x="844" y="961"/>
                      </a:lnTo>
                      <a:lnTo>
                        <a:pt x="849" y="947"/>
                      </a:lnTo>
                      <a:lnTo>
                        <a:pt x="844" y="934"/>
                      </a:lnTo>
                      <a:lnTo>
                        <a:pt x="849" y="912"/>
                      </a:lnTo>
                      <a:lnTo>
                        <a:pt x="809" y="907"/>
                      </a:lnTo>
                      <a:lnTo>
                        <a:pt x="773" y="885"/>
                      </a:lnTo>
                      <a:lnTo>
                        <a:pt x="755" y="867"/>
                      </a:lnTo>
                      <a:lnTo>
                        <a:pt x="728" y="853"/>
                      </a:lnTo>
                      <a:lnTo>
                        <a:pt x="706" y="867"/>
                      </a:lnTo>
                      <a:lnTo>
                        <a:pt x="692" y="813"/>
                      </a:lnTo>
                      <a:lnTo>
                        <a:pt x="675" y="818"/>
                      </a:lnTo>
                      <a:lnTo>
                        <a:pt x="666" y="809"/>
                      </a:lnTo>
                      <a:lnTo>
                        <a:pt x="670" y="773"/>
                      </a:lnTo>
                      <a:lnTo>
                        <a:pt x="688" y="724"/>
                      </a:lnTo>
                      <a:lnTo>
                        <a:pt x="706" y="706"/>
                      </a:lnTo>
                      <a:lnTo>
                        <a:pt x="706" y="697"/>
                      </a:lnTo>
                      <a:lnTo>
                        <a:pt x="724" y="693"/>
                      </a:lnTo>
                      <a:lnTo>
                        <a:pt x="724" y="675"/>
                      </a:lnTo>
                      <a:lnTo>
                        <a:pt x="652" y="657"/>
                      </a:lnTo>
                      <a:lnTo>
                        <a:pt x="652" y="643"/>
                      </a:lnTo>
                      <a:lnTo>
                        <a:pt x="688" y="657"/>
                      </a:lnTo>
                      <a:lnTo>
                        <a:pt x="724" y="670"/>
                      </a:lnTo>
                      <a:lnTo>
                        <a:pt x="733" y="666"/>
                      </a:lnTo>
                      <a:lnTo>
                        <a:pt x="737" y="652"/>
                      </a:lnTo>
                      <a:lnTo>
                        <a:pt x="755" y="657"/>
                      </a:lnTo>
                      <a:lnTo>
                        <a:pt x="768" y="648"/>
                      </a:lnTo>
                      <a:lnTo>
                        <a:pt x="777" y="612"/>
                      </a:lnTo>
                      <a:lnTo>
                        <a:pt x="755" y="612"/>
                      </a:lnTo>
                      <a:lnTo>
                        <a:pt x="742" y="590"/>
                      </a:lnTo>
                      <a:lnTo>
                        <a:pt x="768" y="608"/>
                      </a:lnTo>
                      <a:lnTo>
                        <a:pt x="782" y="608"/>
                      </a:lnTo>
                      <a:lnTo>
                        <a:pt x="795" y="585"/>
                      </a:lnTo>
                      <a:lnTo>
                        <a:pt x="782" y="581"/>
                      </a:lnTo>
                      <a:lnTo>
                        <a:pt x="782" y="572"/>
                      </a:lnTo>
                      <a:lnTo>
                        <a:pt x="804" y="567"/>
                      </a:lnTo>
                      <a:lnTo>
                        <a:pt x="804" y="581"/>
                      </a:lnTo>
                      <a:lnTo>
                        <a:pt x="813" y="585"/>
                      </a:lnTo>
                      <a:lnTo>
                        <a:pt x="809" y="590"/>
                      </a:lnTo>
                      <a:lnTo>
                        <a:pt x="813" y="603"/>
                      </a:lnTo>
                      <a:lnTo>
                        <a:pt x="813" y="603"/>
                      </a:lnTo>
                      <a:lnTo>
                        <a:pt x="813" y="590"/>
                      </a:lnTo>
                      <a:lnTo>
                        <a:pt x="817" y="585"/>
                      </a:lnTo>
                      <a:lnTo>
                        <a:pt x="826" y="603"/>
                      </a:lnTo>
                      <a:lnTo>
                        <a:pt x="831" y="603"/>
                      </a:lnTo>
                      <a:lnTo>
                        <a:pt x="826" y="590"/>
                      </a:lnTo>
                      <a:lnTo>
                        <a:pt x="817" y="581"/>
                      </a:lnTo>
                      <a:lnTo>
                        <a:pt x="822" y="581"/>
                      </a:lnTo>
                      <a:lnTo>
                        <a:pt x="822" y="567"/>
                      </a:lnTo>
                      <a:lnTo>
                        <a:pt x="822" y="563"/>
                      </a:lnTo>
                      <a:lnTo>
                        <a:pt x="831" y="581"/>
                      </a:lnTo>
                      <a:lnTo>
                        <a:pt x="853" y="563"/>
                      </a:lnTo>
                      <a:lnTo>
                        <a:pt x="853" y="554"/>
                      </a:lnTo>
                      <a:lnTo>
                        <a:pt x="867" y="545"/>
                      </a:lnTo>
                      <a:lnTo>
                        <a:pt x="867" y="527"/>
                      </a:lnTo>
                      <a:lnTo>
                        <a:pt x="858" y="514"/>
                      </a:lnTo>
                      <a:lnTo>
                        <a:pt x="849" y="491"/>
                      </a:lnTo>
                      <a:lnTo>
                        <a:pt x="858" y="491"/>
                      </a:lnTo>
                      <a:lnTo>
                        <a:pt x="867" y="478"/>
                      </a:lnTo>
                      <a:lnTo>
                        <a:pt x="858" y="474"/>
                      </a:lnTo>
                      <a:lnTo>
                        <a:pt x="867" y="469"/>
                      </a:lnTo>
                      <a:lnTo>
                        <a:pt x="867" y="460"/>
                      </a:lnTo>
                      <a:lnTo>
                        <a:pt x="849" y="442"/>
                      </a:lnTo>
                      <a:lnTo>
                        <a:pt x="826" y="442"/>
                      </a:lnTo>
                      <a:lnTo>
                        <a:pt x="817" y="438"/>
                      </a:lnTo>
                      <a:lnTo>
                        <a:pt x="804" y="438"/>
                      </a:lnTo>
                      <a:lnTo>
                        <a:pt x="804" y="460"/>
                      </a:lnTo>
                      <a:lnTo>
                        <a:pt x="809" y="465"/>
                      </a:lnTo>
                      <a:lnTo>
                        <a:pt x="804" y="474"/>
                      </a:lnTo>
                      <a:lnTo>
                        <a:pt x="795" y="478"/>
                      </a:lnTo>
                      <a:lnTo>
                        <a:pt x="795" y="505"/>
                      </a:lnTo>
                      <a:lnTo>
                        <a:pt x="786" y="518"/>
                      </a:lnTo>
                      <a:lnTo>
                        <a:pt x="773" y="536"/>
                      </a:lnTo>
                      <a:lnTo>
                        <a:pt x="759" y="496"/>
                      </a:lnTo>
                      <a:lnTo>
                        <a:pt x="764" y="478"/>
                      </a:lnTo>
                      <a:lnTo>
                        <a:pt x="764" y="460"/>
                      </a:lnTo>
                      <a:lnTo>
                        <a:pt x="750" y="447"/>
                      </a:lnTo>
                      <a:lnTo>
                        <a:pt x="746" y="447"/>
                      </a:lnTo>
                      <a:lnTo>
                        <a:pt x="737" y="496"/>
                      </a:lnTo>
                      <a:lnTo>
                        <a:pt x="728" y="496"/>
                      </a:lnTo>
                      <a:lnTo>
                        <a:pt x="728" y="469"/>
                      </a:lnTo>
                      <a:lnTo>
                        <a:pt x="719" y="456"/>
                      </a:lnTo>
                      <a:lnTo>
                        <a:pt x="728" y="456"/>
                      </a:lnTo>
                      <a:lnTo>
                        <a:pt x="733" y="451"/>
                      </a:lnTo>
                      <a:lnTo>
                        <a:pt x="719" y="442"/>
                      </a:lnTo>
                      <a:lnTo>
                        <a:pt x="710" y="451"/>
                      </a:lnTo>
                      <a:lnTo>
                        <a:pt x="701" y="442"/>
                      </a:lnTo>
                      <a:lnTo>
                        <a:pt x="706" y="429"/>
                      </a:lnTo>
                      <a:lnTo>
                        <a:pt x="701" y="420"/>
                      </a:lnTo>
                      <a:lnTo>
                        <a:pt x="715" y="420"/>
                      </a:lnTo>
                      <a:lnTo>
                        <a:pt x="706" y="393"/>
                      </a:lnTo>
                      <a:lnTo>
                        <a:pt x="692" y="389"/>
                      </a:lnTo>
                      <a:lnTo>
                        <a:pt x="692" y="366"/>
                      </a:lnTo>
                      <a:lnTo>
                        <a:pt x="679" y="348"/>
                      </a:lnTo>
                      <a:lnTo>
                        <a:pt x="661" y="344"/>
                      </a:lnTo>
                      <a:lnTo>
                        <a:pt x="652" y="348"/>
                      </a:lnTo>
                      <a:lnTo>
                        <a:pt x="661" y="357"/>
                      </a:lnTo>
                      <a:lnTo>
                        <a:pt x="652" y="362"/>
                      </a:lnTo>
                      <a:lnTo>
                        <a:pt x="643" y="389"/>
                      </a:lnTo>
                      <a:lnTo>
                        <a:pt x="657" y="393"/>
                      </a:lnTo>
                      <a:lnTo>
                        <a:pt x="643" y="407"/>
                      </a:lnTo>
                      <a:lnTo>
                        <a:pt x="643" y="424"/>
                      </a:lnTo>
                      <a:lnTo>
                        <a:pt x="652" y="442"/>
                      </a:lnTo>
                      <a:lnTo>
                        <a:pt x="688" y="451"/>
                      </a:lnTo>
                      <a:lnTo>
                        <a:pt x="675" y="460"/>
                      </a:lnTo>
                      <a:lnTo>
                        <a:pt x="670" y="478"/>
                      </a:lnTo>
                      <a:lnTo>
                        <a:pt x="683" y="469"/>
                      </a:lnTo>
                      <a:lnTo>
                        <a:pt x="683" y="487"/>
                      </a:lnTo>
                      <a:lnTo>
                        <a:pt x="670" y="505"/>
                      </a:lnTo>
                      <a:lnTo>
                        <a:pt x="661" y="505"/>
                      </a:lnTo>
                      <a:lnTo>
                        <a:pt x="657" y="518"/>
                      </a:lnTo>
                      <a:lnTo>
                        <a:pt x="666" y="527"/>
                      </a:lnTo>
                      <a:lnTo>
                        <a:pt x="657" y="536"/>
                      </a:lnTo>
                      <a:lnTo>
                        <a:pt x="648" y="527"/>
                      </a:lnTo>
                      <a:lnTo>
                        <a:pt x="652" y="496"/>
                      </a:lnTo>
                      <a:lnTo>
                        <a:pt x="643" y="509"/>
                      </a:lnTo>
                      <a:lnTo>
                        <a:pt x="639" y="491"/>
                      </a:lnTo>
                      <a:lnTo>
                        <a:pt x="625" y="487"/>
                      </a:lnTo>
                      <a:lnTo>
                        <a:pt x="616" y="500"/>
                      </a:lnTo>
                      <a:lnTo>
                        <a:pt x="616" y="509"/>
                      </a:lnTo>
                      <a:lnTo>
                        <a:pt x="603" y="514"/>
                      </a:lnTo>
                      <a:lnTo>
                        <a:pt x="567" y="514"/>
                      </a:lnTo>
                      <a:lnTo>
                        <a:pt x="549" y="505"/>
                      </a:lnTo>
                      <a:lnTo>
                        <a:pt x="536" y="509"/>
                      </a:lnTo>
                      <a:lnTo>
                        <a:pt x="518" y="496"/>
                      </a:lnTo>
                      <a:lnTo>
                        <a:pt x="518" y="478"/>
                      </a:lnTo>
                      <a:lnTo>
                        <a:pt x="509" y="469"/>
                      </a:lnTo>
                      <a:lnTo>
                        <a:pt x="491" y="483"/>
                      </a:lnTo>
                      <a:lnTo>
                        <a:pt x="474" y="483"/>
                      </a:lnTo>
                      <a:lnTo>
                        <a:pt x="469" y="500"/>
                      </a:lnTo>
                      <a:lnTo>
                        <a:pt x="478" y="500"/>
                      </a:lnTo>
                      <a:lnTo>
                        <a:pt x="509" y="487"/>
                      </a:lnTo>
                      <a:lnTo>
                        <a:pt x="514" y="496"/>
                      </a:lnTo>
                      <a:lnTo>
                        <a:pt x="482" y="523"/>
                      </a:lnTo>
                      <a:lnTo>
                        <a:pt x="482" y="554"/>
                      </a:lnTo>
                      <a:lnTo>
                        <a:pt x="474" y="559"/>
                      </a:lnTo>
                      <a:lnTo>
                        <a:pt x="478" y="541"/>
                      </a:lnTo>
                      <a:lnTo>
                        <a:pt x="465" y="532"/>
                      </a:lnTo>
                      <a:lnTo>
                        <a:pt x="465" y="523"/>
                      </a:lnTo>
                      <a:lnTo>
                        <a:pt x="447" y="514"/>
                      </a:lnTo>
                      <a:lnTo>
                        <a:pt x="407" y="532"/>
                      </a:lnTo>
                      <a:lnTo>
                        <a:pt x="371" y="527"/>
                      </a:lnTo>
                      <a:lnTo>
                        <a:pt x="375" y="505"/>
                      </a:lnTo>
                      <a:lnTo>
                        <a:pt x="389" y="505"/>
                      </a:lnTo>
                      <a:lnTo>
                        <a:pt x="393" y="496"/>
                      </a:lnTo>
                      <a:lnTo>
                        <a:pt x="380" y="469"/>
                      </a:lnTo>
                      <a:lnTo>
                        <a:pt x="353" y="460"/>
                      </a:lnTo>
                      <a:lnTo>
                        <a:pt x="357" y="474"/>
                      </a:lnTo>
                      <a:lnTo>
                        <a:pt x="340" y="460"/>
                      </a:lnTo>
                      <a:lnTo>
                        <a:pt x="304" y="451"/>
                      </a:lnTo>
                      <a:lnTo>
                        <a:pt x="259" y="433"/>
                      </a:lnTo>
                      <a:lnTo>
                        <a:pt x="255" y="447"/>
                      </a:lnTo>
                      <a:lnTo>
                        <a:pt x="241" y="451"/>
                      </a:lnTo>
                      <a:lnTo>
                        <a:pt x="241" y="424"/>
                      </a:lnTo>
                      <a:lnTo>
                        <a:pt x="237" y="424"/>
                      </a:lnTo>
                      <a:lnTo>
                        <a:pt x="237" y="447"/>
                      </a:lnTo>
                      <a:lnTo>
                        <a:pt x="228" y="442"/>
                      </a:lnTo>
                      <a:lnTo>
                        <a:pt x="197" y="393"/>
                      </a:lnTo>
                      <a:lnTo>
                        <a:pt x="188" y="402"/>
                      </a:lnTo>
                      <a:lnTo>
                        <a:pt x="192" y="429"/>
                      </a:lnTo>
                      <a:lnTo>
                        <a:pt x="130" y="460"/>
                      </a:lnTo>
                      <a:lnTo>
                        <a:pt x="130" y="451"/>
                      </a:lnTo>
                      <a:lnTo>
                        <a:pt x="165" y="433"/>
                      </a:lnTo>
                      <a:lnTo>
                        <a:pt x="170" y="420"/>
                      </a:lnTo>
                      <a:lnTo>
                        <a:pt x="147" y="424"/>
                      </a:lnTo>
                      <a:lnTo>
                        <a:pt x="139" y="438"/>
                      </a:lnTo>
                      <a:lnTo>
                        <a:pt x="134" y="429"/>
                      </a:lnTo>
                      <a:lnTo>
                        <a:pt x="103" y="451"/>
                      </a:lnTo>
                      <a:lnTo>
                        <a:pt x="98" y="433"/>
                      </a:lnTo>
                      <a:lnTo>
                        <a:pt x="71" y="460"/>
                      </a:lnTo>
                      <a:lnTo>
                        <a:pt x="31" y="447"/>
                      </a:lnTo>
                      <a:lnTo>
                        <a:pt x="0" y="442"/>
                      </a:lnTo>
                      <a:close/>
                      <a:moveTo>
                        <a:pt x="121" y="938"/>
                      </a:moveTo>
                      <a:lnTo>
                        <a:pt x="121" y="956"/>
                      </a:lnTo>
                      <a:lnTo>
                        <a:pt x="130" y="974"/>
                      </a:lnTo>
                      <a:lnTo>
                        <a:pt x="143" y="988"/>
                      </a:lnTo>
                      <a:lnTo>
                        <a:pt x="134" y="970"/>
                      </a:lnTo>
                      <a:lnTo>
                        <a:pt x="139" y="965"/>
                      </a:lnTo>
                      <a:lnTo>
                        <a:pt x="134" y="952"/>
                      </a:lnTo>
                      <a:lnTo>
                        <a:pt x="139" y="943"/>
                      </a:lnTo>
                      <a:lnTo>
                        <a:pt x="121" y="938"/>
                      </a:lnTo>
                      <a:close/>
                      <a:moveTo>
                        <a:pt x="183" y="1019"/>
                      </a:moveTo>
                      <a:lnTo>
                        <a:pt x="192" y="1028"/>
                      </a:lnTo>
                      <a:lnTo>
                        <a:pt x="197" y="1041"/>
                      </a:lnTo>
                      <a:lnTo>
                        <a:pt x="201" y="1037"/>
                      </a:lnTo>
                      <a:lnTo>
                        <a:pt x="210" y="1046"/>
                      </a:lnTo>
                      <a:lnTo>
                        <a:pt x="232" y="1063"/>
                      </a:lnTo>
                      <a:lnTo>
                        <a:pt x="259" y="1072"/>
                      </a:lnTo>
                      <a:lnTo>
                        <a:pt x="259" y="1068"/>
                      </a:lnTo>
                      <a:lnTo>
                        <a:pt x="246" y="1055"/>
                      </a:lnTo>
                      <a:lnTo>
                        <a:pt x="232" y="1041"/>
                      </a:lnTo>
                      <a:lnTo>
                        <a:pt x="228" y="1032"/>
                      </a:lnTo>
                      <a:lnTo>
                        <a:pt x="197" y="1019"/>
                      </a:lnTo>
                      <a:lnTo>
                        <a:pt x="183" y="1019"/>
                      </a:lnTo>
                      <a:close/>
                      <a:moveTo>
                        <a:pt x="241" y="223"/>
                      </a:moveTo>
                      <a:lnTo>
                        <a:pt x="250" y="228"/>
                      </a:lnTo>
                      <a:lnTo>
                        <a:pt x="259" y="246"/>
                      </a:lnTo>
                      <a:lnTo>
                        <a:pt x="241" y="281"/>
                      </a:lnTo>
                      <a:lnTo>
                        <a:pt x="250" y="290"/>
                      </a:lnTo>
                      <a:lnTo>
                        <a:pt x="237" y="290"/>
                      </a:lnTo>
                      <a:lnTo>
                        <a:pt x="228" y="331"/>
                      </a:lnTo>
                      <a:lnTo>
                        <a:pt x="237" y="331"/>
                      </a:lnTo>
                      <a:lnTo>
                        <a:pt x="255" y="344"/>
                      </a:lnTo>
                      <a:lnTo>
                        <a:pt x="255" y="366"/>
                      </a:lnTo>
                      <a:lnTo>
                        <a:pt x="264" y="375"/>
                      </a:lnTo>
                      <a:lnTo>
                        <a:pt x="273" y="371"/>
                      </a:lnTo>
                      <a:lnTo>
                        <a:pt x="281" y="353"/>
                      </a:lnTo>
                      <a:lnTo>
                        <a:pt x="290" y="362"/>
                      </a:lnTo>
                      <a:lnTo>
                        <a:pt x="304" y="348"/>
                      </a:lnTo>
                      <a:lnTo>
                        <a:pt x="304" y="322"/>
                      </a:lnTo>
                      <a:lnTo>
                        <a:pt x="313" y="313"/>
                      </a:lnTo>
                      <a:lnTo>
                        <a:pt x="308" y="304"/>
                      </a:lnTo>
                      <a:lnTo>
                        <a:pt x="313" y="290"/>
                      </a:lnTo>
                      <a:lnTo>
                        <a:pt x="335" y="277"/>
                      </a:lnTo>
                      <a:lnTo>
                        <a:pt x="353" y="268"/>
                      </a:lnTo>
                      <a:lnTo>
                        <a:pt x="371" y="255"/>
                      </a:lnTo>
                      <a:lnTo>
                        <a:pt x="348" y="232"/>
                      </a:lnTo>
                      <a:lnTo>
                        <a:pt x="340" y="210"/>
                      </a:lnTo>
                      <a:lnTo>
                        <a:pt x="322" y="214"/>
                      </a:lnTo>
                      <a:lnTo>
                        <a:pt x="317" y="219"/>
                      </a:lnTo>
                      <a:lnTo>
                        <a:pt x="290" y="205"/>
                      </a:lnTo>
                      <a:lnTo>
                        <a:pt x="241" y="223"/>
                      </a:lnTo>
                      <a:close/>
                      <a:moveTo>
                        <a:pt x="259" y="89"/>
                      </a:moveTo>
                      <a:lnTo>
                        <a:pt x="264" y="98"/>
                      </a:lnTo>
                      <a:lnTo>
                        <a:pt x="281" y="98"/>
                      </a:lnTo>
                      <a:lnTo>
                        <a:pt x="286" y="89"/>
                      </a:lnTo>
                      <a:lnTo>
                        <a:pt x="295" y="112"/>
                      </a:lnTo>
                      <a:lnTo>
                        <a:pt x="308" y="98"/>
                      </a:lnTo>
                      <a:lnTo>
                        <a:pt x="308" y="80"/>
                      </a:lnTo>
                      <a:lnTo>
                        <a:pt x="313" y="94"/>
                      </a:lnTo>
                      <a:lnTo>
                        <a:pt x="322" y="76"/>
                      </a:lnTo>
                      <a:lnTo>
                        <a:pt x="322" y="49"/>
                      </a:lnTo>
                      <a:lnTo>
                        <a:pt x="335" y="45"/>
                      </a:lnTo>
                      <a:lnTo>
                        <a:pt x="335" y="71"/>
                      </a:lnTo>
                      <a:lnTo>
                        <a:pt x="344" y="89"/>
                      </a:lnTo>
                      <a:lnTo>
                        <a:pt x="348" y="80"/>
                      </a:lnTo>
                      <a:lnTo>
                        <a:pt x="348" y="67"/>
                      </a:lnTo>
                      <a:lnTo>
                        <a:pt x="362" y="71"/>
                      </a:lnTo>
                      <a:lnTo>
                        <a:pt x="366" y="49"/>
                      </a:lnTo>
                      <a:lnTo>
                        <a:pt x="362" y="36"/>
                      </a:lnTo>
                      <a:lnTo>
                        <a:pt x="371" y="27"/>
                      </a:lnTo>
                      <a:lnTo>
                        <a:pt x="357" y="9"/>
                      </a:lnTo>
                      <a:lnTo>
                        <a:pt x="353" y="9"/>
                      </a:lnTo>
                      <a:lnTo>
                        <a:pt x="348" y="22"/>
                      </a:lnTo>
                      <a:lnTo>
                        <a:pt x="317" y="18"/>
                      </a:lnTo>
                      <a:lnTo>
                        <a:pt x="299" y="49"/>
                      </a:lnTo>
                      <a:lnTo>
                        <a:pt x="286" y="54"/>
                      </a:lnTo>
                      <a:lnTo>
                        <a:pt x="286" y="67"/>
                      </a:lnTo>
                      <a:lnTo>
                        <a:pt x="264" y="76"/>
                      </a:lnTo>
                      <a:lnTo>
                        <a:pt x="259" y="89"/>
                      </a:lnTo>
                      <a:close/>
                      <a:moveTo>
                        <a:pt x="322" y="362"/>
                      </a:moveTo>
                      <a:lnTo>
                        <a:pt x="335" y="353"/>
                      </a:lnTo>
                      <a:lnTo>
                        <a:pt x="362" y="348"/>
                      </a:lnTo>
                      <a:lnTo>
                        <a:pt x="375" y="353"/>
                      </a:lnTo>
                      <a:lnTo>
                        <a:pt x="348" y="362"/>
                      </a:lnTo>
                      <a:lnTo>
                        <a:pt x="326" y="375"/>
                      </a:lnTo>
                      <a:lnTo>
                        <a:pt x="326" y="384"/>
                      </a:lnTo>
                      <a:lnTo>
                        <a:pt x="340" y="393"/>
                      </a:lnTo>
                      <a:lnTo>
                        <a:pt x="375" y="398"/>
                      </a:lnTo>
                      <a:lnTo>
                        <a:pt x="398" y="389"/>
                      </a:lnTo>
                      <a:lnTo>
                        <a:pt x="433" y="398"/>
                      </a:lnTo>
                      <a:lnTo>
                        <a:pt x="438" y="402"/>
                      </a:lnTo>
                      <a:lnTo>
                        <a:pt x="420" y="411"/>
                      </a:lnTo>
                      <a:lnTo>
                        <a:pt x="398" y="407"/>
                      </a:lnTo>
                      <a:lnTo>
                        <a:pt x="353" y="416"/>
                      </a:lnTo>
                      <a:lnTo>
                        <a:pt x="344" y="429"/>
                      </a:lnTo>
                      <a:lnTo>
                        <a:pt x="357" y="451"/>
                      </a:lnTo>
                      <a:lnTo>
                        <a:pt x="402" y="451"/>
                      </a:lnTo>
                      <a:lnTo>
                        <a:pt x="402" y="460"/>
                      </a:lnTo>
                      <a:lnTo>
                        <a:pt x="393" y="469"/>
                      </a:lnTo>
                      <a:lnTo>
                        <a:pt x="393" y="483"/>
                      </a:lnTo>
                      <a:lnTo>
                        <a:pt x="407" y="496"/>
                      </a:lnTo>
                      <a:lnTo>
                        <a:pt x="451" y="491"/>
                      </a:lnTo>
                      <a:lnTo>
                        <a:pt x="474" y="474"/>
                      </a:lnTo>
                      <a:lnTo>
                        <a:pt x="482" y="474"/>
                      </a:lnTo>
                      <a:lnTo>
                        <a:pt x="491" y="465"/>
                      </a:lnTo>
                      <a:lnTo>
                        <a:pt x="496" y="447"/>
                      </a:lnTo>
                      <a:lnTo>
                        <a:pt x="500" y="465"/>
                      </a:lnTo>
                      <a:lnTo>
                        <a:pt x="527" y="460"/>
                      </a:lnTo>
                      <a:lnTo>
                        <a:pt x="518" y="474"/>
                      </a:lnTo>
                      <a:lnTo>
                        <a:pt x="554" y="478"/>
                      </a:lnTo>
                      <a:lnTo>
                        <a:pt x="572" y="465"/>
                      </a:lnTo>
                      <a:lnTo>
                        <a:pt x="563" y="447"/>
                      </a:lnTo>
                      <a:lnTo>
                        <a:pt x="554" y="451"/>
                      </a:lnTo>
                      <a:lnTo>
                        <a:pt x="549" y="442"/>
                      </a:lnTo>
                      <a:lnTo>
                        <a:pt x="567" y="438"/>
                      </a:lnTo>
                      <a:lnTo>
                        <a:pt x="581" y="442"/>
                      </a:lnTo>
                      <a:lnTo>
                        <a:pt x="581" y="420"/>
                      </a:lnTo>
                      <a:lnTo>
                        <a:pt x="558" y="411"/>
                      </a:lnTo>
                      <a:lnTo>
                        <a:pt x="554" y="398"/>
                      </a:lnTo>
                      <a:lnTo>
                        <a:pt x="545" y="407"/>
                      </a:lnTo>
                      <a:lnTo>
                        <a:pt x="527" y="380"/>
                      </a:lnTo>
                      <a:lnTo>
                        <a:pt x="527" y="348"/>
                      </a:lnTo>
                      <a:lnTo>
                        <a:pt x="509" y="281"/>
                      </a:lnTo>
                      <a:lnTo>
                        <a:pt x="491" y="264"/>
                      </a:lnTo>
                      <a:lnTo>
                        <a:pt x="491" y="273"/>
                      </a:lnTo>
                      <a:lnTo>
                        <a:pt x="478" y="268"/>
                      </a:lnTo>
                      <a:lnTo>
                        <a:pt x="478" y="281"/>
                      </a:lnTo>
                      <a:lnTo>
                        <a:pt x="487" y="344"/>
                      </a:lnTo>
                      <a:lnTo>
                        <a:pt x="478" y="353"/>
                      </a:lnTo>
                      <a:lnTo>
                        <a:pt x="474" y="344"/>
                      </a:lnTo>
                      <a:lnTo>
                        <a:pt x="469" y="304"/>
                      </a:lnTo>
                      <a:lnTo>
                        <a:pt x="456" y="286"/>
                      </a:lnTo>
                      <a:lnTo>
                        <a:pt x="442" y="286"/>
                      </a:lnTo>
                      <a:lnTo>
                        <a:pt x="447" y="299"/>
                      </a:lnTo>
                      <a:lnTo>
                        <a:pt x="451" y="299"/>
                      </a:lnTo>
                      <a:lnTo>
                        <a:pt x="451" y="322"/>
                      </a:lnTo>
                      <a:lnTo>
                        <a:pt x="433" y="322"/>
                      </a:lnTo>
                      <a:lnTo>
                        <a:pt x="424" y="326"/>
                      </a:lnTo>
                      <a:lnTo>
                        <a:pt x="438" y="299"/>
                      </a:lnTo>
                      <a:lnTo>
                        <a:pt x="424" y="286"/>
                      </a:lnTo>
                      <a:lnTo>
                        <a:pt x="402" y="277"/>
                      </a:lnTo>
                      <a:lnTo>
                        <a:pt x="398" y="304"/>
                      </a:lnTo>
                      <a:lnTo>
                        <a:pt x="384" y="313"/>
                      </a:lnTo>
                      <a:lnTo>
                        <a:pt x="389" y="295"/>
                      </a:lnTo>
                      <a:lnTo>
                        <a:pt x="389" y="259"/>
                      </a:lnTo>
                      <a:lnTo>
                        <a:pt x="380" y="259"/>
                      </a:lnTo>
                      <a:lnTo>
                        <a:pt x="322" y="295"/>
                      </a:lnTo>
                      <a:lnTo>
                        <a:pt x="322" y="304"/>
                      </a:lnTo>
                      <a:lnTo>
                        <a:pt x="322" y="313"/>
                      </a:lnTo>
                      <a:lnTo>
                        <a:pt x="335" y="308"/>
                      </a:lnTo>
                      <a:lnTo>
                        <a:pt x="331" y="317"/>
                      </a:lnTo>
                      <a:lnTo>
                        <a:pt x="317" y="322"/>
                      </a:lnTo>
                      <a:lnTo>
                        <a:pt x="308" y="340"/>
                      </a:lnTo>
                      <a:lnTo>
                        <a:pt x="308" y="348"/>
                      </a:lnTo>
                      <a:lnTo>
                        <a:pt x="317" y="340"/>
                      </a:lnTo>
                      <a:lnTo>
                        <a:pt x="326" y="344"/>
                      </a:lnTo>
                      <a:lnTo>
                        <a:pt x="322" y="353"/>
                      </a:lnTo>
                      <a:lnTo>
                        <a:pt x="322" y="362"/>
                      </a:lnTo>
                      <a:close/>
                      <a:moveTo>
                        <a:pt x="322" y="550"/>
                      </a:moveTo>
                      <a:lnTo>
                        <a:pt x="299" y="572"/>
                      </a:lnTo>
                      <a:lnTo>
                        <a:pt x="322" y="581"/>
                      </a:lnTo>
                      <a:lnTo>
                        <a:pt x="344" y="572"/>
                      </a:lnTo>
                      <a:lnTo>
                        <a:pt x="348" y="576"/>
                      </a:lnTo>
                      <a:lnTo>
                        <a:pt x="344" y="594"/>
                      </a:lnTo>
                      <a:lnTo>
                        <a:pt x="322" y="599"/>
                      </a:lnTo>
                      <a:lnTo>
                        <a:pt x="322" y="590"/>
                      </a:lnTo>
                      <a:lnTo>
                        <a:pt x="313" y="590"/>
                      </a:lnTo>
                      <a:lnTo>
                        <a:pt x="308" y="599"/>
                      </a:lnTo>
                      <a:lnTo>
                        <a:pt x="313" y="608"/>
                      </a:lnTo>
                      <a:lnTo>
                        <a:pt x="308" y="612"/>
                      </a:lnTo>
                      <a:lnTo>
                        <a:pt x="295" y="630"/>
                      </a:lnTo>
                      <a:lnTo>
                        <a:pt x="290" y="626"/>
                      </a:lnTo>
                      <a:lnTo>
                        <a:pt x="299" y="603"/>
                      </a:lnTo>
                      <a:lnTo>
                        <a:pt x="295" y="599"/>
                      </a:lnTo>
                      <a:lnTo>
                        <a:pt x="281" y="626"/>
                      </a:lnTo>
                      <a:lnTo>
                        <a:pt x="255" y="617"/>
                      </a:lnTo>
                      <a:lnTo>
                        <a:pt x="268" y="612"/>
                      </a:lnTo>
                      <a:lnTo>
                        <a:pt x="273" y="599"/>
                      </a:lnTo>
                      <a:lnTo>
                        <a:pt x="268" y="590"/>
                      </a:lnTo>
                      <a:lnTo>
                        <a:pt x="286" y="590"/>
                      </a:lnTo>
                      <a:lnTo>
                        <a:pt x="281" y="581"/>
                      </a:lnTo>
                      <a:lnTo>
                        <a:pt x="241" y="585"/>
                      </a:lnTo>
                      <a:lnTo>
                        <a:pt x="232" y="590"/>
                      </a:lnTo>
                      <a:lnTo>
                        <a:pt x="237" y="576"/>
                      </a:lnTo>
                      <a:lnTo>
                        <a:pt x="246" y="581"/>
                      </a:lnTo>
                      <a:lnTo>
                        <a:pt x="268" y="572"/>
                      </a:lnTo>
                      <a:lnTo>
                        <a:pt x="308" y="545"/>
                      </a:lnTo>
                      <a:lnTo>
                        <a:pt x="322" y="550"/>
                      </a:lnTo>
                      <a:close/>
                      <a:moveTo>
                        <a:pt x="335" y="107"/>
                      </a:moveTo>
                      <a:lnTo>
                        <a:pt x="313" y="143"/>
                      </a:lnTo>
                      <a:lnTo>
                        <a:pt x="313" y="152"/>
                      </a:lnTo>
                      <a:lnTo>
                        <a:pt x="326" y="156"/>
                      </a:lnTo>
                      <a:lnTo>
                        <a:pt x="340" y="107"/>
                      </a:lnTo>
                      <a:lnTo>
                        <a:pt x="335" y="107"/>
                      </a:lnTo>
                      <a:close/>
                      <a:moveTo>
                        <a:pt x="357" y="684"/>
                      </a:moveTo>
                      <a:lnTo>
                        <a:pt x="402" y="715"/>
                      </a:lnTo>
                      <a:lnTo>
                        <a:pt x="415" y="715"/>
                      </a:lnTo>
                      <a:lnTo>
                        <a:pt x="433" y="697"/>
                      </a:lnTo>
                      <a:lnTo>
                        <a:pt x="451" y="693"/>
                      </a:lnTo>
                      <a:lnTo>
                        <a:pt x="451" y="702"/>
                      </a:lnTo>
                      <a:lnTo>
                        <a:pt x="433" y="710"/>
                      </a:lnTo>
                      <a:lnTo>
                        <a:pt x="411" y="737"/>
                      </a:lnTo>
                      <a:lnTo>
                        <a:pt x="402" y="737"/>
                      </a:lnTo>
                      <a:lnTo>
                        <a:pt x="402" y="746"/>
                      </a:lnTo>
                      <a:lnTo>
                        <a:pt x="371" y="755"/>
                      </a:lnTo>
                      <a:lnTo>
                        <a:pt x="348" y="751"/>
                      </a:lnTo>
                      <a:lnTo>
                        <a:pt x="322" y="737"/>
                      </a:lnTo>
                      <a:lnTo>
                        <a:pt x="326" y="733"/>
                      </a:lnTo>
                      <a:lnTo>
                        <a:pt x="348" y="742"/>
                      </a:lnTo>
                      <a:lnTo>
                        <a:pt x="366" y="742"/>
                      </a:lnTo>
                      <a:lnTo>
                        <a:pt x="371" y="724"/>
                      </a:lnTo>
                      <a:lnTo>
                        <a:pt x="384" y="719"/>
                      </a:lnTo>
                      <a:lnTo>
                        <a:pt x="375" y="702"/>
                      </a:lnTo>
                      <a:lnTo>
                        <a:pt x="366" y="706"/>
                      </a:lnTo>
                      <a:lnTo>
                        <a:pt x="357" y="684"/>
                      </a:lnTo>
                      <a:close/>
                      <a:moveTo>
                        <a:pt x="384" y="71"/>
                      </a:moveTo>
                      <a:lnTo>
                        <a:pt x="375" y="76"/>
                      </a:lnTo>
                      <a:lnTo>
                        <a:pt x="362" y="89"/>
                      </a:lnTo>
                      <a:lnTo>
                        <a:pt x="375" y="98"/>
                      </a:lnTo>
                      <a:lnTo>
                        <a:pt x="357" y="98"/>
                      </a:lnTo>
                      <a:lnTo>
                        <a:pt x="353" y="107"/>
                      </a:lnTo>
                      <a:lnTo>
                        <a:pt x="348" y="121"/>
                      </a:lnTo>
                      <a:lnTo>
                        <a:pt x="371" y="121"/>
                      </a:lnTo>
                      <a:lnTo>
                        <a:pt x="348" y="134"/>
                      </a:lnTo>
                      <a:lnTo>
                        <a:pt x="344" y="152"/>
                      </a:lnTo>
                      <a:lnTo>
                        <a:pt x="375" y="147"/>
                      </a:lnTo>
                      <a:lnTo>
                        <a:pt x="357" y="161"/>
                      </a:lnTo>
                      <a:lnTo>
                        <a:pt x="344" y="161"/>
                      </a:lnTo>
                      <a:lnTo>
                        <a:pt x="340" y="174"/>
                      </a:lnTo>
                      <a:lnTo>
                        <a:pt x="357" y="174"/>
                      </a:lnTo>
                      <a:lnTo>
                        <a:pt x="366" y="174"/>
                      </a:lnTo>
                      <a:lnTo>
                        <a:pt x="371" y="183"/>
                      </a:lnTo>
                      <a:lnTo>
                        <a:pt x="380" y="183"/>
                      </a:lnTo>
                      <a:lnTo>
                        <a:pt x="389" y="179"/>
                      </a:lnTo>
                      <a:lnTo>
                        <a:pt x="398" y="156"/>
                      </a:lnTo>
                      <a:lnTo>
                        <a:pt x="407" y="156"/>
                      </a:lnTo>
                      <a:lnTo>
                        <a:pt x="398" y="174"/>
                      </a:lnTo>
                      <a:lnTo>
                        <a:pt x="398" y="179"/>
                      </a:lnTo>
                      <a:lnTo>
                        <a:pt x="411" y="170"/>
                      </a:lnTo>
                      <a:lnTo>
                        <a:pt x="433" y="170"/>
                      </a:lnTo>
                      <a:lnTo>
                        <a:pt x="429" y="179"/>
                      </a:lnTo>
                      <a:lnTo>
                        <a:pt x="407" y="183"/>
                      </a:lnTo>
                      <a:lnTo>
                        <a:pt x="384" y="188"/>
                      </a:lnTo>
                      <a:lnTo>
                        <a:pt x="384" y="197"/>
                      </a:lnTo>
                      <a:lnTo>
                        <a:pt x="389" y="210"/>
                      </a:lnTo>
                      <a:lnTo>
                        <a:pt x="402" y="214"/>
                      </a:lnTo>
                      <a:lnTo>
                        <a:pt x="420" y="210"/>
                      </a:lnTo>
                      <a:lnTo>
                        <a:pt x="433" y="201"/>
                      </a:lnTo>
                      <a:lnTo>
                        <a:pt x="438" y="192"/>
                      </a:lnTo>
                      <a:lnTo>
                        <a:pt x="456" y="192"/>
                      </a:lnTo>
                      <a:lnTo>
                        <a:pt x="460" y="183"/>
                      </a:lnTo>
                      <a:lnTo>
                        <a:pt x="496" y="188"/>
                      </a:lnTo>
                      <a:lnTo>
                        <a:pt x="509" y="174"/>
                      </a:lnTo>
                      <a:lnTo>
                        <a:pt x="509" y="165"/>
                      </a:lnTo>
                      <a:lnTo>
                        <a:pt x="523" y="134"/>
                      </a:lnTo>
                      <a:lnTo>
                        <a:pt x="514" y="116"/>
                      </a:lnTo>
                      <a:lnTo>
                        <a:pt x="505" y="107"/>
                      </a:lnTo>
                      <a:lnTo>
                        <a:pt x="496" y="116"/>
                      </a:lnTo>
                      <a:lnTo>
                        <a:pt x="482" y="121"/>
                      </a:lnTo>
                      <a:lnTo>
                        <a:pt x="482" y="112"/>
                      </a:lnTo>
                      <a:lnTo>
                        <a:pt x="469" y="107"/>
                      </a:lnTo>
                      <a:lnTo>
                        <a:pt x="469" y="89"/>
                      </a:lnTo>
                      <a:lnTo>
                        <a:pt x="465" y="71"/>
                      </a:lnTo>
                      <a:lnTo>
                        <a:pt x="456" y="67"/>
                      </a:lnTo>
                      <a:lnTo>
                        <a:pt x="460" y="58"/>
                      </a:lnTo>
                      <a:lnTo>
                        <a:pt x="456" y="54"/>
                      </a:lnTo>
                      <a:lnTo>
                        <a:pt x="451" y="58"/>
                      </a:lnTo>
                      <a:lnTo>
                        <a:pt x="438" y="76"/>
                      </a:lnTo>
                      <a:lnTo>
                        <a:pt x="456" y="107"/>
                      </a:lnTo>
                      <a:lnTo>
                        <a:pt x="442" y="121"/>
                      </a:lnTo>
                      <a:lnTo>
                        <a:pt x="460" y="143"/>
                      </a:lnTo>
                      <a:lnTo>
                        <a:pt x="456" y="152"/>
                      </a:lnTo>
                      <a:lnTo>
                        <a:pt x="433" y="152"/>
                      </a:lnTo>
                      <a:lnTo>
                        <a:pt x="424" y="134"/>
                      </a:lnTo>
                      <a:lnTo>
                        <a:pt x="407" y="130"/>
                      </a:lnTo>
                      <a:lnTo>
                        <a:pt x="420" y="125"/>
                      </a:lnTo>
                      <a:lnTo>
                        <a:pt x="407" y="89"/>
                      </a:lnTo>
                      <a:lnTo>
                        <a:pt x="393" y="94"/>
                      </a:lnTo>
                      <a:lnTo>
                        <a:pt x="389" y="71"/>
                      </a:lnTo>
                      <a:lnTo>
                        <a:pt x="384" y="71"/>
                      </a:lnTo>
                      <a:close/>
                      <a:moveTo>
                        <a:pt x="500" y="246"/>
                      </a:moveTo>
                      <a:lnTo>
                        <a:pt x="496" y="255"/>
                      </a:lnTo>
                      <a:lnTo>
                        <a:pt x="505" y="264"/>
                      </a:lnTo>
                      <a:lnTo>
                        <a:pt x="518" y="286"/>
                      </a:lnTo>
                      <a:lnTo>
                        <a:pt x="527" y="273"/>
                      </a:lnTo>
                      <a:lnTo>
                        <a:pt x="532" y="259"/>
                      </a:lnTo>
                      <a:lnTo>
                        <a:pt x="523" y="241"/>
                      </a:lnTo>
                      <a:lnTo>
                        <a:pt x="500" y="246"/>
                      </a:lnTo>
                      <a:close/>
                      <a:moveTo>
                        <a:pt x="585" y="183"/>
                      </a:moveTo>
                      <a:lnTo>
                        <a:pt x="616" y="179"/>
                      </a:lnTo>
                      <a:lnTo>
                        <a:pt x="621" y="156"/>
                      </a:lnTo>
                      <a:lnTo>
                        <a:pt x="630" y="161"/>
                      </a:lnTo>
                      <a:lnTo>
                        <a:pt x="625" y="143"/>
                      </a:lnTo>
                      <a:lnTo>
                        <a:pt x="621" y="143"/>
                      </a:lnTo>
                      <a:lnTo>
                        <a:pt x="634" y="112"/>
                      </a:lnTo>
                      <a:lnTo>
                        <a:pt x="630" y="76"/>
                      </a:lnTo>
                      <a:lnTo>
                        <a:pt x="612" y="71"/>
                      </a:lnTo>
                      <a:lnTo>
                        <a:pt x="608" y="85"/>
                      </a:lnTo>
                      <a:lnTo>
                        <a:pt x="599" y="76"/>
                      </a:lnTo>
                      <a:lnTo>
                        <a:pt x="590" y="71"/>
                      </a:lnTo>
                      <a:lnTo>
                        <a:pt x="581" y="80"/>
                      </a:lnTo>
                      <a:lnTo>
                        <a:pt x="590" y="98"/>
                      </a:lnTo>
                      <a:lnTo>
                        <a:pt x="599" y="103"/>
                      </a:lnTo>
                      <a:lnTo>
                        <a:pt x="594" y="107"/>
                      </a:lnTo>
                      <a:lnTo>
                        <a:pt x="594" y="125"/>
                      </a:lnTo>
                      <a:lnTo>
                        <a:pt x="581" y="103"/>
                      </a:lnTo>
                      <a:lnTo>
                        <a:pt x="576" y="89"/>
                      </a:lnTo>
                      <a:lnTo>
                        <a:pt x="563" y="89"/>
                      </a:lnTo>
                      <a:lnTo>
                        <a:pt x="563" y="103"/>
                      </a:lnTo>
                      <a:lnTo>
                        <a:pt x="572" y="103"/>
                      </a:lnTo>
                      <a:lnTo>
                        <a:pt x="567" y="112"/>
                      </a:lnTo>
                      <a:lnTo>
                        <a:pt x="576" y="138"/>
                      </a:lnTo>
                      <a:lnTo>
                        <a:pt x="572" y="143"/>
                      </a:lnTo>
                      <a:lnTo>
                        <a:pt x="563" y="138"/>
                      </a:lnTo>
                      <a:lnTo>
                        <a:pt x="549" y="152"/>
                      </a:lnTo>
                      <a:lnTo>
                        <a:pt x="549" y="161"/>
                      </a:lnTo>
                      <a:lnTo>
                        <a:pt x="576" y="152"/>
                      </a:lnTo>
                      <a:lnTo>
                        <a:pt x="594" y="152"/>
                      </a:lnTo>
                      <a:lnTo>
                        <a:pt x="585" y="161"/>
                      </a:lnTo>
                      <a:lnTo>
                        <a:pt x="585" y="174"/>
                      </a:lnTo>
                      <a:lnTo>
                        <a:pt x="585" y="183"/>
                      </a:lnTo>
                      <a:close/>
                      <a:moveTo>
                        <a:pt x="603" y="246"/>
                      </a:moveTo>
                      <a:lnTo>
                        <a:pt x="594" y="237"/>
                      </a:lnTo>
                      <a:lnTo>
                        <a:pt x="581" y="246"/>
                      </a:lnTo>
                      <a:lnTo>
                        <a:pt x="581" y="255"/>
                      </a:lnTo>
                      <a:lnTo>
                        <a:pt x="572" y="259"/>
                      </a:lnTo>
                      <a:lnTo>
                        <a:pt x="594" y="290"/>
                      </a:lnTo>
                      <a:lnTo>
                        <a:pt x="590" y="295"/>
                      </a:lnTo>
                      <a:lnTo>
                        <a:pt x="567" y="273"/>
                      </a:lnTo>
                      <a:lnTo>
                        <a:pt x="558" y="277"/>
                      </a:lnTo>
                      <a:lnTo>
                        <a:pt x="554" y="290"/>
                      </a:lnTo>
                      <a:lnTo>
                        <a:pt x="567" y="308"/>
                      </a:lnTo>
                      <a:lnTo>
                        <a:pt x="563" y="317"/>
                      </a:lnTo>
                      <a:lnTo>
                        <a:pt x="585" y="317"/>
                      </a:lnTo>
                      <a:lnTo>
                        <a:pt x="603" y="348"/>
                      </a:lnTo>
                      <a:lnTo>
                        <a:pt x="603" y="371"/>
                      </a:lnTo>
                      <a:lnTo>
                        <a:pt x="621" y="371"/>
                      </a:lnTo>
                      <a:lnTo>
                        <a:pt x="625" y="357"/>
                      </a:lnTo>
                      <a:lnTo>
                        <a:pt x="621" y="344"/>
                      </a:lnTo>
                      <a:lnTo>
                        <a:pt x="639" y="340"/>
                      </a:lnTo>
                      <a:lnTo>
                        <a:pt x="639" y="286"/>
                      </a:lnTo>
                      <a:lnTo>
                        <a:pt x="630" y="295"/>
                      </a:lnTo>
                      <a:lnTo>
                        <a:pt x="621" y="277"/>
                      </a:lnTo>
                      <a:lnTo>
                        <a:pt x="634" y="264"/>
                      </a:lnTo>
                      <a:lnTo>
                        <a:pt x="634" y="255"/>
                      </a:lnTo>
                      <a:lnTo>
                        <a:pt x="639" y="246"/>
                      </a:lnTo>
                      <a:lnTo>
                        <a:pt x="639" y="237"/>
                      </a:lnTo>
                      <a:lnTo>
                        <a:pt x="603" y="246"/>
                      </a:lnTo>
                      <a:close/>
                      <a:moveTo>
                        <a:pt x="657" y="241"/>
                      </a:moveTo>
                      <a:lnTo>
                        <a:pt x="666" y="250"/>
                      </a:lnTo>
                      <a:lnTo>
                        <a:pt x="652" y="246"/>
                      </a:lnTo>
                      <a:lnTo>
                        <a:pt x="652" y="273"/>
                      </a:lnTo>
                      <a:lnTo>
                        <a:pt x="652" y="308"/>
                      </a:lnTo>
                      <a:lnTo>
                        <a:pt x="661" y="313"/>
                      </a:lnTo>
                      <a:lnTo>
                        <a:pt x="661" y="340"/>
                      </a:lnTo>
                      <a:lnTo>
                        <a:pt x="675" y="344"/>
                      </a:lnTo>
                      <a:lnTo>
                        <a:pt x="675" y="335"/>
                      </a:lnTo>
                      <a:lnTo>
                        <a:pt x="688" y="322"/>
                      </a:lnTo>
                      <a:lnTo>
                        <a:pt x="683" y="304"/>
                      </a:lnTo>
                      <a:lnTo>
                        <a:pt x="666" y="304"/>
                      </a:lnTo>
                      <a:lnTo>
                        <a:pt x="666" y="295"/>
                      </a:lnTo>
                      <a:lnTo>
                        <a:pt x="688" y="295"/>
                      </a:lnTo>
                      <a:lnTo>
                        <a:pt x="715" y="304"/>
                      </a:lnTo>
                      <a:lnTo>
                        <a:pt x="733" y="250"/>
                      </a:lnTo>
                      <a:lnTo>
                        <a:pt x="719" y="241"/>
                      </a:lnTo>
                      <a:lnTo>
                        <a:pt x="679" y="228"/>
                      </a:lnTo>
                      <a:lnTo>
                        <a:pt x="657" y="241"/>
                      </a:lnTo>
                      <a:close/>
                      <a:moveTo>
                        <a:pt x="666" y="143"/>
                      </a:moveTo>
                      <a:lnTo>
                        <a:pt x="652" y="152"/>
                      </a:lnTo>
                      <a:lnTo>
                        <a:pt x="643" y="170"/>
                      </a:lnTo>
                      <a:lnTo>
                        <a:pt x="643" y="179"/>
                      </a:lnTo>
                      <a:lnTo>
                        <a:pt x="657" y="179"/>
                      </a:lnTo>
                      <a:lnTo>
                        <a:pt x="683" y="197"/>
                      </a:lnTo>
                      <a:lnTo>
                        <a:pt x="688" y="192"/>
                      </a:lnTo>
                      <a:lnTo>
                        <a:pt x="683" y="161"/>
                      </a:lnTo>
                      <a:lnTo>
                        <a:pt x="666" y="143"/>
                      </a:lnTo>
                      <a:close/>
                      <a:moveTo>
                        <a:pt x="697" y="76"/>
                      </a:moveTo>
                      <a:lnTo>
                        <a:pt x="688" y="89"/>
                      </a:lnTo>
                      <a:lnTo>
                        <a:pt x="692" y="71"/>
                      </a:lnTo>
                      <a:lnTo>
                        <a:pt x="679" y="62"/>
                      </a:lnTo>
                      <a:lnTo>
                        <a:pt x="657" y="54"/>
                      </a:lnTo>
                      <a:lnTo>
                        <a:pt x="634" y="58"/>
                      </a:lnTo>
                      <a:lnTo>
                        <a:pt x="639" y="76"/>
                      </a:lnTo>
                      <a:lnTo>
                        <a:pt x="661" y="103"/>
                      </a:lnTo>
                      <a:lnTo>
                        <a:pt x="683" y="107"/>
                      </a:lnTo>
                      <a:lnTo>
                        <a:pt x="697" y="98"/>
                      </a:lnTo>
                      <a:lnTo>
                        <a:pt x="710" y="138"/>
                      </a:lnTo>
                      <a:lnTo>
                        <a:pt x="701" y="152"/>
                      </a:lnTo>
                      <a:lnTo>
                        <a:pt x="710" y="197"/>
                      </a:lnTo>
                      <a:lnTo>
                        <a:pt x="719" y="205"/>
                      </a:lnTo>
                      <a:lnTo>
                        <a:pt x="724" y="197"/>
                      </a:lnTo>
                      <a:lnTo>
                        <a:pt x="737" y="210"/>
                      </a:lnTo>
                      <a:lnTo>
                        <a:pt x="746" y="205"/>
                      </a:lnTo>
                      <a:lnTo>
                        <a:pt x="750" y="197"/>
                      </a:lnTo>
                      <a:lnTo>
                        <a:pt x="759" y="192"/>
                      </a:lnTo>
                      <a:lnTo>
                        <a:pt x="759" y="205"/>
                      </a:lnTo>
                      <a:lnTo>
                        <a:pt x="782" y="205"/>
                      </a:lnTo>
                      <a:lnTo>
                        <a:pt x="809" y="205"/>
                      </a:lnTo>
                      <a:lnTo>
                        <a:pt x="826" y="205"/>
                      </a:lnTo>
                      <a:lnTo>
                        <a:pt x="835" y="192"/>
                      </a:lnTo>
                      <a:lnTo>
                        <a:pt x="840" y="201"/>
                      </a:lnTo>
                      <a:lnTo>
                        <a:pt x="853" y="210"/>
                      </a:lnTo>
                      <a:lnTo>
                        <a:pt x="871" y="201"/>
                      </a:lnTo>
                      <a:lnTo>
                        <a:pt x="871" y="192"/>
                      </a:lnTo>
                      <a:lnTo>
                        <a:pt x="884" y="188"/>
                      </a:lnTo>
                      <a:lnTo>
                        <a:pt x="880" y="179"/>
                      </a:lnTo>
                      <a:lnTo>
                        <a:pt x="871" y="179"/>
                      </a:lnTo>
                      <a:lnTo>
                        <a:pt x="884" y="165"/>
                      </a:lnTo>
                      <a:lnTo>
                        <a:pt x="884" y="143"/>
                      </a:lnTo>
                      <a:lnTo>
                        <a:pt x="867" y="134"/>
                      </a:lnTo>
                      <a:lnTo>
                        <a:pt x="849" y="130"/>
                      </a:lnTo>
                      <a:lnTo>
                        <a:pt x="835" y="134"/>
                      </a:lnTo>
                      <a:lnTo>
                        <a:pt x="826" y="130"/>
                      </a:lnTo>
                      <a:lnTo>
                        <a:pt x="800" y="138"/>
                      </a:lnTo>
                      <a:lnTo>
                        <a:pt x="791" y="152"/>
                      </a:lnTo>
                      <a:lnTo>
                        <a:pt x="773" y="143"/>
                      </a:lnTo>
                      <a:lnTo>
                        <a:pt x="759" y="138"/>
                      </a:lnTo>
                      <a:lnTo>
                        <a:pt x="750" y="143"/>
                      </a:lnTo>
                      <a:lnTo>
                        <a:pt x="737" y="134"/>
                      </a:lnTo>
                      <a:lnTo>
                        <a:pt x="737" y="125"/>
                      </a:lnTo>
                      <a:lnTo>
                        <a:pt x="724" y="121"/>
                      </a:lnTo>
                      <a:lnTo>
                        <a:pt x="733" y="116"/>
                      </a:lnTo>
                      <a:lnTo>
                        <a:pt x="724" y="112"/>
                      </a:lnTo>
                      <a:lnTo>
                        <a:pt x="724" y="107"/>
                      </a:lnTo>
                      <a:lnTo>
                        <a:pt x="746" y="107"/>
                      </a:lnTo>
                      <a:lnTo>
                        <a:pt x="750" y="103"/>
                      </a:lnTo>
                      <a:lnTo>
                        <a:pt x="719" y="89"/>
                      </a:lnTo>
                      <a:lnTo>
                        <a:pt x="728" y="85"/>
                      </a:lnTo>
                      <a:lnTo>
                        <a:pt x="710" y="67"/>
                      </a:lnTo>
                      <a:lnTo>
                        <a:pt x="701" y="76"/>
                      </a:lnTo>
                      <a:lnTo>
                        <a:pt x="697" y="76"/>
                      </a:lnTo>
                      <a:close/>
                      <a:moveTo>
                        <a:pt x="777" y="670"/>
                      </a:moveTo>
                      <a:lnTo>
                        <a:pt x="800" y="666"/>
                      </a:lnTo>
                      <a:lnTo>
                        <a:pt x="804" y="688"/>
                      </a:lnTo>
                      <a:lnTo>
                        <a:pt x="817" y="675"/>
                      </a:lnTo>
                      <a:lnTo>
                        <a:pt x="822" y="666"/>
                      </a:lnTo>
                      <a:lnTo>
                        <a:pt x="831" y="652"/>
                      </a:lnTo>
                      <a:lnTo>
                        <a:pt x="849" y="657"/>
                      </a:lnTo>
                      <a:lnTo>
                        <a:pt x="844" y="666"/>
                      </a:lnTo>
                      <a:lnTo>
                        <a:pt x="867" y="670"/>
                      </a:lnTo>
                      <a:lnTo>
                        <a:pt x="876" y="661"/>
                      </a:lnTo>
                      <a:lnTo>
                        <a:pt x="867" y="652"/>
                      </a:lnTo>
                      <a:lnTo>
                        <a:pt x="853" y="652"/>
                      </a:lnTo>
                      <a:lnTo>
                        <a:pt x="853" y="639"/>
                      </a:lnTo>
                      <a:lnTo>
                        <a:pt x="822" y="612"/>
                      </a:lnTo>
                      <a:lnTo>
                        <a:pt x="817" y="608"/>
                      </a:lnTo>
                      <a:lnTo>
                        <a:pt x="813" y="617"/>
                      </a:lnTo>
                      <a:lnTo>
                        <a:pt x="804" y="599"/>
                      </a:lnTo>
                      <a:lnTo>
                        <a:pt x="800" y="594"/>
                      </a:lnTo>
                      <a:lnTo>
                        <a:pt x="791" y="612"/>
                      </a:lnTo>
                      <a:lnTo>
                        <a:pt x="786" y="634"/>
                      </a:lnTo>
                      <a:lnTo>
                        <a:pt x="791" y="657"/>
                      </a:lnTo>
                      <a:lnTo>
                        <a:pt x="777" y="657"/>
                      </a:lnTo>
                      <a:lnTo>
                        <a:pt x="777" y="670"/>
                      </a:lnTo>
                      <a:close/>
                      <a:moveTo>
                        <a:pt x="791" y="0"/>
                      </a:moveTo>
                      <a:lnTo>
                        <a:pt x="800" y="13"/>
                      </a:lnTo>
                      <a:lnTo>
                        <a:pt x="809" y="18"/>
                      </a:lnTo>
                      <a:lnTo>
                        <a:pt x="826" y="18"/>
                      </a:lnTo>
                      <a:lnTo>
                        <a:pt x="831" y="31"/>
                      </a:lnTo>
                      <a:lnTo>
                        <a:pt x="791" y="22"/>
                      </a:lnTo>
                      <a:lnTo>
                        <a:pt x="782" y="4"/>
                      </a:lnTo>
                      <a:lnTo>
                        <a:pt x="768" y="0"/>
                      </a:lnTo>
                      <a:lnTo>
                        <a:pt x="755" y="9"/>
                      </a:lnTo>
                      <a:lnTo>
                        <a:pt x="768" y="31"/>
                      </a:lnTo>
                      <a:lnTo>
                        <a:pt x="777" y="31"/>
                      </a:lnTo>
                      <a:lnTo>
                        <a:pt x="777" y="40"/>
                      </a:lnTo>
                      <a:lnTo>
                        <a:pt x="759" y="45"/>
                      </a:lnTo>
                      <a:lnTo>
                        <a:pt x="746" y="62"/>
                      </a:lnTo>
                      <a:lnTo>
                        <a:pt x="742" y="80"/>
                      </a:lnTo>
                      <a:lnTo>
                        <a:pt x="759" y="89"/>
                      </a:lnTo>
                      <a:lnTo>
                        <a:pt x="782" y="98"/>
                      </a:lnTo>
                      <a:lnTo>
                        <a:pt x="809" y="98"/>
                      </a:lnTo>
                      <a:lnTo>
                        <a:pt x="809" y="89"/>
                      </a:lnTo>
                      <a:lnTo>
                        <a:pt x="817" y="85"/>
                      </a:lnTo>
                      <a:lnTo>
                        <a:pt x="822" y="76"/>
                      </a:lnTo>
                      <a:lnTo>
                        <a:pt x="831" y="94"/>
                      </a:lnTo>
                      <a:lnTo>
                        <a:pt x="858" y="85"/>
                      </a:lnTo>
                      <a:lnTo>
                        <a:pt x="867" y="94"/>
                      </a:lnTo>
                      <a:lnTo>
                        <a:pt x="862" y="107"/>
                      </a:lnTo>
                      <a:lnTo>
                        <a:pt x="867" y="112"/>
                      </a:lnTo>
                      <a:lnTo>
                        <a:pt x="893" y="89"/>
                      </a:lnTo>
                      <a:lnTo>
                        <a:pt x="907" y="71"/>
                      </a:lnTo>
                      <a:lnTo>
                        <a:pt x="907" y="58"/>
                      </a:lnTo>
                      <a:lnTo>
                        <a:pt x="889" y="58"/>
                      </a:lnTo>
                      <a:lnTo>
                        <a:pt x="889" y="40"/>
                      </a:lnTo>
                      <a:lnTo>
                        <a:pt x="867" y="36"/>
                      </a:lnTo>
                      <a:lnTo>
                        <a:pt x="853" y="45"/>
                      </a:lnTo>
                      <a:lnTo>
                        <a:pt x="849" y="40"/>
                      </a:lnTo>
                      <a:lnTo>
                        <a:pt x="858" y="36"/>
                      </a:lnTo>
                      <a:lnTo>
                        <a:pt x="849" y="22"/>
                      </a:lnTo>
                      <a:lnTo>
                        <a:pt x="858" y="18"/>
                      </a:lnTo>
                      <a:lnTo>
                        <a:pt x="871" y="31"/>
                      </a:lnTo>
                      <a:lnTo>
                        <a:pt x="902" y="31"/>
                      </a:lnTo>
                      <a:lnTo>
                        <a:pt x="911" y="18"/>
                      </a:lnTo>
                      <a:lnTo>
                        <a:pt x="907" y="18"/>
                      </a:lnTo>
                      <a:lnTo>
                        <a:pt x="911" y="4"/>
                      </a:lnTo>
                      <a:lnTo>
                        <a:pt x="925" y="0"/>
                      </a:lnTo>
                      <a:lnTo>
                        <a:pt x="925" y="0"/>
                      </a:lnTo>
                      <a:lnTo>
                        <a:pt x="791" y="0"/>
                      </a:lnTo>
                      <a:close/>
                      <a:moveTo>
                        <a:pt x="831" y="693"/>
                      </a:moveTo>
                      <a:lnTo>
                        <a:pt x="822" y="706"/>
                      </a:lnTo>
                      <a:lnTo>
                        <a:pt x="826" y="715"/>
                      </a:lnTo>
                      <a:lnTo>
                        <a:pt x="835" y="715"/>
                      </a:lnTo>
                      <a:lnTo>
                        <a:pt x="849" y="697"/>
                      </a:lnTo>
                      <a:lnTo>
                        <a:pt x="849" y="688"/>
                      </a:lnTo>
                      <a:lnTo>
                        <a:pt x="844" y="688"/>
                      </a:lnTo>
                      <a:lnTo>
                        <a:pt x="840" y="693"/>
                      </a:lnTo>
                      <a:lnTo>
                        <a:pt x="831" y="693"/>
                      </a:lnTo>
                      <a:close/>
                      <a:moveTo>
                        <a:pt x="831" y="1122"/>
                      </a:moveTo>
                      <a:lnTo>
                        <a:pt x="849" y="1131"/>
                      </a:lnTo>
                      <a:lnTo>
                        <a:pt x="853" y="1122"/>
                      </a:lnTo>
                      <a:lnTo>
                        <a:pt x="831" y="1122"/>
                      </a:lnTo>
                      <a:close/>
                      <a:moveTo>
                        <a:pt x="871" y="438"/>
                      </a:moveTo>
                      <a:lnTo>
                        <a:pt x="880" y="451"/>
                      </a:lnTo>
                      <a:lnTo>
                        <a:pt x="889" y="442"/>
                      </a:lnTo>
                      <a:lnTo>
                        <a:pt x="889" y="433"/>
                      </a:lnTo>
                      <a:lnTo>
                        <a:pt x="902" y="429"/>
                      </a:lnTo>
                      <a:lnTo>
                        <a:pt x="898" y="411"/>
                      </a:lnTo>
                      <a:lnTo>
                        <a:pt x="889" y="402"/>
                      </a:lnTo>
                      <a:lnTo>
                        <a:pt x="893" y="398"/>
                      </a:lnTo>
                      <a:lnTo>
                        <a:pt x="907" y="416"/>
                      </a:lnTo>
                      <a:lnTo>
                        <a:pt x="916" y="416"/>
                      </a:lnTo>
                      <a:lnTo>
                        <a:pt x="916" y="438"/>
                      </a:lnTo>
                      <a:lnTo>
                        <a:pt x="929" y="438"/>
                      </a:lnTo>
                      <a:lnTo>
                        <a:pt x="920" y="447"/>
                      </a:lnTo>
                      <a:lnTo>
                        <a:pt x="943" y="460"/>
                      </a:lnTo>
                      <a:lnTo>
                        <a:pt x="929" y="469"/>
                      </a:lnTo>
                      <a:lnTo>
                        <a:pt x="929" y="483"/>
                      </a:lnTo>
                      <a:lnTo>
                        <a:pt x="947" y="465"/>
                      </a:lnTo>
                      <a:lnTo>
                        <a:pt x="965" y="487"/>
                      </a:lnTo>
                      <a:lnTo>
                        <a:pt x="969" y="500"/>
                      </a:lnTo>
                      <a:lnTo>
                        <a:pt x="983" y="500"/>
                      </a:lnTo>
                      <a:lnTo>
                        <a:pt x="992" y="527"/>
                      </a:lnTo>
                      <a:lnTo>
                        <a:pt x="1005" y="527"/>
                      </a:lnTo>
                      <a:lnTo>
                        <a:pt x="992" y="532"/>
                      </a:lnTo>
                      <a:lnTo>
                        <a:pt x="983" y="559"/>
                      </a:lnTo>
                      <a:lnTo>
                        <a:pt x="1005" y="559"/>
                      </a:lnTo>
                      <a:lnTo>
                        <a:pt x="1010" y="541"/>
                      </a:lnTo>
                      <a:lnTo>
                        <a:pt x="1036" y="572"/>
                      </a:lnTo>
                      <a:lnTo>
                        <a:pt x="1010" y="585"/>
                      </a:lnTo>
                      <a:lnTo>
                        <a:pt x="1001" y="567"/>
                      </a:lnTo>
                      <a:lnTo>
                        <a:pt x="978" y="563"/>
                      </a:lnTo>
                      <a:lnTo>
                        <a:pt x="960" y="585"/>
                      </a:lnTo>
                      <a:lnTo>
                        <a:pt x="974" y="594"/>
                      </a:lnTo>
                      <a:lnTo>
                        <a:pt x="974" y="612"/>
                      </a:lnTo>
                      <a:lnTo>
                        <a:pt x="965" y="608"/>
                      </a:lnTo>
                      <a:lnTo>
                        <a:pt x="934" y="612"/>
                      </a:lnTo>
                      <a:lnTo>
                        <a:pt x="916" y="603"/>
                      </a:lnTo>
                      <a:lnTo>
                        <a:pt x="902" y="626"/>
                      </a:lnTo>
                      <a:lnTo>
                        <a:pt x="902" y="639"/>
                      </a:lnTo>
                      <a:lnTo>
                        <a:pt x="911" y="648"/>
                      </a:lnTo>
                      <a:lnTo>
                        <a:pt x="925" y="648"/>
                      </a:lnTo>
                      <a:lnTo>
                        <a:pt x="929" y="643"/>
                      </a:lnTo>
                      <a:lnTo>
                        <a:pt x="965" y="643"/>
                      </a:lnTo>
                      <a:lnTo>
                        <a:pt x="1001" y="666"/>
                      </a:lnTo>
                      <a:lnTo>
                        <a:pt x="992" y="675"/>
                      </a:lnTo>
                      <a:lnTo>
                        <a:pt x="996" y="688"/>
                      </a:lnTo>
                      <a:lnTo>
                        <a:pt x="1010" y="688"/>
                      </a:lnTo>
                      <a:lnTo>
                        <a:pt x="1014" y="697"/>
                      </a:lnTo>
                      <a:lnTo>
                        <a:pt x="1005" y="693"/>
                      </a:lnTo>
                      <a:lnTo>
                        <a:pt x="1010" y="706"/>
                      </a:lnTo>
                      <a:lnTo>
                        <a:pt x="1018" y="706"/>
                      </a:lnTo>
                      <a:lnTo>
                        <a:pt x="1023" y="697"/>
                      </a:lnTo>
                      <a:lnTo>
                        <a:pt x="1081" y="724"/>
                      </a:lnTo>
                      <a:lnTo>
                        <a:pt x="1081" y="710"/>
                      </a:lnTo>
                      <a:lnTo>
                        <a:pt x="1041" y="666"/>
                      </a:lnTo>
                      <a:lnTo>
                        <a:pt x="1041" y="657"/>
                      </a:lnTo>
                      <a:lnTo>
                        <a:pt x="1094" y="693"/>
                      </a:lnTo>
                      <a:lnTo>
                        <a:pt x="1103" y="661"/>
                      </a:lnTo>
                      <a:lnTo>
                        <a:pt x="1094" y="634"/>
                      </a:lnTo>
                      <a:lnTo>
                        <a:pt x="1072" y="626"/>
                      </a:lnTo>
                      <a:lnTo>
                        <a:pt x="1050" y="590"/>
                      </a:lnTo>
                      <a:lnTo>
                        <a:pt x="1063" y="590"/>
                      </a:lnTo>
                      <a:lnTo>
                        <a:pt x="1063" y="585"/>
                      </a:lnTo>
                      <a:lnTo>
                        <a:pt x="1063" y="581"/>
                      </a:lnTo>
                      <a:lnTo>
                        <a:pt x="1072" y="576"/>
                      </a:lnTo>
                      <a:lnTo>
                        <a:pt x="1103" y="621"/>
                      </a:lnTo>
                      <a:lnTo>
                        <a:pt x="1117" y="626"/>
                      </a:lnTo>
                      <a:lnTo>
                        <a:pt x="1117" y="599"/>
                      </a:lnTo>
                      <a:lnTo>
                        <a:pt x="1135" y="603"/>
                      </a:lnTo>
                      <a:lnTo>
                        <a:pt x="1139" y="585"/>
                      </a:lnTo>
                      <a:lnTo>
                        <a:pt x="1152" y="567"/>
                      </a:lnTo>
                      <a:lnTo>
                        <a:pt x="1139" y="545"/>
                      </a:lnTo>
                      <a:lnTo>
                        <a:pt x="1121" y="541"/>
                      </a:lnTo>
                      <a:lnTo>
                        <a:pt x="1121" y="532"/>
                      </a:lnTo>
                      <a:lnTo>
                        <a:pt x="1094" y="505"/>
                      </a:lnTo>
                      <a:lnTo>
                        <a:pt x="1068" y="500"/>
                      </a:lnTo>
                      <a:lnTo>
                        <a:pt x="1068" y="487"/>
                      </a:lnTo>
                      <a:lnTo>
                        <a:pt x="1054" y="487"/>
                      </a:lnTo>
                      <a:lnTo>
                        <a:pt x="1054" y="456"/>
                      </a:lnTo>
                      <a:lnTo>
                        <a:pt x="1068" y="460"/>
                      </a:lnTo>
                      <a:lnTo>
                        <a:pt x="1077" y="451"/>
                      </a:lnTo>
                      <a:lnTo>
                        <a:pt x="1054" y="438"/>
                      </a:lnTo>
                      <a:lnTo>
                        <a:pt x="1068" y="433"/>
                      </a:lnTo>
                      <a:lnTo>
                        <a:pt x="1054" y="411"/>
                      </a:lnTo>
                      <a:lnTo>
                        <a:pt x="1041" y="420"/>
                      </a:lnTo>
                      <a:lnTo>
                        <a:pt x="1050" y="407"/>
                      </a:lnTo>
                      <a:lnTo>
                        <a:pt x="1023" y="398"/>
                      </a:lnTo>
                      <a:lnTo>
                        <a:pt x="1005" y="407"/>
                      </a:lnTo>
                      <a:lnTo>
                        <a:pt x="1014" y="389"/>
                      </a:lnTo>
                      <a:lnTo>
                        <a:pt x="1014" y="375"/>
                      </a:lnTo>
                      <a:lnTo>
                        <a:pt x="1005" y="375"/>
                      </a:lnTo>
                      <a:lnTo>
                        <a:pt x="1010" y="362"/>
                      </a:lnTo>
                      <a:lnTo>
                        <a:pt x="1005" y="353"/>
                      </a:lnTo>
                      <a:lnTo>
                        <a:pt x="983" y="344"/>
                      </a:lnTo>
                      <a:lnTo>
                        <a:pt x="978" y="357"/>
                      </a:lnTo>
                      <a:lnTo>
                        <a:pt x="969" y="335"/>
                      </a:lnTo>
                      <a:lnTo>
                        <a:pt x="956" y="344"/>
                      </a:lnTo>
                      <a:lnTo>
                        <a:pt x="956" y="335"/>
                      </a:lnTo>
                      <a:lnTo>
                        <a:pt x="965" y="326"/>
                      </a:lnTo>
                      <a:lnTo>
                        <a:pt x="960" y="317"/>
                      </a:lnTo>
                      <a:lnTo>
                        <a:pt x="951" y="317"/>
                      </a:lnTo>
                      <a:lnTo>
                        <a:pt x="947" y="313"/>
                      </a:lnTo>
                      <a:lnTo>
                        <a:pt x="951" y="308"/>
                      </a:lnTo>
                      <a:lnTo>
                        <a:pt x="951" y="295"/>
                      </a:lnTo>
                      <a:lnTo>
                        <a:pt x="920" y="281"/>
                      </a:lnTo>
                      <a:lnTo>
                        <a:pt x="907" y="295"/>
                      </a:lnTo>
                      <a:lnTo>
                        <a:pt x="911" y="304"/>
                      </a:lnTo>
                      <a:lnTo>
                        <a:pt x="902" y="304"/>
                      </a:lnTo>
                      <a:lnTo>
                        <a:pt x="902" y="313"/>
                      </a:lnTo>
                      <a:lnTo>
                        <a:pt x="889" y="304"/>
                      </a:lnTo>
                      <a:lnTo>
                        <a:pt x="884" y="308"/>
                      </a:lnTo>
                      <a:lnTo>
                        <a:pt x="880" y="299"/>
                      </a:lnTo>
                      <a:lnTo>
                        <a:pt x="871" y="326"/>
                      </a:lnTo>
                      <a:lnTo>
                        <a:pt x="871" y="290"/>
                      </a:lnTo>
                      <a:lnTo>
                        <a:pt x="867" y="268"/>
                      </a:lnTo>
                      <a:lnTo>
                        <a:pt x="862" y="264"/>
                      </a:lnTo>
                      <a:lnTo>
                        <a:pt x="858" y="241"/>
                      </a:lnTo>
                      <a:lnTo>
                        <a:pt x="840" y="241"/>
                      </a:lnTo>
                      <a:lnTo>
                        <a:pt x="809" y="259"/>
                      </a:lnTo>
                      <a:lnTo>
                        <a:pt x="813" y="268"/>
                      </a:lnTo>
                      <a:lnTo>
                        <a:pt x="804" y="273"/>
                      </a:lnTo>
                      <a:lnTo>
                        <a:pt x="804" y="304"/>
                      </a:lnTo>
                      <a:lnTo>
                        <a:pt x="809" y="308"/>
                      </a:lnTo>
                      <a:lnTo>
                        <a:pt x="804" y="331"/>
                      </a:lnTo>
                      <a:lnTo>
                        <a:pt x="804" y="344"/>
                      </a:lnTo>
                      <a:lnTo>
                        <a:pt x="817" y="344"/>
                      </a:lnTo>
                      <a:lnTo>
                        <a:pt x="813" y="371"/>
                      </a:lnTo>
                      <a:lnTo>
                        <a:pt x="795" y="375"/>
                      </a:lnTo>
                      <a:lnTo>
                        <a:pt x="795" y="371"/>
                      </a:lnTo>
                      <a:lnTo>
                        <a:pt x="809" y="362"/>
                      </a:lnTo>
                      <a:lnTo>
                        <a:pt x="804" y="357"/>
                      </a:lnTo>
                      <a:lnTo>
                        <a:pt x="791" y="322"/>
                      </a:lnTo>
                      <a:lnTo>
                        <a:pt x="795" y="304"/>
                      </a:lnTo>
                      <a:lnTo>
                        <a:pt x="791" y="290"/>
                      </a:lnTo>
                      <a:lnTo>
                        <a:pt x="809" y="241"/>
                      </a:lnTo>
                      <a:lnTo>
                        <a:pt x="791" y="237"/>
                      </a:lnTo>
                      <a:lnTo>
                        <a:pt x="755" y="264"/>
                      </a:lnTo>
                      <a:lnTo>
                        <a:pt x="737" y="322"/>
                      </a:lnTo>
                      <a:lnTo>
                        <a:pt x="737" y="366"/>
                      </a:lnTo>
                      <a:lnTo>
                        <a:pt x="768" y="371"/>
                      </a:lnTo>
                      <a:lnTo>
                        <a:pt x="777" y="384"/>
                      </a:lnTo>
                      <a:lnTo>
                        <a:pt x="759" y="380"/>
                      </a:lnTo>
                      <a:lnTo>
                        <a:pt x="742" y="380"/>
                      </a:lnTo>
                      <a:lnTo>
                        <a:pt x="759" y="416"/>
                      </a:lnTo>
                      <a:lnTo>
                        <a:pt x="773" y="420"/>
                      </a:lnTo>
                      <a:lnTo>
                        <a:pt x="786" y="411"/>
                      </a:lnTo>
                      <a:lnTo>
                        <a:pt x="800" y="429"/>
                      </a:lnTo>
                      <a:lnTo>
                        <a:pt x="831" y="429"/>
                      </a:lnTo>
                      <a:lnTo>
                        <a:pt x="853" y="438"/>
                      </a:lnTo>
                      <a:lnTo>
                        <a:pt x="858" y="429"/>
                      </a:lnTo>
                      <a:lnTo>
                        <a:pt x="871" y="438"/>
                      </a:lnTo>
                      <a:close/>
                      <a:moveTo>
                        <a:pt x="880" y="702"/>
                      </a:moveTo>
                      <a:lnTo>
                        <a:pt x="871" y="715"/>
                      </a:lnTo>
                      <a:lnTo>
                        <a:pt x="871" y="724"/>
                      </a:lnTo>
                      <a:lnTo>
                        <a:pt x="880" y="728"/>
                      </a:lnTo>
                      <a:lnTo>
                        <a:pt x="884" y="733"/>
                      </a:lnTo>
                      <a:lnTo>
                        <a:pt x="889" y="706"/>
                      </a:lnTo>
                      <a:lnTo>
                        <a:pt x="884" y="702"/>
                      </a:lnTo>
                      <a:lnTo>
                        <a:pt x="880" y="702"/>
                      </a:lnTo>
                      <a:close/>
                      <a:moveTo>
                        <a:pt x="934" y="496"/>
                      </a:moveTo>
                      <a:lnTo>
                        <a:pt x="920" y="514"/>
                      </a:lnTo>
                      <a:lnTo>
                        <a:pt x="920" y="536"/>
                      </a:lnTo>
                      <a:lnTo>
                        <a:pt x="929" y="536"/>
                      </a:lnTo>
                      <a:lnTo>
                        <a:pt x="943" y="536"/>
                      </a:lnTo>
                      <a:lnTo>
                        <a:pt x="951" y="523"/>
                      </a:lnTo>
                      <a:lnTo>
                        <a:pt x="947" y="505"/>
                      </a:lnTo>
                      <a:lnTo>
                        <a:pt x="951" y="496"/>
                      </a:lnTo>
                      <a:lnTo>
                        <a:pt x="934" y="496"/>
                      </a:lnTo>
                      <a:close/>
                      <a:moveTo>
                        <a:pt x="956" y="1148"/>
                      </a:moveTo>
                      <a:lnTo>
                        <a:pt x="1001" y="1144"/>
                      </a:lnTo>
                      <a:lnTo>
                        <a:pt x="1014" y="1122"/>
                      </a:lnTo>
                      <a:lnTo>
                        <a:pt x="1032" y="1095"/>
                      </a:lnTo>
                      <a:lnTo>
                        <a:pt x="1036" y="1099"/>
                      </a:lnTo>
                      <a:lnTo>
                        <a:pt x="1045" y="1095"/>
                      </a:lnTo>
                      <a:lnTo>
                        <a:pt x="1054" y="1135"/>
                      </a:lnTo>
                      <a:lnTo>
                        <a:pt x="1063" y="1139"/>
                      </a:lnTo>
                      <a:lnTo>
                        <a:pt x="1077" y="1139"/>
                      </a:lnTo>
                      <a:lnTo>
                        <a:pt x="1094" y="1135"/>
                      </a:lnTo>
                      <a:lnTo>
                        <a:pt x="1108" y="1139"/>
                      </a:lnTo>
                      <a:lnTo>
                        <a:pt x="1099" y="1139"/>
                      </a:lnTo>
                      <a:lnTo>
                        <a:pt x="1081" y="1153"/>
                      </a:lnTo>
                      <a:lnTo>
                        <a:pt x="1077" y="1166"/>
                      </a:lnTo>
                      <a:lnTo>
                        <a:pt x="1090" y="1175"/>
                      </a:lnTo>
                      <a:lnTo>
                        <a:pt x="1103" y="1153"/>
                      </a:lnTo>
                      <a:lnTo>
                        <a:pt x="1117" y="1157"/>
                      </a:lnTo>
                      <a:lnTo>
                        <a:pt x="1152" y="1139"/>
                      </a:lnTo>
                      <a:lnTo>
                        <a:pt x="1152" y="1131"/>
                      </a:lnTo>
                      <a:lnTo>
                        <a:pt x="1157" y="1135"/>
                      </a:lnTo>
                      <a:lnTo>
                        <a:pt x="1166" y="1131"/>
                      </a:lnTo>
                      <a:lnTo>
                        <a:pt x="1175" y="1122"/>
                      </a:lnTo>
                      <a:lnTo>
                        <a:pt x="1170" y="1117"/>
                      </a:lnTo>
                      <a:lnTo>
                        <a:pt x="1166" y="1117"/>
                      </a:lnTo>
                      <a:lnTo>
                        <a:pt x="1161" y="1122"/>
                      </a:lnTo>
                      <a:lnTo>
                        <a:pt x="1166" y="1099"/>
                      </a:lnTo>
                      <a:lnTo>
                        <a:pt x="1157" y="1099"/>
                      </a:lnTo>
                      <a:lnTo>
                        <a:pt x="1148" y="1122"/>
                      </a:lnTo>
                      <a:lnTo>
                        <a:pt x="1152" y="1131"/>
                      </a:lnTo>
                      <a:lnTo>
                        <a:pt x="1139" y="1126"/>
                      </a:lnTo>
                      <a:lnTo>
                        <a:pt x="1126" y="1131"/>
                      </a:lnTo>
                      <a:lnTo>
                        <a:pt x="1108" y="1122"/>
                      </a:lnTo>
                      <a:lnTo>
                        <a:pt x="1094" y="1104"/>
                      </a:lnTo>
                      <a:lnTo>
                        <a:pt x="1099" y="1090"/>
                      </a:lnTo>
                      <a:lnTo>
                        <a:pt x="1094" y="1086"/>
                      </a:lnTo>
                      <a:lnTo>
                        <a:pt x="1085" y="1095"/>
                      </a:lnTo>
                      <a:lnTo>
                        <a:pt x="1077" y="1081"/>
                      </a:lnTo>
                      <a:lnTo>
                        <a:pt x="1077" y="1077"/>
                      </a:lnTo>
                      <a:lnTo>
                        <a:pt x="1090" y="1081"/>
                      </a:lnTo>
                      <a:lnTo>
                        <a:pt x="1108" y="1072"/>
                      </a:lnTo>
                      <a:lnTo>
                        <a:pt x="1103" y="1059"/>
                      </a:lnTo>
                      <a:lnTo>
                        <a:pt x="1094" y="1055"/>
                      </a:lnTo>
                      <a:lnTo>
                        <a:pt x="1085" y="1050"/>
                      </a:lnTo>
                      <a:lnTo>
                        <a:pt x="1077" y="1055"/>
                      </a:lnTo>
                      <a:lnTo>
                        <a:pt x="1045" y="1068"/>
                      </a:lnTo>
                      <a:lnTo>
                        <a:pt x="1023" y="1095"/>
                      </a:lnTo>
                      <a:lnTo>
                        <a:pt x="1014" y="1108"/>
                      </a:lnTo>
                      <a:lnTo>
                        <a:pt x="996" y="1113"/>
                      </a:lnTo>
                      <a:lnTo>
                        <a:pt x="956" y="1148"/>
                      </a:lnTo>
                      <a:close/>
                      <a:moveTo>
                        <a:pt x="1085" y="733"/>
                      </a:moveTo>
                      <a:lnTo>
                        <a:pt x="1099" y="746"/>
                      </a:lnTo>
                      <a:lnTo>
                        <a:pt x="1103" y="733"/>
                      </a:lnTo>
                      <a:lnTo>
                        <a:pt x="1099" y="728"/>
                      </a:lnTo>
                      <a:lnTo>
                        <a:pt x="1085" y="733"/>
                      </a:lnTo>
                      <a:close/>
                      <a:moveTo>
                        <a:pt x="1103" y="1041"/>
                      </a:moveTo>
                      <a:lnTo>
                        <a:pt x="1117" y="1050"/>
                      </a:lnTo>
                      <a:lnTo>
                        <a:pt x="1117" y="1055"/>
                      </a:lnTo>
                      <a:lnTo>
                        <a:pt x="1144" y="1059"/>
                      </a:lnTo>
                      <a:lnTo>
                        <a:pt x="1144" y="1050"/>
                      </a:lnTo>
                      <a:lnTo>
                        <a:pt x="1130" y="1046"/>
                      </a:lnTo>
                      <a:lnTo>
                        <a:pt x="1108" y="1041"/>
                      </a:lnTo>
                      <a:lnTo>
                        <a:pt x="1103" y="1041"/>
                      </a:lnTo>
                      <a:close/>
                      <a:moveTo>
                        <a:pt x="1112" y="1099"/>
                      </a:moveTo>
                      <a:lnTo>
                        <a:pt x="1103" y="1108"/>
                      </a:lnTo>
                      <a:lnTo>
                        <a:pt x="1117" y="1122"/>
                      </a:lnTo>
                      <a:lnTo>
                        <a:pt x="1130" y="1122"/>
                      </a:lnTo>
                      <a:lnTo>
                        <a:pt x="1139" y="1113"/>
                      </a:lnTo>
                      <a:lnTo>
                        <a:pt x="1117" y="1113"/>
                      </a:lnTo>
                      <a:lnTo>
                        <a:pt x="1112" y="1099"/>
                      </a:lnTo>
                      <a:close/>
                      <a:moveTo>
                        <a:pt x="1237" y="996"/>
                      </a:moveTo>
                      <a:lnTo>
                        <a:pt x="1228" y="996"/>
                      </a:lnTo>
                      <a:lnTo>
                        <a:pt x="1215" y="1005"/>
                      </a:lnTo>
                      <a:lnTo>
                        <a:pt x="1211" y="1010"/>
                      </a:lnTo>
                      <a:lnTo>
                        <a:pt x="1184" y="1068"/>
                      </a:lnTo>
                      <a:lnTo>
                        <a:pt x="1188" y="1072"/>
                      </a:lnTo>
                      <a:lnTo>
                        <a:pt x="1175" y="1081"/>
                      </a:lnTo>
                      <a:lnTo>
                        <a:pt x="1179" y="1090"/>
                      </a:lnTo>
                      <a:lnTo>
                        <a:pt x="1215" y="1090"/>
                      </a:lnTo>
                      <a:lnTo>
                        <a:pt x="1224" y="1086"/>
                      </a:lnTo>
                      <a:lnTo>
                        <a:pt x="1228" y="1090"/>
                      </a:lnTo>
                      <a:lnTo>
                        <a:pt x="1233" y="1086"/>
                      </a:lnTo>
                      <a:lnTo>
                        <a:pt x="1237" y="1086"/>
                      </a:lnTo>
                      <a:lnTo>
                        <a:pt x="1224" y="1104"/>
                      </a:lnTo>
                      <a:lnTo>
                        <a:pt x="1233" y="1104"/>
                      </a:lnTo>
                      <a:lnTo>
                        <a:pt x="1237" y="1095"/>
                      </a:lnTo>
                      <a:lnTo>
                        <a:pt x="1251" y="1081"/>
                      </a:lnTo>
                      <a:lnTo>
                        <a:pt x="1246" y="1099"/>
                      </a:lnTo>
                      <a:lnTo>
                        <a:pt x="1246" y="1108"/>
                      </a:lnTo>
                      <a:lnTo>
                        <a:pt x="1255" y="1095"/>
                      </a:lnTo>
                      <a:lnTo>
                        <a:pt x="1260" y="1108"/>
                      </a:lnTo>
                      <a:lnTo>
                        <a:pt x="1269" y="1104"/>
                      </a:lnTo>
                      <a:lnTo>
                        <a:pt x="1273" y="1095"/>
                      </a:lnTo>
                      <a:lnTo>
                        <a:pt x="1273" y="1086"/>
                      </a:lnTo>
                      <a:lnTo>
                        <a:pt x="1264" y="1095"/>
                      </a:lnTo>
                      <a:lnTo>
                        <a:pt x="1269" y="1077"/>
                      </a:lnTo>
                      <a:lnTo>
                        <a:pt x="1255" y="1086"/>
                      </a:lnTo>
                      <a:lnTo>
                        <a:pt x="1260" y="1077"/>
                      </a:lnTo>
                      <a:lnTo>
                        <a:pt x="1269" y="1072"/>
                      </a:lnTo>
                      <a:lnTo>
                        <a:pt x="1269" y="1063"/>
                      </a:lnTo>
                      <a:lnTo>
                        <a:pt x="1255" y="1072"/>
                      </a:lnTo>
                      <a:lnTo>
                        <a:pt x="1255" y="1063"/>
                      </a:lnTo>
                      <a:lnTo>
                        <a:pt x="1260" y="1055"/>
                      </a:lnTo>
                      <a:lnTo>
                        <a:pt x="1251" y="1046"/>
                      </a:lnTo>
                      <a:lnTo>
                        <a:pt x="1237" y="1055"/>
                      </a:lnTo>
                      <a:lnTo>
                        <a:pt x="1228" y="1055"/>
                      </a:lnTo>
                      <a:lnTo>
                        <a:pt x="1233" y="1037"/>
                      </a:lnTo>
                      <a:lnTo>
                        <a:pt x="1224" y="1032"/>
                      </a:lnTo>
                      <a:lnTo>
                        <a:pt x="1215" y="1050"/>
                      </a:lnTo>
                      <a:lnTo>
                        <a:pt x="1211" y="1046"/>
                      </a:lnTo>
                      <a:lnTo>
                        <a:pt x="1228" y="1019"/>
                      </a:lnTo>
                      <a:lnTo>
                        <a:pt x="1237" y="99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73" name="Freeform 71"/>
                <p:cNvSpPr>
                  <a:spLocks noEditPoints="1"/>
                </p:cNvSpPr>
                <p:nvPr/>
              </p:nvSpPr>
              <p:spPr bwMode="gray">
                <a:xfrm>
                  <a:off x="1606" y="3043"/>
                  <a:ext cx="125" cy="724"/>
                </a:xfrm>
                <a:custGeom>
                  <a:avLst/>
                  <a:gdLst>
                    <a:gd name="T0" fmla="*/ 71 w 125"/>
                    <a:gd name="T1" fmla="*/ 80 h 724"/>
                    <a:gd name="T2" fmla="*/ 67 w 125"/>
                    <a:gd name="T3" fmla="*/ 125 h 724"/>
                    <a:gd name="T4" fmla="*/ 58 w 125"/>
                    <a:gd name="T5" fmla="*/ 197 h 724"/>
                    <a:gd name="T6" fmla="*/ 49 w 125"/>
                    <a:gd name="T7" fmla="*/ 250 h 724"/>
                    <a:gd name="T8" fmla="*/ 31 w 125"/>
                    <a:gd name="T9" fmla="*/ 375 h 724"/>
                    <a:gd name="T10" fmla="*/ 27 w 125"/>
                    <a:gd name="T11" fmla="*/ 407 h 724"/>
                    <a:gd name="T12" fmla="*/ 27 w 125"/>
                    <a:gd name="T13" fmla="*/ 438 h 724"/>
                    <a:gd name="T14" fmla="*/ 27 w 125"/>
                    <a:gd name="T15" fmla="*/ 465 h 724"/>
                    <a:gd name="T16" fmla="*/ 9 w 125"/>
                    <a:gd name="T17" fmla="*/ 500 h 724"/>
                    <a:gd name="T18" fmla="*/ 4 w 125"/>
                    <a:gd name="T19" fmla="*/ 518 h 724"/>
                    <a:gd name="T20" fmla="*/ 18 w 125"/>
                    <a:gd name="T21" fmla="*/ 527 h 724"/>
                    <a:gd name="T22" fmla="*/ 13 w 125"/>
                    <a:gd name="T23" fmla="*/ 599 h 724"/>
                    <a:gd name="T24" fmla="*/ 18 w 125"/>
                    <a:gd name="T25" fmla="*/ 626 h 724"/>
                    <a:gd name="T26" fmla="*/ 27 w 125"/>
                    <a:gd name="T27" fmla="*/ 652 h 724"/>
                    <a:gd name="T28" fmla="*/ 49 w 125"/>
                    <a:gd name="T29" fmla="*/ 666 h 724"/>
                    <a:gd name="T30" fmla="*/ 85 w 125"/>
                    <a:gd name="T31" fmla="*/ 643 h 724"/>
                    <a:gd name="T32" fmla="*/ 40 w 125"/>
                    <a:gd name="T33" fmla="*/ 621 h 724"/>
                    <a:gd name="T34" fmla="*/ 27 w 125"/>
                    <a:gd name="T35" fmla="*/ 576 h 724"/>
                    <a:gd name="T36" fmla="*/ 49 w 125"/>
                    <a:gd name="T37" fmla="*/ 509 h 724"/>
                    <a:gd name="T38" fmla="*/ 49 w 125"/>
                    <a:gd name="T39" fmla="*/ 474 h 724"/>
                    <a:gd name="T40" fmla="*/ 49 w 125"/>
                    <a:gd name="T41" fmla="*/ 465 h 724"/>
                    <a:gd name="T42" fmla="*/ 54 w 125"/>
                    <a:gd name="T43" fmla="*/ 416 h 724"/>
                    <a:gd name="T44" fmla="*/ 54 w 125"/>
                    <a:gd name="T45" fmla="*/ 371 h 724"/>
                    <a:gd name="T46" fmla="*/ 58 w 125"/>
                    <a:gd name="T47" fmla="*/ 317 h 724"/>
                    <a:gd name="T48" fmla="*/ 80 w 125"/>
                    <a:gd name="T49" fmla="*/ 268 h 724"/>
                    <a:gd name="T50" fmla="*/ 67 w 125"/>
                    <a:gd name="T51" fmla="*/ 223 h 724"/>
                    <a:gd name="T52" fmla="*/ 76 w 125"/>
                    <a:gd name="T53" fmla="*/ 188 h 724"/>
                    <a:gd name="T54" fmla="*/ 89 w 125"/>
                    <a:gd name="T55" fmla="*/ 138 h 724"/>
                    <a:gd name="T56" fmla="*/ 116 w 125"/>
                    <a:gd name="T57" fmla="*/ 80 h 724"/>
                    <a:gd name="T58" fmla="*/ 94 w 125"/>
                    <a:gd name="T59" fmla="*/ 22 h 724"/>
                    <a:gd name="T60" fmla="*/ 71 w 125"/>
                    <a:gd name="T61" fmla="*/ 9 h 724"/>
                    <a:gd name="T62" fmla="*/ 67 w 125"/>
                    <a:gd name="T63" fmla="*/ 675 h 724"/>
                    <a:gd name="T64" fmla="*/ 71 w 125"/>
                    <a:gd name="T65" fmla="*/ 675 h 724"/>
                    <a:gd name="T66" fmla="*/ 98 w 125"/>
                    <a:gd name="T67" fmla="*/ 643 h 724"/>
                    <a:gd name="T68" fmla="*/ 76 w 125"/>
                    <a:gd name="T69" fmla="*/ 666 h 724"/>
                    <a:gd name="T70" fmla="*/ 80 w 125"/>
                    <a:gd name="T71" fmla="*/ 679 h 724"/>
                    <a:gd name="T72" fmla="*/ 13 w 125"/>
                    <a:gd name="T73" fmla="*/ 648 h 724"/>
                    <a:gd name="T74" fmla="*/ 27 w 125"/>
                    <a:gd name="T75" fmla="*/ 670 h 724"/>
                    <a:gd name="T76" fmla="*/ 49 w 125"/>
                    <a:gd name="T77" fmla="*/ 679 h 724"/>
                    <a:gd name="T78" fmla="*/ 54 w 125"/>
                    <a:gd name="T79" fmla="*/ 697 h 724"/>
                    <a:gd name="T80" fmla="*/ 71 w 125"/>
                    <a:gd name="T81" fmla="*/ 702 h 724"/>
                    <a:gd name="T82" fmla="*/ 76 w 125"/>
                    <a:gd name="T83" fmla="*/ 702 h 724"/>
                    <a:gd name="T84" fmla="*/ 89 w 125"/>
                    <a:gd name="T85" fmla="*/ 724 h 724"/>
                    <a:gd name="T86" fmla="*/ 94 w 125"/>
                    <a:gd name="T87" fmla="*/ 724 h 724"/>
                    <a:gd name="T88" fmla="*/ 107 w 125"/>
                    <a:gd name="T89" fmla="*/ 715 h 724"/>
                    <a:gd name="T90" fmla="*/ 107 w 125"/>
                    <a:gd name="T91" fmla="*/ 710 h 724"/>
                    <a:gd name="T92" fmla="*/ 121 w 125"/>
                    <a:gd name="T93" fmla="*/ 706 h 724"/>
                    <a:gd name="T94" fmla="*/ 98 w 125"/>
                    <a:gd name="T95" fmla="*/ 702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724">
                      <a:moveTo>
                        <a:pt x="71" y="9"/>
                      </a:moveTo>
                      <a:lnTo>
                        <a:pt x="71" y="31"/>
                      </a:lnTo>
                      <a:lnTo>
                        <a:pt x="71" y="80"/>
                      </a:lnTo>
                      <a:lnTo>
                        <a:pt x="67" y="85"/>
                      </a:lnTo>
                      <a:lnTo>
                        <a:pt x="67" y="121"/>
                      </a:lnTo>
                      <a:lnTo>
                        <a:pt x="67" y="125"/>
                      </a:lnTo>
                      <a:lnTo>
                        <a:pt x="67" y="138"/>
                      </a:lnTo>
                      <a:lnTo>
                        <a:pt x="54" y="183"/>
                      </a:lnTo>
                      <a:lnTo>
                        <a:pt x="58" y="197"/>
                      </a:lnTo>
                      <a:lnTo>
                        <a:pt x="49" y="205"/>
                      </a:lnTo>
                      <a:lnTo>
                        <a:pt x="54" y="241"/>
                      </a:lnTo>
                      <a:lnTo>
                        <a:pt x="49" y="250"/>
                      </a:lnTo>
                      <a:lnTo>
                        <a:pt x="54" y="259"/>
                      </a:lnTo>
                      <a:lnTo>
                        <a:pt x="27" y="326"/>
                      </a:lnTo>
                      <a:lnTo>
                        <a:pt x="31" y="375"/>
                      </a:lnTo>
                      <a:lnTo>
                        <a:pt x="22" y="380"/>
                      </a:lnTo>
                      <a:lnTo>
                        <a:pt x="27" y="398"/>
                      </a:lnTo>
                      <a:lnTo>
                        <a:pt x="27" y="407"/>
                      </a:lnTo>
                      <a:lnTo>
                        <a:pt x="22" y="411"/>
                      </a:lnTo>
                      <a:lnTo>
                        <a:pt x="22" y="442"/>
                      </a:lnTo>
                      <a:lnTo>
                        <a:pt x="27" y="438"/>
                      </a:lnTo>
                      <a:lnTo>
                        <a:pt x="31" y="416"/>
                      </a:lnTo>
                      <a:lnTo>
                        <a:pt x="40" y="416"/>
                      </a:lnTo>
                      <a:lnTo>
                        <a:pt x="27" y="465"/>
                      </a:lnTo>
                      <a:lnTo>
                        <a:pt x="27" y="451"/>
                      </a:lnTo>
                      <a:lnTo>
                        <a:pt x="22" y="456"/>
                      </a:lnTo>
                      <a:lnTo>
                        <a:pt x="9" y="500"/>
                      </a:lnTo>
                      <a:lnTo>
                        <a:pt x="0" y="509"/>
                      </a:lnTo>
                      <a:lnTo>
                        <a:pt x="0" y="523"/>
                      </a:lnTo>
                      <a:lnTo>
                        <a:pt x="4" y="518"/>
                      </a:lnTo>
                      <a:lnTo>
                        <a:pt x="9" y="509"/>
                      </a:lnTo>
                      <a:lnTo>
                        <a:pt x="22" y="518"/>
                      </a:lnTo>
                      <a:lnTo>
                        <a:pt x="18" y="527"/>
                      </a:lnTo>
                      <a:lnTo>
                        <a:pt x="4" y="541"/>
                      </a:lnTo>
                      <a:lnTo>
                        <a:pt x="4" y="603"/>
                      </a:lnTo>
                      <a:lnTo>
                        <a:pt x="13" y="599"/>
                      </a:lnTo>
                      <a:lnTo>
                        <a:pt x="4" y="617"/>
                      </a:lnTo>
                      <a:lnTo>
                        <a:pt x="9" y="643"/>
                      </a:lnTo>
                      <a:lnTo>
                        <a:pt x="18" y="626"/>
                      </a:lnTo>
                      <a:lnTo>
                        <a:pt x="18" y="648"/>
                      </a:lnTo>
                      <a:lnTo>
                        <a:pt x="27" y="643"/>
                      </a:lnTo>
                      <a:lnTo>
                        <a:pt x="27" y="652"/>
                      </a:lnTo>
                      <a:lnTo>
                        <a:pt x="40" y="657"/>
                      </a:lnTo>
                      <a:lnTo>
                        <a:pt x="36" y="661"/>
                      </a:lnTo>
                      <a:lnTo>
                        <a:pt x="49" y="666"/>
                      </a:lnTo>
                      <a:lnTo>
                        <a:pt x="63" y="675"/>
                      </a:lnTo>
                      <a:lnTo>
                        <a:pt x="67" y="648"/>
                      </a:lnTo>
                      <a:lnTo>
                        <a:pt x="85" y="643"/>
                      </a:lnTo>
                      <a:lnTo>
                        <a:pt x="89" y="634"/>
                      </a:lnTo>
                      <a:lnTo>
                        <a:pt x="49" y="630"/>
                      </a:lnTo>
                      <a:lnTo>
                        <a:pt x="40" y="621"/>
                      </a:lnTo>
                      <a:lnTo>
                        <a:pt x="40" y="603"/>
                      </a:lnTo>
                      <a:lnTo>
                        <a:pt x="31" y="603"/>
                      </a:lnTo>
                      <a:lnTo>
                        <a:pt x="27" y="576"/>
                      </a:lnTo>
                      <a:lnTo>
                        <a:pt x="36" y="559"/>
                      </a:lnTo>
                      <a:lnTo>
                        <a:pt x="40" y="554"/>
                      </a:lnTo>
                      <a:lnTo>
                        <a:pt x="49" y="509"/>
                      </a:lnTo>
                      <a:lnTo>
                        <a:pt x="49" y="491"/>
                      </a:lnTo>
                      <a:lnTo>
                        <a:pt x="58" y="483"/>
                      </a:lnTo>
                      <a:lnTo>
                        <a:pt x="49" y="474"/>
                      </a:lnTo>
                      <a:lnTo>
                        <a:pt x="58" y="474"/>
                      </a:lnTo>
                      <a:lnTo>
                        <a:pt x="58" y="465"/>
                      </a:lnTo>
                      <a:lnTo>
                        <a:pt x="49" y="465"/>
                      </a:lnTo>
                      <a:lnTo>
                        <a:pt x="54" y="442"/>
                      </a:lnTo>
                      <a:lnTo>
                        <a:pt x="49" y="429"/>
                      </a:lnTo>
                      <a:lnTo>
                        <a:pt x="54" y="416"/>
                      </a:lnTo>
                      <a:lnTo>
                        <a:pt x="49" y="393"/>
                      </a:lnTo>
                      <a:lnTo>
                        <a:pt x="49" y="375"/>
                      </a:lnTo>
                      <a:lnTo>
                        <a:pt x="54" y="371"/>
                      </a:lnTo>
                      <a:lnTo>
                        <a:pt x="54" y="357"/>
                      </a:lnTo>
                      <a:lnTo>
                        <a:pt x="63" y="353"/>
                      </a:lnTo>
                      <a:lnTo>
                        <a:pt x="58" y="317"/>
                      </a:lnTo>
                      <a:lnTo>
                        <a:pt x="67" y="304"/>
                      </a:lnTo>
                      <a:lnTo>
                        <a:pt x="71" y="281"/>
                      </a:lnTo>
                      <a:lnTo>
                        <a:pt x="80" y="268"/>
                      </a:lnTo>
                      <a:lnTo>
                        <a:pt x="80" y="250"/>
                      </a:lnTo>
                      <a:lnTo>
                        <a:pt x="76" y="250"/>
                      </a:lnTo>
                      <a:lnTo>
                        <a:pt x="67" y="223"/>
                      </a:lnTo>
                      <a:lnTo>
                        <a:pt x="71" y="210"/>
                      </a:lnTo>
                      <a:lnTo>
                        <a:pt x="80" y="205"/>
                      </a:lnTo>
                      <a:lnTo>
                        <a:pt x="76" y="188"/>
                      </a:lnTo>
                      <a:lnTo>
                        <a:pt x="85" y="161"/>
                      </a:lnTo>
                      <a:lnTo>
                        <a:pt x="94" y="147"/>
                      </a:lnTo>
                      <a:lnTo>
                        <a:pt x="89" y="138"/>
                      </a:lnTo>
                      <a:lnTo>
                        <a:pt x="94" y="112"/>
                      </a:lnTo>
                      <a:lnTo>
                        <a:pt x="116" y="98"/>
                      </a:lnTo>
                      <a:lnTo>
                        <a:pt x="116" y="80"/>
                      </a:lnTo>
                      <a:lnTo>
                        <a:pt x="107" y="76"/>
                      </a:lnTo>
                      <a:lnTo>
                        <a:pt x="94" y="40"/>
                      </a:lnTo>
                      <a:lnTo>
                        <a:pt x="94" y="22"/>
                      </a:lnTo>
                      <a:lnTo>
                        <a:pt x="89" y="9"/>
                      </a:lnTo>
                      <a:lnTo>
                        <a:pt x="85" y="0"/>
                      </a:lnTo>
                      <a:lnTo>
                        <a:pt x="71" y="9"/>
                      </a:lnTo>
                      <a:close/>
                      <a:moveTo>
                        <a:pt x="71" y="666"/>
                      </a:moveTo>
                      <a:lnTo>
                        <a:pt x="71" y="670"/>
                      </a:lnTo>
                      <a:lnTo>
                        <a:pt x="67" y="675"/>
                      </a:lnTo>
                      <a:lnTo>
                        <a:pt x="67" y="679"/>
                      </a:lnTo>
                      <a:lnTo>
                        <a:pt x="71" y="679"/>
                      </a:lnTo>
                      <a:lnTo>
                        <a:pt x="71" y="675"/>
                      </a:lnTo>
                      <a:lnTo>
                        <a:pt x="76" y="675"/>
                      </a:lnTo>
                      <a:lnTo>
                        <a:pt x="71" y="666"/>
                      </a:lnTo>
                      <a:close/>
                      <a:moveTo>
                        <a:pt x="98" y="643"/>
                      </a:moveTo>
                      <a:lnTo>
                        <a:pt x="89" y="643"/>
                      </a:lnTo>
                      <a:lnTo>
                        <a:pt x="76" y="648"/>
                      </a:lnTo>
                      <a:lnTo>
                        <a:pt x="76" y="666"/>
                      </a:lnTo>
                      <a:lnTo>
                        <a:pt x="89" y="661"/>
                      </a:lnTo>
                      <a:lnTo>
                        <a:pt x="80" y="670"/>
                      </a:lnTo>
                      <a:lnTo>
                        <a:pt x="80" y="679"/>
                      </a:lnTo>
                      <a:lnTo>
                        <a:pt x="94" y="693"/>
                      </a:lnTo>
                      <a:lnTo>
                        <a:pt x="67" y="684"/>
                      </a:lnTo>
                      <a:lnTo>
                        <a:pt x="13" y="648"/>
                      </a:lnTo>
                      <a:lnTo>
                        <a:pt x="13" y="657"/>
                      </a:lnTo>
                      <a:lnTo>
                        <a:pt x="31" y="666"/>
                      </a:lnTo>
                      <a:lnTo>
                        <a:pt x="27" y="670"/>
                      </a:lnTo>
                      <a:lnTo>
                        <a:pt x="31" y="679"/>
                      </a:lnTo>
                      <a:lnTo>
                        <a:pt x="40" y="684"/>
                      </a:lnTo>
                      <a:lnTo>
                        <a:pt x="49" y="679"/>
                      </a:lnTo>
                      <a:lnTo>
                        <a:pt x="63" y="688"/>
                      </a:lnTo>
                      <a:lnTo>
                        <a:pt x="49" y="688"/>
                      </a:lnTo>
                      <a:lnTo>
                        <a:pt x="54" y="697"/>
                      </a:lnTo>
                      <a:lnTo>
                        <a:pt x="63" y="693"/>
                      </a:lnTo>
                      <a:lnTo>
                        <a:pt x="71" y="697"/>
                      </a:lnTo>
                      <a:lnTo>
                        <a:pt x="71" y="702"/>
                      </a:lnTo>
                      <a:lnTo>
                        <a:pt x="63" y="702"/>
                      </a:lnTo>
                      <a:lnTo>
                        <a:pt x="76" y="706"/>
                      </a:lnTo>
                      <a:lnTo>
                        <a:pt x="76" y="702"/>
                      </a:lnTo>
                      <a:lnTo>
                        <a:pt x="80" y="706"/>
                      </a:lnTo>
                      <a:lnTo>
                        <a:pt x="76" y="715"/>
                      </a:lnTo>
                      <a:lnTo>
                        <a:pt x="89" y="724"/>
                      </a:lnTo>
                      <a:lnTo>
                        <a:pt x="89" y="715"/>
                      </a:lnTo>
                      <a:lnTo>
                        <a:pt x="94" y="715"/>
                      </a:lnTo>
                      <a:lnTo>
                        <a:pt x="94" y="724"/>
                      </a:lnTo>
                      <a:lnTo>
                        <a:pt x="103" y="719"/>
                      </a:lnTo>
                      <a:lnTo>
                        <a:pt x="107" y="724"/>
                      </a:lnTo>
                      <a:lnTo>
                        <a:pt x="107" y="715"/>
                      </a:lnTo>
                      <a:lnTo>
                        <a:pt x="103" y="715"/>
                      </a:lnTo>
                      <a:lnTo>
                        <a:pt x="103" y="706"/>
                      </a:lnTo>
                      <a:lnTo>
                        <a:pt x="107" y="710"/>
                      </a:lnTo>
                      <a:lnTo>
                        <a:pt x="121" y="715"/>
                      </a:lnTo>
                      <a:lnTo>
                        <a:pt x="125" y="710"/>
                      </a:lnTo>
                      <a:lnTo>
                        <a:pt x="121" y="706"/>
                      </a:lnTo>
                      <a:lnTo>
                        <a:pt x="103" y="702"/>
                      </a:lnTo>
                      <a:lnTo>
                        <a:pt x="94" y="702"/>
                      </a:lnTo>
                      <a:lnTo>
                        <a:pt x="98" y="702"/>
                      </a:lnTo>
                      <a:lnTo>
                        <a:pt x="98" y="64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74" name="Freeform 72"/>
                <p:cNvSpPr>
                  <a:spLocks/>
                </p:cNvSpPr>
                <p:nvPr/>
              </p:nvSpPr>
              <p:spPr bwMode="gray">
                <a:xfrm>
                  <a:off x="1548" y="2596"/>
                  <a:ext cx="179" cy="246"/>
                </a:xfrm>
                <a:custGeom>
                  <a:avLst/>
                  <a:gdLst>
                    <a:gd name="T0" fmla="*/ 22 w 179"/>
                    <a:gd name="T1" fmla="*/ 174 h 246"/>
                    <a:gd name="T2" fmla="*/ 36 w 179"/>
                    <a:gd name="T3" fmla="*/ 174 h 246"/>
                    <a:gd name="T4" fmla="*/ 71 w 179"/>
                    <a:gd name="T5" fmla="*/ 192 h 246"/>
                    <a:gd name="T6" fmla="*/ 107 w 179"/>
                    <a:gd name="T7" fmla="*/ 210 h 246"/>
                    <a:gd name="T8" fmla="*/ 121 w 179"/>
                    <a:gd name="T9" fmla="*/ 241 h 246"/>
                    <a:gd name="T10" fmla="*/ 147 w 179"/>
                    <a:gd name="T11" fmla="*/ 201 h 246"/>
                    <a:gd name="T12" fmla="*/ 134 w 179"/>
                    <a:gd name="T13" fmla="*/ 192 h 246"/>
                    <a:gd name="T14" fmla="*/ 143 w 179"/>
                    <a:gd name="T15" fmla="*/ 183 h 246"/>
                    <a:gd name="T16" fmla="*/ 134 w 179"/>
                    <a:gd name="T17" fmla="*/ 174 h 246"/>
                    <a:gd name="T18" fmla="*/ 156 w 179"/>
                    <a:gd name="T19" fmla="*/ 161 h 246"/>
                    <a:gd name="T20" fmla="*/ 170 w 179"/>
                    <a:gd name="T21" fmla="*/ 165 h 246"/>
                    <a:gd name="T22" fmla="*/ 174 w 179"/>
                    <a:gd name="T23" fmla="*/ 143 h 246"/>
                    <a:gd name="T24" fmla="*/ 170 w 179"/>
                    <a:gd name="T25" fmla="*/ 134 h 246"/>
                    <a:gd name="T26" fmla="*/ 165 w 179"/>
                    <a:gd name="T27" fmla="*/ 112 h 246"/>
                    <a:gd name="T28" fmla="*/ 143 w 179"/>
                    <a:gd name="T29" fmla="*/ 94 h 246"/>
                    <a:gd name="T30" fmla="*/ 107 w 179"/>
                    <a:gd name="T31" fmla="*/ 85 h 246"/>
                    <a:gd name="T32" fmla="*/ 98 w 179"/>
                    <a:gd name="T33" fmla="*/ 63 h 246"/>
                    <a:gd name="T34" fmla="*/ 85 w 179"/>
                    <a:gd name="T35" fmla="*/ 54 h 246"/>
                    <a:gd name="T36" fmla="*/ 89 w 179"/>
                    <a:gd name="T37" fmla="*/ 31 h 246"/>
                    <a:gd name="T38" fmla="*/ 107 w 179"/>
                    <a:gd name="T39" fmla="*/ 9 h 246"/>
                    <a:gd name="T40" fmla="*/ 116 w 179"/>
                    <a:gd name="T41" fmla="*/ 0 h 246"/>
                    <a:gd name="T42" fmla="*/ 85 w 179"/>
                    <a:gd name="T43" fmla="*/ 18 h 246"/>
                    <a:gd name="T44" fmla="*/ 71 w 179"/>
                    <a:gd name="T45" fmla="*/ 22 h 246"/>
                    <a:gd name="T46" fmla="*/ 49 w 179"/>
                    <a:gd name="T47" fmla="*/ 31 h 246"/>
                    <a:gd name="T48" fmla="*/ 49 w 179"/>
                    <a:gd name="T49" fmla="*/ 40 h 246"/>
                    <a:gd name="T50" fmla="*/ 31 w 179"/>
                    <a:gd name="T51" fmla="*/ 58 h 246"/>
                    <a:gd name="T52" fmla="*/ 27 w 179"/>
                    <a:gd name="T53" fmla="*/ 58 h 246"/>
                    <a:gd name="T54" fmla="*/ 18 w 179"/>
                    <a:gd name="T55" fmla="*/ 76 h 246"/>
                    <a:gd name="T56" fmla="*/ 27 w 179"/>
                    <a:gd name="T57" fmla="*/ 89 h 246"/>
                    <a:gd name="T58" fmla="*/ 27 w 179"/>
                    <a:gd name="T59" fmla="*/ 121 h 246"/>
                    <a:gd name="T60" fmla="*/ 22 w 179"/>
                    <a:gd name="T61" fmla="*/ 143 h 246"/>
                    <a:gd name="T62" fmla="*/ 9 w 179"/>
                    <a:gd name="T63" fmla="*/ 152 h 246"/>
                    <a:gd name="T64" fmla="*/ 0 w 179"/>
                    <a:gd name="T65" fmla="*/ 16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9" h="246">
                      <a:moveTo>
                        <a:pt x="9" y="161"/>
                      </a:moveTo>
                      <a:lnTo>
                        <a:pt x="22" y="174"/>
                      </a:lnTo>
                      <a:lnTo>
                        <a:pt x="27" y="179"/>
                      </a:lnTo>
                      <a:lnTo>
                        <a:pt x="36" y="174"/>
                      </a:lnTo>
                      <a:lnTo>
                        <a:pt x="58" y="188"/>
                      </a:lnTo>
                      <a:lnTo>
                        <a:pt x="71" y="192"/>
                      </a:lnTo>
                      <a:lnTo>
                        <a:pt x="94" y="215"/>
                      </a:lnTo>
                      <a:lnTo>
                        <a:pt x="107" y="210"/>
                      </a:lnTo>
                      <a:lnTo>
                        <a:pt x="134" y="219"/>
                      </a:lnTo>
                      <a:lnTo>
                        <a:pt x="121" y="241"/>
                      </a:lnTo>
                      <a:lnTo>
                        <a:pt x="129" y="246"/>
                      </a:lnTo>
                      <a:lnTo>
                        <a:pt x="147" y="201"/>
                      </a:lnTo>
                      <a:lnTo>
                        <a:pt x="143" y="192"/>
                      </a:lnTo>
                      <a:lnTo>
                        <a:pt x="134" y="192"/>
                      </a:lnTo>
                      <a:lnTo>
                        <a:pt x="129" y="183"/>
                      </a:lnTo>
                      <a:lnTo>
                        <a:pt x="143" y="183"/>
                      </a:lnTo>
                      <a:lnTo>
                        <a:pt x="147" y="174"/>
                      </a:lnTo>
                      <a:lnTo>
                        <a:pt x="134" y="174"/>
                      </a:lnTo>
                      <a:lnTo>
                        <a:pt x="138" y="161"/>
                      </a:lnTo>
                      <a:lnTo>
                        <a:pt x="156" y="161"/>
                      </a:lnTo>
                      <a:lnTo>
                        <a:pt x="170" y="152"/>
                      </a:lnTo>
                      <a:lnTo>
                        <a:pt x="170" y="165"/>
                      </a:lnTo>
                      <a:lnTo>
                        <a:pt x="179" y="165"/>
                      </a:lnTo>
                      <a:lnTo>
                        <a:pt x="174" y="143"/>
                      </a:lnTo>
                      <a:lnTo>
                        <a:pt x="161" y="148"/>
                      </a:lnTo>
                      <a:lnTo>
                        <a:pt x="170" y="134"/>
                      </a:lnTo>
                      <a:lnTo>
                        <a:pt x="165" y="130"/>
                      </a:lnTo>
                      <a:lnTo>
                        <a:pt x="165" y="112"/>
                      </a:lnTo>
                      <a:lnTo>
                        <a:pt x="170" y="89"/>
                      </a:lnTo>
                      <a:lnTo>
                        <a:pt x="143" y="94"/>
                      </a:lnTo>
                      <a:lnTo>
                        <a:pt x="134" y="80"/>
                      </a:lnTo>
                      <a:lnTo>
                        <a:pt x="107" y="85"/>
                      </a:lnTo>
                      <a:lnTo>
                        <a:pt x="94" y="72"/>
                      </a:lnTo>
                      <a:lnTo>
                        <a:pt x="98" y="63"/>
                      </a:lnTo>
                      <a:lnTo>
                        <a:pt x="89" y="54"/>
                      </a:lnTo>
                      <a:lnTo>
                        <a:pt x="85" y="54"/>
                      </a:lnTo>
                      <a:lnTo>
                        <a:pt x="89" y="49"/>
                      </a:lnTo>
                      <a:lnTo>
                        <a:pt x="89" y="31"/>
                      </a:lnTo>
                      <a:lnTo>
                        <a:pt x="98" y="18"/>
                      </a:lnTo>
                      <a:lnTo>
                        <a:pt x="107" y="9"/>
                      </a:lnTo>
                      <a:lnTo>
                        <a:pt x="116" y="9"/>
                      </a:lnTo>
                      <a:lnTo>
                        <a:pt x="116" y="0"/>
                      </a:lnTo>
                      <a:lnTo>
                        <a:pt x="107" y="0"/>
                      </a:lnTo>
                      <a:lnTo>
                        <a:pt x="85" y="18"/>
                      </a:lnTo>
                      <a:lnTo>
                        <a:pt x="76" y="18"/>
                      </a:lnTo>
                      <a:lnTo>
                        <a:pt x="71" y="22"/>
                      </a:lnTo>
                      <a:lnTo>
                        <a:pt x="62" y="22"/>
                      </a:lnTo>
                      <a:lnTo>
                        <a:pt x="49" y="31"/>
                      </a:lnTo>
                      <a:lnTo>
                        <a:pt x="45" y="40"/>
                      </a:lnTo>
                      <a:lnTo>
                        <a:pt x="49" y="40"/>
                      </a:lnTo>
                      <a:lnTo>
                        <a:pt x="49" y="49"/>
                      </a:lnTo>
                      <a:lnTo>
                        <a:pt x="31" y="58"/>
                      </a:lnTo>
                      <a:lnTo>
                        <a:pt x="31" y="72"/>
                      </a:lnTo>
                      <a:lnTo>
                        <a:pt x="27" y="58"/>
                      </a:lnTo>
                      <a:lnTo>
                        <a:pt x="27" y="72"/>
                      </a:lnTo>
                      <a:lnTo>
                        <a:pt x="18" y="76"/>
                      </a:lnTo>
                      <a:lnTo>
                        <a:pt x="18" y="76"/>
                      </a:lnTo>
                      <a:lnTo>
                        <a:pt x="27" y="89"/>
                      </a:lnTo>
                      <a:lnTo>
                        <a:pt x="22" y="98"/>
                      </a:lnTo>
                      <a:lnTo>
                        <a:pt x="27" y="121"/>
                      </a:lnTo>
                      <a:lnTo>
                        <a:pt x="27" y="125"/>
                      </a:lnTo>
                      <a:lnTo>
                        <a:pt x="22" y="143"/>
                      </a:lnTo>
                      <a:lnTo>
                        <a:pt x="13" y="143"/>
                      </a:lnTo>
                      <a:lnTo>
                        <a:pt x="9" y="152"/>
                      </a:lnTo>
                      <a:lnTo>
                        <a:pt x="9" y="156"/>
                      </a:lnTo>
                      <a:lnTo>
                        <a:pt x="0" y="161"/>
                      </a:lnTo>
                      <a:lnTo>
                        <a:pt x="9" y="16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75" name="Freeform 73"/>
                <p:cNvSpPr>
                  <a:spLocks/>
                </p:cNvSpPr>
                <p:nvPr/>
              </p:nvSpPr>
              <p:spPr bwMode="gray">
                <a:xfrm>
                  <a:off x="1454" y="2618"/>
                  <a:ext cx="49" cy="41"/>
                </a:xfrm>
                <a:custGeom>
                  <a:avLst/>
                  <a:gdLst>
                    <a:gd name="T0" fmla="*/ 0 w 49"/>
                    <a:gd name="T1" fmla="*/ 0 h 41"/>
                    <a:gd name="T2" fmla="*/ 0 w 49"/>
                    <a:gd name="T3" fmla="*/ 9 h 41"/>
                    <a:gd name="T4" fmla="*/ 5 w 49"/>
                    <a:gd name="T5" fmla="*/ 9 h 41"/>
                    <a:gd name="T6" fmla="*/ 0 w 49"/>
                    <a:gd name="T7" fmla="*/ 14 h 41"/>
                    <a:gd name="T8" fmla="*/ 0 w 49"/>
                    <a:gd name="T9" fmla="*/ 23 h 41"/>
                    <a:gd name="T10" fmla="*/ 14 w 49"/>
                    <a:gd name="T11" fmla="*/ 27 h 41"/>
                    <a:gd name="T12" fmla="*/ 18 w 49"/>
                    <a:gd name="T13" fmla="*/ 23 h 41"/>
                    <a:gd name="T14" fmla="*/ 18 w 49"/>
                    <a:gd name="T15" fmla="*/ 18 h 41"/>
                    <a:gd name="T16" fmla="*/ 22 w 49"/>
                    <a:gd name="T17" fmla="*/ 27 h 41"/>
                    <a:gd name="T18" fmla="*/ 31 w 49"/>
                    <a:gd name="T19" fmla="*/ 36 h 41"/>
                    <a:gd name="T20" fmla="*/ 31 w 49"/>
                    <a:gd name="T21" fmla="*/ 41 h 41"/>
                    <a:gd name="T22" fmla="*/ 40 w 49"/>
                    <a:gd name="T23" fmla="*/ 41 h 41"/>
                    <a:gd name="T24" fmla="*/ 40 w 49"/>
                    <a:gd name="T25" fmla="*/ 36 h 41"/>
                    <a:gd name="T26" fmla="*/ 40 w 49"/>
                    <a:gd name="T27" fmla="*/ 41 h 41"/>
                    <a:gd name="T28" fmla="*/ 40 w 49"/>
                    <a:gd name="T29" fmla="*/ 27 h 41"/>
                    <a:gd name="T30" fmla="*/ 49 w 49"/>
                    <a:gd name="T31" fmla="*/ 23 h 41"/>
                    <a:gd name="T32" fmla="*/ 40 w 49"/>
                    <a:gd name="T33" fmla="*/ 18 h 41"/>
                    <a:gd name="T34" fmla="*/ 36 w 49"/>
                    <a:gd name="T35" fmla="*/ 5 h 41"/>
                    <a:gd name="T36" fmla="*/ 31 w 49"/>
                    <a:gd name="T37" fmla="*/ 5 h 41"/>
                    <a:gd name="T38" fmla="*/ 31 w 49"/>
                    <a:gd name="T39" fmla="*/ 5 h 41"/>
                    <a:gd name="T40" fmla="*/ 18 w 49"/>
                    <a:gd name="T41" fmla="*/ 0 h 41"/>
                    <a:gd name="T42" fmla="*/ 0 w 49"/>
                    <a:gd name="T4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41">
                      <a:moveTo>
                        <a:pt x="0" y="0"/>
                      </a:moveTo>
                      <a:lnTo>
                        <a:pt x="0" y="9"/>
                      </a:lnTo>
                      <a:lnTo>
                        <a:pt x="5" y="9"/>
                      </a:lnTo>
                      <a:lnTo>
                        <a:pt x="0" y="14"/>
                      </a:lnTo>
                      <a:lnTo>
                        <a:pt x="0" y="23"/>
                      </a:lnTo>
                      <a:lnTo>
                        <a:pt x="14" y="27"/>
                      </a:lnTo>
                      <a:lnTo>
                        <a:pt x="18" y="23"/>
                      </a:lnTo>
                      <a:lnTo>
                        <a:pt x="18" y="18"/>
                      </a:lnTo>
                      <a:lnTo>
                        <a:pt x="22" y="27"/>
                      </a:lnTo>
                      <a:lnTo>
                        <a:pt x="31" y="36"/>
                      </a:lnTo>
                      <a:lnTo>
                        <a:pt x="31" y="41"/>
                      </a:lnTo>
                      <a:lnTo>
                        <a:pt x="40" y="41"/>
                      </a:lnTo>
                      <a:lnTo>
                        <a:pt x="40" y="36"/>
                      </a:lnTo>
                      <a:lnTo>
                        <a:pt x="40" y="41"/>
                      </a:lnTo>
                      <a:lnTo>
                        <a:pt x="40" y="27"/>
                      </a:lnTo>
                      <a:lnTo>
                        <a:pt x="49" y="23"/>
                      </a:lnTo>
                      <a:lnTo>
                        <a:pt x="40" y="18"/>
                      </a:lnTo>
                      <a:lnTo>
                        <a:pt x="36" y="5"/>
                      </a:lnTo>
                      <a:lnTo>
                        <a:pt x="31" y="5"/>
                      </a:lnTo>
                      <a:lnTo>
                        <a:pt x="31" y="5"/>
                      </a:lnTo>
                      <a:lnTo>
                        <a:pt x="18" y="0"/>
                      </a:lnTo>
                      <a:lnTo>
                        <a:pt x="0"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76" name="Freeform 74"/>
                <p:cNvSpPr>
                  <a:spLocks noEditPoints="1"/>
                </p:cNvSpPr>
                <p:nvPr/>
              </p:nvSpPr>
              <p:spPr bwMode="gray">
                <a:xfrm>
                  <a:off x="1468" y="2431"/>
                  <a:ext cx="160" cy="58"/>
                </a:xfrm>
                <a:custGeom>
                  <a:avLst/>
                  <a:gdLst>
                    <a:gd name="T0" fmla="*/ 8 w 160"/>
                    <a:gd name="T1" fmla="*/ 18 h 58"/>
                    <a:gd name="T2" fmla="*/ 0 w 160"/>
                    <a:gd name="T3" fmla="*/ 22 h 58"/>
                    <a:gd name="T4" fmla="*/ 4 w 160"/>
                    <a:gd name="T5" fmla="*/ 27 h 58"/>
                    <a:gd name="T6" fmla="*/ 17 w 160"/>
                    <a:gd name="T7" fmla="*/ 22 h 58"/>
                    <a:gd name="T8" fmla="*/ 17 w 160"/>
                    <a:gd name="T9" fmla="*/ 18 h 58"/>
                    <a:gd name="T10" fmla="*/ 31 w 160"/>
                    <a:gd name="T11" fmla="*/ 18 h 58"/>
                    <a:gd name="T12" fmla="*/ 35 w 160"/>
                    <a:gd name="T13" fmla="*/ 13 h 58"/>
                    <a:gd name="T14" fmla="*/ 44 w 160"/>
                    <a:gd name="T15" fmla="*/ 13 h 58"/>
                    <a:gd name="T16" fmla="*/ 40 w 160"/>
                    <a:gd name="T17" fmla="*/ 18 h 58"/>
                    <a:gd name="T18" fmla="*/ 53 w 160"/>
                    <a:gd name="T19" fmla="*/ 18 h 58"/>
                    <a:gd name="T20" fmla="*/ 80 w 160"/>
                    <a:gd name="T21" fmla="*/ 27 h 58"/>
                    <a:gd name="T22" fmla="*/ 89 w 160"/>
                    <a:gd name="T23" fmla="*/ 27 h 58"/>
                    <a:gd name="T24" fmla="*/ 93 w 160"/>
                    <a:gd name="T25" fmla="*/ 40 h 58"/>
                    <a:gd name="T26" fmla="*/ 102 w 160"/>
                    <a:gd name="T27" fmla="*/ 44 h 58"/>
                    <a:gd name="T28" fmla="*/ 107 w 160"/>
                    <a:gd name="T29" fmla="*/ 40 h 58"/>
                    <a:gd name="T30" fmla="*/ 111 w 160"/>
                    <a:gd name="T31" fmla="*/ 49 h 58"/>
                    <a:gd name="T32" fmla="*/ 98 w 160"/>
                    <a:gd name="T33" fmla="*/ 58 h 58"/>
                    <a:gd name="T34" fmla="*/ 147 w 160"/>
                    <a:gd name="T35" fmla="*/ 58 h 58"/>
                    <a:gd name="T36" fmla="*/ 160 w 160"/>
                    <a:gd name="T37" fmla="*/ 53 h 58"/>
                    <a:gd name="T38" fmla="*/ 156 w 160"/>
                    <a:gd name="T39" fmla="*/ 44 h 58"/>
                    <a:gd name="T40" fmla="*/ 134 w 160"/>
                    <a:gd name="T41" fmla="*/ 44 h 58"/>
                    <a:gd name="T42" fmla="*/ 134 w 160"/>
                    <a:gd name="T43" fmla="*/ 31 h 58"/>
                    <a:gd name="T44" fmla="*/ 125 w 160"/>
                    <a:gd name="T45" fmla="*/ 35 h 58"/>
                    <a:gd name="T46" fmla="*/ 107 w 160"/>
                    <a:gd name="T47" fmla="*/ 18 h 58"/>
                    <a:gd name="T48" fmla="*/ 102 w 160"/>
                    <a:gd name="T49" fmla="*/ 9 h 58"/>
                    <a:gd name="T50" fmla="*/ 98 w 160"/>
                    <a:gd name="T51" fmla="*/ 9 h 58"/>
                    <a:gd name="T52" fmla="*/ 98 w 160"/>
                    <a:gd name="T53" fmla="*/ 13 h 58"/>
                    <a:gd name="T54" fmla="*/ 84 w 160"/>
                    <a:gd name="T55" fmla="*/ 9 h 58"/>
                    <a:gd name="T56" fmla="*/ 80 w 160"/>
                    <a:gd name="T57" fmla="*/ 13 h 58"/>
                    <a:gd name="T58" fmla="*/ 67 w 160"/>
                    <a:gd name="T59" fmla="*/ 0 h 58"/>
                    <a:gd name="T60" fmla="*/ 40 w 160"/>
                    <a:gd name="T61" fmla="*/ 0 h 58"/>
                    <a:gd name="T62" fmla="*/ 8 w 160"/>
                    <a:gd name="T63" fmla="*/ 9 h 58"/>
                    <a:gd name="T64" fmla="*/ 8 w 160"/>
                    <a:gd name="T65" fmla="*/ 18 h 58"/>
                    <a:gd name="T66" fmla="*/ 31 w 160"/>
                    <a:gd name="T67" fmla="*/ 22 h 58"/>
                    <a:gd name="T68" fmla="*/ 31 w 160"/>
                    <a:gd name="T69" fmla="*/ 27 h 58"/>
                    <a:gd name="T70" fmla="*/ 22 w 160"/>
                    <a:gd name="T71" fmla="*/ 27 h 58"/>
                    <a:gd name="T72" fmla="*/ 31 w 160"/>
                    <a:gd name="T73" fmla="*/ 31 h 58"/>
                    <a:gd name="T74" fmla="*/ 35 w 160"/>
                    <a:gd name="T75" fmla="*/ 27 h 58"/>
                    <a:gd name="T76" fmla="*/ 35 w 160"/>
                    <a:gd name="T77" fmla="*/ 22 h 58"/>
                    <a:gd name="T78" fmla="*/ 31 w 160"/>
                    <a:gd name="T79"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58">
                      <a:moveTo>
                        <a:pt x="8" y="18"/>
                      </a:moveTo>
                      <a:lnTo>
                        <a:pt x="0" y="22"/>
                      </a:lnTo>
                      <a:lnTo>
                        <a:pt x="4" y="27"/>
                      </a:lnTo>
                      <a:lnTo>
                        <a:pt x="17" y="22"/>
                      </a:lnTo>
                      <a:lnTo>
                        <a:pt x="17" y="18"/>
                      </a:lnTo>
                      <a:lnTo>
                        <a:pt x="31" y="18"/>
                      </a:lnTo>
                      <a:lnTo>
                        <a:pt x="35" y="13"/>
                      </a:lnTo>
                      <a:lnTo>
                        <a:pt x="44" y="13"/>
                      </a:lnTo>
                      <a:lnTo>
                        <a:pt x="40" y="18"/>
                      </a:lnTo>
                      <a:lnTo>
                        <a:pt x="53" y="18"/>
                      </a:lnTo>
                      <a:lnTo>
                        <a:pt x="80" y="27"/>
                      </a:lnTo>
                      <a:lnTo>
                        <a:pt x="89" y="27"/>
                      </a:lnTo>
                      <a:lnTo>
                        <a:pt x="93" y="40"/>
                      </a:lnTo>
                      <a:lnTo>
                        <a:pt x="102" y="44"/>
                      </a:lnTo>
                      <a:lnTo>
                        <a:pt x="107" y="40"/>
                      </a:lnTo>
                      <a:lnTo>
                        <a:pt x="111" y="49"/>
                      </a:lnTo>
                      <a:lnTo>
                        <a:pt x="98" y="58"/>
                      </a:lnTo>
                      <a:lnTo>
                        <a:pt x="147" y="58"/>
                      </a:lnTo>
                      <a:lnTo>
                        <a:pt x="160" y="53"/>
                      </a:lnTo>
                      <a:lnTo>
                        <a:pt x="156" y="44"/>
                      </a:lnTo>
                      <a:lnTo>
                        <a:pt x="134" y="44"/>
                      </a:lnTo>
                      <a:lnTo>
                        <a:pt x="134" y="31"/>
                      </a:lnTo>
                      <a:lnTo>
                        <a:pt x="125" y="35"/>
                      </a:lnTo>
                      <a:lnTo>
                        <a:pt x="107" y="18"/>
                      </a:lnTo>
                      <a:lnTo>
                        <a:pt x="102" y="9"/>
                      </a:lnTo>
                      <a:lnTo>
                        <a:pt x="98" y="9"/>
                      </a:lnTo>
                      <a:lnTo>
                        <a:pt x="98" y="13"/>
                      </a:lnTo>
                      <a:lnTo>
                        <a:pt x="84" y="9"/>
                      </a:lnTo>
                      <a:lnTo>
                        <a:pt x="80" y="13"/>
                      </a:lnTo>
                      <a:lnTo>
                        <a:pt x="67" y="0"/>
                      </a:lnTo>
                      <a:lnTo>
                        <a:pt x="40" y="0"/>
                      </a:lnTo>
                      <a:lnTo>
                        <a:pt x="8" y="9"/>
                      </a:lnTo>
                      <a:lnTo>
                        <a:pt x="8" y="18"/>
                      </a:lnTo>
                      <a:close/>
                      <a:moveTo>
                        <a:pt x="31" y="22"/>
                      </a:moveTo>
                      <a:lnTo>
                        <a:pt x="31" y="27"/>
                      </a:lnTo>
                      <a:lnTo>
                        <a:pt x="22" y="27"/>
                      </a:lnTo>
                      <a:lnTo>
                        <a:pt x="31" y="31"/>
                      </a:lnTo>
                      <a:lnTo>
                        <a:pt x="35" y="27"/>
                      </a:lnTo>
                      <a:lnTo>
                        <a:pt x="35" y="22"/>
                      </a:lnTo>
                      <a:lnTo>
                        <a:pt x="31" y="2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77" name="Freeform 75"/>
                <p:cNvSpPr>
                  <a:spLocks/>
                </p:cNvSpPr>
                <p:nvPr/>
              </p:nvSpPr>
              <p:spPr bwMode="gray">
                <a:xfrm>
                  <a:off x="1651" y="2489"/>
                  <a:ext cx="53" cy="36"/>
                </a:xfrm>
                <a:custGeom>
                  <a:avLst/>
                  <a:gdLst>
                    <a:gd name="T0" fmla="*/ 0 w 53"/>
                    <a:gd name="T1" fmla="*/ 22 h 36"/>
                    <a:gd name="T2" fmla="*/ 13 w 53"/>
                    <a:gd name="T3" fmla="*/ 36 h 36"/>
                    <a:gd name="T4" fmla="*/ 18 w 53"/>
                    <a:gd name="T5" fmla="*/ 22 h 36"/>
                    <a:gd name="T6" fmla="*/ 22 w 53"/>
                    <a:gd name="T7" fmla="*/ 18 h 36"/>
                    <a:gd name="T8" fmla="*/ 22 w 53"/>
                    <a:gd name="T9" fmla="*/ 22 h 36"/>
                    <a:gd name="T10" fmla="*/ 35 w 53"/>
                    <a:gd name="T11" fmla="*/ 18 h 36"/>
                    <a:gd name="T12" fmla="*/ 44 w 53"/>
                    <a:gd name="T13" fmla="*/ 18 h 36"/>
                    <a:gd name="T14" fmla="*/ 49 w 53"/>
                    <a:gd name="T15" fmla="*/ 22 h 36"/>
                    <a:gd name="T16" fmla="*/ 53 w 53"/>
                    <a:gd name="T17" fmla="*/ 18 h 36"/>
                    <a:gd name="T18" fmla="*/ 53 w 53"/>
                    <a:gd name="T19" fmla="*/ 13 h 36"/>
                    <a:gd name="T20" fmla="*/ 44 w 53"/>
                    <a:gd name="T21" fmla="*/ 9 h 36"/>
                    <a:gd name="T22" fmla="*/ 40 w 53"/>
                    <a:gd name="T23" fmla="*/ 4 h 36"/>
                    <a:gd name="T24" fmla="*/ 35 w 53"/>
                    <a:gd name="T25" fmla="*/ 4 h 36"/>
                    <a:gd name="T26" fmla="*/ 31 w 53"/>
                    <a:gd name="T27" fmla="*/ 0 h 36"/>
                    <a:gd name="T28" fmla="*/ 26 w 53"/>
                    <a:gd name="T29" fmla="*/ 0 h 36"/>
                    <a:gd name="T30" fmla="*/ 9 w 53"/>
                    <a:gd name="T31" fmla="*/ 0 h 36"/>
                    <a:gd name="T32" fmla="*/ 4 w 53"/>
                    <a:gd name="T33" fmla="*/ 0 h 36"/>
                    <a:gd name="T34" fmla="*/ 4 w 53"/>
                    <a:gd name="T35" fmla="*/ 9 h 36"/>
                    <a:gd name="T36" fmla="*/ 0 w 53"/>
                    <a:gd name="T3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6">
                      <a:moveTo>
                        <a:pt x="0" y="22"/>
                      </a:moveTo>
                      <a:lnTo>
                        <a:pt x="13" y="36"/>
                      </a:lnTo>
                      <a:lnTo>
                        <a:pt x="18" y="22"/>
                      </a:lnTo>
                      <a:lnTo>
                        <a:pt x="22" y="18"/>
                      </a:lnTo>
                      <a:lnTo>
                        <a:pt x="22" y="22"/>
                      </a:lnTo>
                      <a:lnTo>
                        <a:pt x="35" y="18"/>
                      </a:lnTo>
                      <a:lnTo>
                        <a:pt x="44" y="18"/>
                      </a:lnTo>
                      <a:lnTo>
                        <a:pt x="49" y="22"/>
                      </a:lnTo>
                      <a:lnTo>
                        <a:pt x="53" y="18"/>
                      </a:lnTo>
                      <a:lnTo>
                        <a:pt x="53" y="13"/>
                      </a:lnTo>
                      <a:lnTo>
                        <a:pt x="44" y="9"/>
                      </a:lnTo>
                      <a:lnTo>
                        <a:pt x="40" y="4"/>
                      </a:lnTo>
                      <a:lnTo>
                        <a:pt x="35" y="4"/>
                      </a:lnTo>
                      <a:lnTo>
                        <a:pt x="31" y="0"/>
                      </a:lnTo>
                      <a:lnTo>
                        <a:pt x="26" y="0"/>
                      </a:lnTo>
                      <a:lnTo>
                        <a:pt x="9" y="0"/>
                      </a:lnTo>
                      <a:lnTo>
                        <a:pt x="4" y="0"/>
                      </a:lnTo>
                      <a:lnTo>
                        <a:pt x="4" y="9"/>
                      </a:lnTo>
                      <a:lnTo>
                        <a:pt x="0" y="2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78" name="Freeform 76"/>
                <p:cNvSpPr>
                  <a:spLocks noEditPoints="1"/>
                </p:cNvSpPr>
                <p:nvPr/>
              </p:nvSpPr>
              <p:spPr bwMode="gray">
                <a:xfrm>
                  <a:off x="1374" y="2757"/>
                  <a:ext cx="232" cy="94"/>
                </a:xfrm>
                <a:custGeom>
                  <a:avLst/>
                  <a:gdLst>
                    <a:gd name="T0" fmla="*/ 4 w 232"/>
                    <a:gd name="T1" fmla="*/ 22 h 94"/>
                    <a:gd name="T2" fmla="*/ 0 w 232"/>
                    <a:gd name="T3" fmla="*/ 27 h 94"/>
                    <a:gd name="T4" fmla="*/ 4 w 232"/>
                    <a:gd name="T5" fmla="*/ 36 h 94"/>
                    <a:gd name="T6" fmla="*/ 0 w 232"/>
                    <a:gd name="T7" fmla="*/ 40 h 94"/>
                    <a:gd name="T8" fmla="*/ 4 w 232"/>
                    <a:gd name="T9" fmla="*/ 45 h 94"/>
                    <a:gd name="T10" fmla="*/ 9 w 232"/>
                    <a:gd name="T11" fmla="*/ 40 h 94"/>
                    <a:gd name="T12" fmla="*/ 4 w 232"/>
                    <a:gd name="T13" fmla="*/ 22 h 94"/>
                    <a:gd name="T14" fmla="*/ 13 w 232"/>
                    <a:gd name="T15" fmla="*/ 31 h 94"/>
                    <a:gd name="T16" fmla="*/ 13 w 232"/>
                    <a:gd name="T17" fmla="*/ 31 h 94"/>
                    <a:gd name="T18" fmla="*/ 18 w 232"/>
                    <a:gd name="T19" fmla="*/ 40 h 94"/>
                    <a:gd name="T20" fmla="*/ 18 w 232"/>
                    <a:gd name="T21" fmla="*/ 36 h 94"/>
                    <a:gd name="T22" fmla="*/ 13 w 232"/>
                    <a:gd name="T23" fmla="*/ 31 h 94"/>
                    <a:gd name="T24" fmla="*/ 161 w 232"/>
                    <a:gd name="T25" fmla="*/ 76 h 94"/>
                    <a:gd name="T26" fmla="*/ 161 w 232"/>
                    <a:gd name="T27" fmla="*/ 80 h 94"/>
                    <a:gd name="T28" fmla="*/ 156 w 232"/>
                    <a:gd name="T29" fmla="*/ 85 h 94"/>
                    <a:gd name="T30" fmla="*/ 161 w 232"/>
                    <a:gd name="T31" fmla="*/ 94 h 94"/>
                    <a:gd name="T32" fmla="*/ 183 w 232"/>
                    <a:gd name="T33" fmla="*/ 94 h 94"/>
                    <a:gd name="T34" fmla="*/ 187 w 232"/>
                    <a:gd name="T35" fmla="*/ 71 h 94"/>
                    <a:gd name="T36" fmla="*/ 210 w 232"/>
                    <a:gd name="T37" fmla="*/ 62 h 94"/>
                    <a:gd name="T38" fmla="*/ 232 w 232"/>
                    <a:gd name="T39" fmla="*/ 36 h 94"/>
                    <a:gd name="T40" fmla="*/ 232 w 232"/>
                    <a:gd name="T41" fmla="*/ 27 h 94"/>
                    <a:gd name="T42" fmla="*/ 210 w 232"/>
                    <a:gd name="T43" fmla="*/ 13 h 94"/>
                    <a:gd name="T44" fmla="*/ 201 w 232"/>
                    <a:gd name="T45" fmla="*/ 18 h 94"/>
                    <a:gd name="T46" fmla="*/ 196 w 232"/>
                    <a:gd name="T47" fmla="*/ 13 h 94"/>
                    <a:gd name="T48" fmla="*/ 183 w 232"/>
                    <a:gd name="T49" fmla="*/ 0 h 94"/>
                    <a:gd name="T50" fmla="*/ 161 w 232"/>
                    <a:gd name="T51" fmla="*/ 9 h 94"/>
                    <a:gd name="T52" fmla="*/ 165 w 232"/>
                    <a:gd name="T53" fmla="*/ 18 h 94"/>
                    <a:gd name="T54" fmla="*/ 156 w 232"/>
                    <a:gd name="T55" fmla="*/ 36 h 94"/>
                    <a:gd name="T56" fmla="*/ 152 w 232"/>
                    <a:gd name="T57" fmla="*/ 36 h 94"/>
                    <a:gd name="T58" fmla="*/ 152 w 232"/>
                    <a:gd name="T59" fmla="*/ 45 h 94"/>
                    <a:gd name="T60" fmla="*/ 147 w 232"/>
                    <a:gd name="T61" fmla="*/ 58 h 94"/>
                    <a:gd name="T62" fmla="*/ 156 w 232"/>
                    <a:gd name="T63" fmla="*/ 62 h 94"/>
                    <a:gd name="T64" fmla="*/ 169 w 232"/>
                    <a:gd name="T65" fmla="*/ 58 h 94"/>
                    <a:gd name="T66" fmla="*/ 169 w 232"/>
                    <a:gd name="T67" fmla="*/ 62 h 94"/>
                    <a:gd name="T68" fmla="*/ 161 w 232"/>
                    <a:gd name="T69"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2" h="94">
                      <a:moveTo>
                        <a:pt x="4" y="22"/>
                      </a:moveTo>
                      <a:lnTo>
                        <a:pt x="0" y="27"/>
                      </a:lnTo>
                      <a:lnTo>
                        <a:pt x="4" y="36"/>
                      </a:lnTo>
                      <a:lnTo>
                        <a:pt x="0" y="40"/>
                      </a:lnTo>
                      <a:lnTo>
                        <a:pt x="4" y="45"/>
                      </a:lnTo>
                      <a:lnTo>
                        <a:pt x="9" y="40"/>
                      </a:lnTo>
                      <a:lnTo>
                        <a:pt x="4" y="22"/>
                      </a:lnTo>
                      <a:close/>
                      <a:moveTo>
                        <a:pt x="13" y="31"/>
                      </a:moveTo>
                      <a:lnTo>
                        <a:pt x="13" y="31"/>
                      </a:lnTo>
                      <a:lnTo>
                        <a:pt x="18" y="40"/>
                      </a:lnTo>
                      <a:lnTo>
                        <a:pt x="18" y="36"/>
                      </a:lnTo>
                      <a:lnTo>
                        <a:pt x="13" y="31"/>
                      </a:lnTo>
                      <a:close/>
                      <a:moveTo>
                        <a:pt x="161" y="76"/>
                      </a:moveTo>
                      <a:lnTo>
                        <a:pt x="161" y="80"/>
                      </a:lnTo>
                      <a:lnTo>
                        <a:pt x="156" y="85"/>
                      </a:lnTo>
                      <a:lnTo>
                        <a:pt x="161" y="94"/>
                      </a:lnTo>
                      <a:lnTo>
                        <a:pt x="183" y="94"/>
                      </a:lnTo>
                      <a:lnTo>
                        <a:pt x="187" y="71"/>
                      </a:lnTo>
                      <a:lnTo>
                        <a:pt x="210" y="62"/>
                      </a:lnTo>
                      <a:lnTo>
                        <a:pt x="232" y="36"/>
                      </a:lnTo>
                      <a:lnTo>
                        <a:pt x="232" y="27"/>
                      </a:lnTo>
                      <a:lnTo>
                        <a:pt x="210" y="13"/>
                      </a:lnTo>
                      <a:lnTo>
                        <a:pt x="201" y="18"/>
                      </a:lnTo>
                      <a:lnTo>
                        <a:pt x="196" y="13"/>
                      </a:lnTo>
                      <a:lnTo>
                        <a:pt x="183" y="0"/>
                      </a:lnTo>
                      <a:lnTo>
                        <a:pt x="161" y="9"/>
                      </a:lnTo>
                      <a:lnTo>
                        <a:pt x="165" y="18"/>
                      </a:lnTo>
                      <a:lnTo>
                        <a:pt x="156" y="36"/>
                      </a:lnTo>
                      <a:lnTo>
                        <a:pt x="152" y="36"/>
                      </a:lnTo>
                      <a:lnTo>
                        <a:pt x="152" y="45"/>
                      </a:lnTo>
                      <a:lnTo>
                        <a:pt x="147" y="58"/>
                      </a:lnTo>
                      <a:lnTo>
                        <a:pt x="156" y="62"/>
                      </a:lnTo>
                      <a:lnTo>
                        <a:pt x="169" y="58"/>
                      </a:lnTo>
                      <a:lnTo>
                        <a:pt x="169" y="62"/>
                      </a:lnTo>
                      <a:lnTo>
                        <a:pt x="161" y="7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79" name="Freeform 77"/>
                <p:cNvSpPr>
                  <a:spLocks/>
                </p:cNvSpPr>
                <p:nvPr/>
              </p:nvSpPr>
              <p:spPr bwMode="gray">
                <a:xfrm>
                  <a:off x="1387" y="2569"/>
                  <a:ext cx="36" cy="23"/>
                </a:xfrm>
                <a:custGeom>
                  <a:avLst/>
                  <a:gdLst>
                    <a:gd name="T0" fmla="*/ 0 w 36"/>
                    <a:gd name="T1" fmla="*/ 9 h 23"/>
                    <a:gd name="T2" fmla="*/ 27 w 36"/>
                    <a:gd name="T3" fmla="*/ 23 h 23"/>
                    <a:gd name="T4" fmla="*/ 36 w 36"/>
                    <a:gd name="T5" fmla="*/ 18 h 23"/>
                    <a:gd name="T6" fmla="*/ 36 w 36"/>
                    <a:gd name="T7" fmla="*/ 18 h 23"/>
                    <a:gd name="T8" fmla="*/ 36 w 36"/>
                    <a:gd name="T9" fmla="*/ 5 h 23"/>
                    <a:gd name="T10" fmla="*/ 27 w 36"/>
                    <a:gd name="T11" fmla="*/ 5 h 23"/>
                    <a:gd name="T12" fmla="*/ 22 w 36"/>
                    <a:gd name="T13" fmla="*/ 0 h 23"/>
                    <a:gd name="T14" fmla="*/ 14 w 36"/>
                    <a:gd name="T15" fmla="*/ 0 h 23"/>
                    <a:gd name="T16" fmla="*/ 14 w 36"/>
                    <a:gd name="T17" fmla="*/ 5 h 23"/>
                    <a:gd name="T18" fmla="*/ 0 w 36"/>
                    <a:gd name="T1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3">
                      <a:moveTo>
                        <a:pt x="0" y="9"/>
                      </a:moveTo>
                      <a:lnTo>
                        <a:pt x="27" y="23"/>
                      </a:lnTo>
                      <a:lnTo>
                        <a:pt x="36" y="18"/>
                      </a:lnTo>
                      <a:lnTo>
                        <a:pt x="36" y="18"/>
                      </a:lnTo>
                      <a:lnTo>
                        <a:pt x="36" y="5"/>
                      </a:lnTo>
                      <a:lnTo>
                        <a:pt x="27" y="5"/>
                      </a:lnTo>
                      <a:lnTo>
                        <a:pt x="22" y="0"/>
                      </a:lnTo>
                      <a:lnTo>
                        <a:pt x="14" y="0"/>
                      </a:lnTo>
                      <a:lnTo>
                        <a:pt x="14" y="5"/>
                      </a:lnTo>
                      <a:lnTo>
                        <a:pt x="0"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80" name="Freeform 78"/>
                <p:cNvSpPr>
                  <a:spLocks noEditPoints="1"/>
                </p:cNvSpPr>
                <p:nvPr/>
              </p:nvSpPr>
              <p:spPr bwMode="gray">
                <a:xfrm>
                  <a:off x="1820" y="3655"/>
                  <a:ext cx="45" cy="27"/>
                </a:xfrm>
                <a:custGeom>
                  <a:avLst/>
                  <a:gdLst>
                    <a:gd name="T0" fmla="*/ 18 w 45"/>
                    <a:gd name="T1" fmla="*/ 5 h 27"/>
                    <a:gd name="T2" fmla="*/ 0 w 45"/>
                    <a:gd name="T3" fmla="*/ 0 h 27"/>
                    <a:gd name="T4" fmla="*/ 9 w 45"/>
                    <a:gd name="T5" fmla="*/ 9 h 27"/>
                    <a:gd name="T6" fmla="*/ 0 w 45"/>
                    <a:gd name="T7" fmla="*/ 22 h 27"/>
                    <a:gd name="T8" fmla="*/ 5 w 45"/>
                    <a:gd name="T9" fmla="*/ 27 h 27"/>
                    <a:gd name="T10" fmla="*/ 14 w 45"/>
                    <a:gd name="T11" fmla="*/ 18 h 27"/>
                    <a:gd name="T12" fmla="*/ 18 w 45"/>
                    <a:gd name="T13" fmla="*/ 5 h 27"/>
                    <a:gd name="T14" fmla="*/ 23 w 45"/>
                    <a:gd name="T15" fmla="*/ 0 h 27"/>
                    <a:gd name="T16" fmla="*/ 23 w 45"/>
                    <a:gd name="T17" fmla="*/ 9 h 27"/>
                    <a:gd name="T18" fmla="*/ 18 w 45"/>
                    <a:gd name="T19" fmla="*/ 9 h 27"/>
                    <a:gd name="T20" fmla="*/ 14 w 45"/>
                    <a:gd name="T21" fmla="*/ 22 h 27"/>
                    <a:gd name="T22" fmla="*/ 23 w 45"/>
                    <a:gd name="T23" fmla="*/ 27 h 27"/>
                    <a:gd name="T24" fmla="*/ 27 w 45"/>
                    <a:gd name="T25" fmla="*/ 27 h 27"/>
                    <a:gd name="T26" fmla="*/ 36 w 45"/>
                    <a:gd name="T27" fmla="*/ 18 h 27"/>
                    <a:gd name="T28" fmla="*/ 45 w 45"/>
                    <a:gd name="T29" fmla="*/ 9 h 27"/>
                    <a:gd name="T30" fmla="*/ 41 w 45"/>
                    <a:gd name="T31" fmla="*/ 5 h 27"/>
                    <a:gd name="T32" fmla="*/ 23 w 45"/>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27">
                      <a:moveTo>
                        <a:pt x="18" y="5"/>
                      </a:moveTo>
                      <a:lnTo>
                        <a:pt x="0" y="0"/>
                      </a:lnTo>
                      <a:lnTo>
                        <a:pt x="9" y="9"/>
                      </a:lnTo>
                      <a:lnTo>
                        <a:pt x="0" y="22"/>
                      </a:lnTo>
                      <a:lnTo>
                        <a:pt x="5" y="27"/>
                      </a:lnTo>
                      <a:lnTo>
                        <a:pt x="14" y="18"/>
                      </a:lnTo>
                      <a:lnTo>
                        <a:pt x="18" y="5"/>
                      </a:lnTo>
                      <a:close/>
                      <a:moveTo>
                        <a:pt x="23" y="0"/>
                      </a:moveTo>
                      <a:lnTo>
                        <a:pt x="23" y="9"/>
                      </a:lnTo>
                      <a:lnTo>
                        <a:pt x="18" y="9"/>
                      </a:lnTo>
                      <a:lnTo>
                        <a:pt x="14" y="22"/>
                      </a:lnTo>
                      <a:lnTo>
                        <a:pt x="23" y="27"/>
                      </a:lnTo>
                      <a:lnTo>
                        <a:pt x="27" y="27"/>
                      </a:lnTo>
                      <a:lnTo>
                        <a:pt x="36" y="18"/>
                      </a:lnTo>
                      <a:lnTo>
                        <a:pt x="45" y="9"/>
                      </a:lnTo>
                      <a:lnTo>
                        <a:pt x="41" y="5"/>
                      </a:lnTo>
                      <a:lnTo>
                        <a:pt x="23"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81" name="Freeform 79"/>
                <p:cNvSpPr>
                  <a:spLocks/>
                </p:cNvSpPr>
                <p:nvPr/>
              </p:nvSpPr>
              <p:spPr bwMode="gray">
                <a:xfrm>
                  <a:off x="1901" y="2699"/>
                  <a:ext cx="44" cy="53"/>
                </a:xfrm>
                <a:custGeom>
                  <a:avLst/>
                  <a:gdLst>
                    <a:gd name="T0" fmla="*/ 9 w 44"/>
                    <a:gd name="T1" fmla="*/ 4 h 53"/>
                    <a:gd name="T2" fmla="*/ 4 w 44"/>
                    <a:gd name="T3" fmla="*/ 13 h 53"/>
                    <a:gd name="T4" fmla="*/ 13 w 44"/>
                    <a:gd name="T5" fmla="*/ 31 h 53"/>
                    <a:gd name="T6" fmla="*/ 0 w 44"/>
                    <a:gd name="T7" fmla="*/ 45 h 53"/>
                    <a:gd name="T8" fmla="*/ 9 w 44"/>
                    <a:gd name="T9" fmla="*/ 53 h 53"/>
                    <a:gd name="T10" fmla="*/ 22 w 44"/>
                    <a:gd name="T11" fmla="*/ 53 h 53"/>
                    <a:gd name="T12" fmla="*/ 36 w 44"/>
                    <a:gd name="T13" fmla="*/ 45 h 53"/>
                    <a:gd name="T14" fmla="*/ 44 w 44"/>
                    <a:gd name="T15" fmla="*/ 27 h 53"/>
                    <a:gd name="T16" fmla="*/ 40 w 44"/>
                    <a:gd name="T17" fmla="*/ 18 h 53"/>
                    <a:gd name="T18" fmla="*/ 27 w 44"/>
                    <a:gd name="T19" fmla="*/ 4 h 53"/>
                    <a:gd name="T20" fmla="*/ 13 w 44"/>
                    <a:gd name="T21" fmla="*/ 0 h 53"/>
                    <a:gd name="T22" fmla="*/ 9 w 44"/>
                    <a:gd name="T23"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3">
                      <a:moveTo>
                        <a:pt x="9" y="4"/>
                      </a:moveTo>
                      <a:lnTo>
                        <a:pt x="4" y="13"/>
                      </a:lnTo>
                      <a:lnTo>
                        <a:pt x="13" y="31"/>
                      </a:lnTo>
                      <a:lnTo>
                        <a:pt x="0" y="45"/>
                      </a:lnTo>
                      <a:lnTo>
                        <a:pt x="9" y="53"/>
                      </a:lnTo>
                      <a:lnTo>
                        <a:pt x="22" y="53"/>
                      </a:lnTo>
                      <a:lnTo>
                        <a:pt x="36" y="45"/>
                      </a:lnTo>
                      <a:lnTo>
                        <a:pt x="44" y="27"/>
                      </a:lnTo>
                      <a:lnTo>
                        <a:pt x="40" y="18"/>
                      </a:lnTo>
                      <a:lnTo>
                        <a:pt x="27" y="4"/>
                      </a:lnTo>
                      <a:lnTo>
                        <a:pt x="13" y="0"/>
                      </a:lnTo>
                      <a:lnTo>
                        <a:pt x="9" y="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82" name="Freeform 80"/>
                <p:cNvSpPr>
                  <a:spLocks noEditPoints="1"/>
                </p:cNvSpPr>
                <p:nvPr/>
              </p:nvSpPr>
              <p:spPr bwMode="gray">
                <a:xfrm>
                  <a:off x="512" y="2927"/>
                  <a:ext cx="250" cy="290"/>
                </a:xfrm>
                <a:custGeom>
                  <a:avLst/>
                  <a:gdLst>
                    <a:gd name="T0" fmla="*/ 0 w 250"/>
                    <a:gd name="T1" fmla="*/ 103 h 290"/>
                    <a:gd name="T2" fmla="*/ 0 w 250"/>
                    <a:gd name="T3" fmla="*/ 103 h 290"/>
                    <a:gd name="T4" fmla="*/ 4 w 250"/>
                    <a:gd name="T5" fmla="*/ 103 h 290"/>
                    <a:gd name="T6" fmla="*/ 0 w 250"/>
                    <a:gd name="T7" fmla="*/ 103 h 290"/>
                    <a:gd name="T8" fmla="*/ 26 w 250"/>
                    <a:gd name="T9" fmla="*/ 120 h 290"/>
                    <a:gd name="T10" fmla="*/ 26 w 250"/>
                    <a:gd name="T11" fmla="*/ 120 h 290"/>
                    <a:gd name="T12" fmla="*/ 31 w 250"/>
                    <a:gd name="T13" fmla="*/ 125 h 290"/>
                    <a:gd name="T14" fmla="*/ 35 w 250"/>
                    <a:gd name="T15" fmla="*/ 120 h 290"/>
                    <a:gd name="T16" fmla="*/ 26 w 250"/>
                    <a:gd name="T17" fmla="*/ 120 h 290"/>
                    <a:gd name="T18" fmla="*/ 49 w 250"/>
                    <a:gd name="T19" fmla="*/ 80 h 290"/>
                    <a:gd name="T20" fmla="*/ 49 w 250"/>
                    <a:gd name="T21" fmla="*/ 85 h 290"/>
                    <a:gd name="T22" fmla="*/ 58 w 250"/>
                    <a:gd name="T23" fmla="*/ 85 h 290"/>
                    <a:gd name="T24" fmla="*/ 53 w 250"/>
                    <a:gd name="T25" fmla="*/ 80 h 290"/>
                    <a:gd name="T26" fmla="*/ 49 w 250"/>
                    <a:gd name="T27" fmla="*/ 80 h 290"/>
                    <a:gd name="T28" fmla="*/ 80 w 250"/>
                    <a:gd name="T29" fmla="*/ 98 h 290"/>
                    <a:gd name="T30" fmla="*/ 84 w 250"/>
                    <a:gd name="T31" fmla="*/ 103 h 290"/>
                    <a:gd name="T32" fmla="*/ 89 w 250"/>
                    <a:gd name="T33" fmla="*/ 103 h 290"/>
                    <a:gd name="T34" fmla="*/ 84 w 250"/>
                    <a:gd name="T35" fmla="*/ 98 h 290"/>
                    <a:gd name="T36" fmla="*/ 80 w 250"/>
                    <a:gd name="T37" fmla="*/ 98 h 290"/>
                    <a:gd name="T38" fmla="*/ 102 w 250"/>
                    <a:gd name="T39" fmla="*/ 286 h 290"/>
                    <a:gd name="T40" fmla="*/ 102 w 250"/>
                    <a:gd name="T41" fmla="*/ 286 h 290"/>
                    <a:gd name="T42" fmla="*/ 107 w 250"/>
                    <a:gd name="T43" fmla="*/ 290 h 290"/>
                    <a:gd name="T44" fmla="*/ 107 w 250"/>
                    <a:gd name="T45" fmla="*/ 286 h 290"/>
                    <a:gd name="T46" fmla="*/ 102 w 250"/>
                    <a:gd name="T47" fmla="*/ 286 h 290"/>
                    <a:gd name="T48" fmla="*/ 111 w 250"/>
                    <a:gd name="T49" fmla="*/ 98 h 290"/>
                    <a:gd name="T50" fmla="*/ 111 w 250"/>
                    <a:gd name="T51" fmla="*/ 103 h 290"/>
                    <a:gd name="T52" fmla="*/ 116 w 250"/>
                    <a:gd name="T53" fmla="*/ 103 h 290"/>
                    <a:gd name="T54" fmla="*/ 116 w 250"/>
                    <a:gd name="T55" fmla="*/ 103 h 290"/>
                    <a:gd name="T56" fmla="*/ 111 w 250"/>
                    <a:gd name="T57" fmla="*/ 98 h 290"/>
                    <a:gd name="T58" fmla="*/ 116 w 250"/>
                    <a:gd name="T59" fmla="*/ 165 h 290"/>
                    <a:gd name="T60" fmla="*/ 116 w 250"/>
                    <a:gd name="T61" fmla="*/ 165 h 290"/>
                    <a:gd name="T62" fmla="*/ 120 w 250"/>
                    <a:gd name="T63" fmla="*/ 165 h 290"/>
                    <a:gd name="T64" fmla="*/ 120 w 250"/>
                    <a:gd name="T65" fmla="*/ 170 h 290"/>
                    <a:gd name="T66" fmla="*/ 120 w 250"/>
                    <a:gd name="T67" fmla="*/ 170 h 290"/>
                    <a:gd name="T68" fmla="*/ 116 w 250"/>
                    <a:gd name="T69" fmla="*/ 165 h 290"/>
                    <a:gd name="T70" fmla="*/ 151 w 250"/>
                    <a:gd name="T71" fmla="*/ 125 h 290"/>
                    <a:gd name="T72" fmla="*/ 156 w 250"/>
                    <a:gd name="T73" fmla="*/ 129 h 290"/>
                    <a:gd name="T74" fmla="*/ 156 w 250"/>
                    <a:gd name="T75" fmla="*/ 129 h 290"/>
                    <a:gd name="T76" fmla="*/ 151 w 250"/>
                    <a:gd name="T77" fmla="*/ 125 h 290"/>
                    <a:gd name="T78" fmla="*/ 151 w 250"/>
                    <a:gd name="T79" fmla="*/ 125 h 290"/>
                    <a:gd name="T80" fmla="*/ 174 w 250"/>
                    <a:gd name="T81" fmla="*/ 0 h 290"/>
                    <a:gd name="T82" fmla="*/ 174 w 250"/>
                    <a:gd name="T83" fmla="*/ 0 h 290"/>
                    <a:gd name="T84" fmla="*/ 178 w 250"/>
                    <a:gd name="T85" fmla="*/ 0 h 290"/>
                    <a:gd name="T86" fmla="*/ 178 w 250"/>
                    <a:gd name="T87" fmla="*/ 0 h 290"/>
                    <a:gd name="T88" fmla="*/ 174 w 250"/>
                    <a:gd name="T89" fmla="*/ 0 h 290"/>
                    <a:gd name="T90" fmla="*/ 214 w 250"/>
                    <a:gd name="T91" fmla="*/ 125 h 290"/>
                    <a:gd name="T92" fmla="*/ 214 w 250"/>
                    <a:gd name="T93" fmla="*/ 134 h 290"/>
                    <a:gd name="T94" fmla="*/ 214 w 250"/>
                    <a:gd name="T95" fmla="*/ 129 h 290"/>
                    <a:gd name="T96" fmla="*/ 214 w 250"/>
                    <a:gd name="T97" fmla="*/ 125 h 290"/>
                    <a:gd name="T98" fmla="*/ 241 w 250"/>
                    <a:gd name="T99" fmla="*/ 201 h 290"/>
                    <a:gd name="T100" fmla="*/ 236 w 250"/>
                    <a:gd name="T101" fmla="*/ 205 h 290"/>
                    <a:gd name="T102" fmla="*/ 241 w 250"/>
                    <a:gd name="T103" fmla="*/ 205 h 290"/>
                    <a:gd name="T104" fmla="*/ 241 w 250"/>
                    <a:gd name="T105" fmla="*/ 201 h 290"/>
                    <a:gd name="T106" fmla="*/ 241 w 250"/>
                    <a:gd name="T107" fmla="*/ 201 h 290"/>
                    <a:gd name="T108" fmla="*/ 245 w 250"/>
                    <a:gd name="T109" fmla="*/ 205 h 290"/>
                    <a:gd name="T110" fmla="*/ 245 w 250"/>
                    <a:gd name="T111" fmla="*/ 205 h 290"/>
                    <a:gd name="T112" fmla="*/ 250 w 250"/>
                    <a:gd name="T113" fmla="*/ 210 h 290"/>
                    <a:gd name="T114" fmla="*/ 250 w 250"/>
                    <a:gd name="T115" fmla="*/ 205 h 290"/>
                    <a:gd name="T116" fmla="*/ 245 w 250"/>
                    <a:gd name="T117" fmla="*/ 205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0" h="290">
                      <a:moveTo>
                        <a:pt x="0" y="103"/>
                      </a:moveTo>
                      <a:lnTo>
                        <a:pt x="0" y="103"/>
                      </a:lnTo>
                      <a:lnTo>
                        <a:pt x="4" y="103"/>
                      </a:lnTo>
                      <a:lnTo>
                        <a:pt x="0" y="103"/>
                      </a:lnTo>
                      <a:close/>
                      <a:moveTo>
                        <a:pt x="26" y="120"/>
                      </a:moveTo>
                      <a:lnTo>
                        <a:pt x="26" y="120"/>
                      </a:lnTo>
                      <a:lnTo>
                        <a:pt x="31" y="125"/>
                      </a:lnTo>
                      <a:lnTo>
                        <a:pt x="35" y="120"/>
                      </a:lnTo>
                      <a:lnTo>
                        <a:pt x="26" y="120"/>
                      </a:lnTo>
                      <a:close/>
                      <a:moveTo>
                        <a:pt x="49" y="80"/>
                      </a:moveTo>
                      <a:lnTo>
                        <a:pt x="49" y="85"/>
                      </a:lnTo>
                      <a:lnTo>
                        <a:pt x="58" y="85"/>
                      </a:lnTo>
                      <a:lnTo>
                        <a:pt x="53" y="80"/>
                      </a:lnTo>
                      <a:lnTo>
                        <a:pt x="49" y="80"/>
                      </a:lnTo>
                      <a:close/>
                      <a:moveTo>
                        <a:pt x="80" y="98"/>
                      </a:moveTo>
                      <a:lnTo>
                        <a:pt x="84" y="103"/>
                      </a:lnTo>
                      <a:lnTo>
                        <a:pt x="89" y="103"/>
                      </a:lnTo>
                      <a:lnTo>
                        <a:pt x="84" y="98"/>
                      </a:lnTo>
                      <a:lnTo>
                        <a:pt x="80" y="98"/>
                      </a:lnTo>
                      <a:close/>
                      <a:moveTo>
                        <a:pt x="102" y="286"/>
                      </a:moveTo>
                      <a:lnTo>
                        <a:pt x="102" y="286"/>
                      </a:lnTo>
                      <a:lnTo>
                        <a:pt x="107" y="290"/>
                      </a:lnTo>
                      <a:lnTo>
                        <a:pt x="107" y="286"/>
                      </a:lnTo>
                      <a:lnTo>
                        <a:pt x="102" y="286"/>
                      </a:lnTo>
                      <a:close/>
                      <a:moveTo>
                        <a:pt x="111" y="98"/>
                      </a:moveTo>
                      <a:lnTo>
                        <a:pt x="111" y="103"/>
                      </a:lnTo>
                      <a:lnTo>
                        <a:pt x="116" y="103"/>
                      </a:lnTo>
                      <a:lnTo>
                        <a:pt x="116" y="103"/>
                      </a:lnTo>
                      <a:lnTo>
                        <a:pt x="111" y="98"/>
                      </a:lnTo>
                      <a:close/>
                      <a:moveTo>
                        <a:pt x="116" y="165"/>
                      </a:moveTo>
                      <a:lnTo>
                        <a:pt x="116" y="165"/>
                      </a:lnTo>
                      <a:lnTo>
                        <a:pt x="120" y="165"/>
                      </a:lnTo>
                      <a:lnTo>
                        <a:pt x="120" y="170"/>
                      </a:lnTo>
                      <a:lnTo>
                        <a:pt x="120" y="170"/>
                      </a:lnTo>
                      <a:lnTo>
                        <a:pt x="116" y="165"/>
                      </a:lnTo>
                      <a:close/>
                      <a:moveTo>
                        <a:pt x="151" y="125"/>
                      </a:moveTo>
                      <a:lnTo>
                        <a:pt x="156" y="129"/>
                      </a:lnTo>
                      <a:lnTo>
                        <a:pt x="156" y="129"/>
                      </a:lnTo>
                      <a:lnTo>
                        <a:pt x="151" y="125"/>
                      </a:lnTo>
                      <a:lnTo>
                        <a:pt x="151" y="125"/>
                      </a:lnTo>
                      <a:close/>
                      <a:moveTo>
                        <a:pt x="174" y="0"/>
                      </a:moveTo>
                      <a:lnTo>
                        <a:pt x="174" y="0"/>
                      </a:lnTo>
                      <a:lnTo>
                        <a:pt x="178" y="0"/>
                      </a:lnTo>
                      <a:lnTo>
                        <a:pt x="178" y="0"/>
                      </a:lnTo>
                      <a:lnTo>
                        <a:pt x="174" y="0"/>
                      </a:lnTo>
                      <a:close/>
                      <a:moveTo>
                        <a:pt x="214" y="125"/>
                      </a:moveTo>
                      <a:lnTo>
                        <a:pt x="214" y="134"/>
                      </a:lnTo>
                      <a:lnTo>
                        <a:pt x="214" y="129"/>
                      </a:lnTo>
                      <a:lnTo>
                        <a:pt x="214" y="125"/>
                      </a:lnTo>
                      <a:close/>
                      <a:moveTo>
                        <a:pt x="241" y="201"/>
                      </a:moveTo>
                      <a:lnTo>
                        <a:pt x="236" y="205"/>
                      </a:lnTo>
                      <a:lnTo>
                        <a:pt x="241" y="205"/>
                      </a:lnTo>
                      <a:lnTo>
                        <a:pt x="241" y="201"/>
                      </a:lnTo>
                      <a:lnTo>
                        <a:pt x="241" y="201"/>
                      </a:lnTo>
                      <a:close/>
                      <a:moveTo>
                        <a:pt x="245" y="205"/>
                      </a:moveTo>
                      <a:lnTo>
                        <a:pt x="245" y="205"/>
                      </a:lnTo>
                      <a:lnTo>
                        <a:pt x="250" y="210"/>
                      </a:lnTo>
                      <a:lnTo>
                        <a:pt x="250" y="205"/>
                      </a:lnTo>
                      <a:lnTo>
                        <a:pt x="245" y="20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83" name="Freeform 81"/>
                <p:cNvSpPr>
                  <a:spLocks/>
                </p:cNvSpPr>
                <p:nvPr/>
              </p:nvSpPr>
              <p:spPr bwMode="gray">
                <a:xfrm>
                  <a:off x="1798" y="2601"/>
                  <a:ext cx="9" cy="4"/>
                </a:xfrm>
                <a:custGeom>
                  <a:avLst/>
                  <a:gdLst>
                    <a:gd name="T0" fmla="*/ 5 w 9"/>
                    <a:gd name="T1" fmla="*/ 0 h 4"/>
                    <a:gd name="T2" fmla="*/ 0 w 9"/>
                    <a:gd name="T3" fmla="*/ 4 h 4"/>
                    <a:gd name="T4" fmla="*/ 5 w 9"/>
                    <a:gd name="T5" fmla="*/ 4 h 4"/>
                    <a:gd name="T6" fmla="*/ 9 w 9"/>
                    <a:gd name="T7" fmla="*/ 4 h 4"/>
                    <a:gd name="T8" fmla="*/ 5 w 9"/>
                    <a:gd name="T9" fmla="*/ 0 h 4"/>
                  </a:gdLst>
                  <a:ahLst/>
                  <a:cxnLst>
                    <a:cxn ang="0">
                      <a:pos x="T0" y="T1"/>
                    </a:cxn>
                    <a:cxn ang="0">
                      <a:pos x="T2" y="T3"/>
                    </a:cxn>
                    <a:cxn ang="0">
                      <a:pos x="T4" y="T5"/>
                    </a:cxn>
                    <a:cxn ang="0">
                      <a:pos x="T6" y="T7"/>
                    </a:cxn>
                    <a:cxn ang="0">
                      <a:pos x="T8" y="T9"/>
                    </a:cxn>
                  </a:cxnLst>
                  <a:rect l="0" t="0" r="r" b="b"/>
                  <a:pathLst>
                    <a:path w="9" h="4">
                      <a:moveTo>
                        <a:pt x="5" y="0"/>
                      </a:moveTo>
                      <a:lnTo>
                        <a:pt x="0" y="4"/>
                      </a:lnTo>
                      <a:lnTo>
                        <a:pt x="5" y="4"/>
                      </a:lnTo>
                      <a:lnTo>
                        <a:pt x="9" y="4"/>
                      </a:lnTo>
                      <a:lnTo>
                        <a:pt x="5"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84" name="Freeform 82"/>
                <p:cNvSpPr>
                  <a:spLocks/>
                </p:cNvSpPr>
                <p:nvPr/>
              </p:nvSpPr>
              <p:spPr bwMode="gray">
                <a:xfrm>
                  <a:off x="1803" y="2538"/>
                  <a:ext cx="8" cy="9"/>
                </a:xfrm>
                <a:custGeom>
                  <a:avLst/>
                  <a:gdLst>
                    <a:gd name="T0" fmla="*/ 4 w 8"/>
                    <a:gd name="T1" fmla="*/ 0 h 9"/>
                    <a:gd name="T2" fmla="*/ 4 w 8"/>
                    <a:gd name="T3" fmla="*/ 4 h 9"/>
                    <a:gd name="T4" fmla="*/ 0 w 8"/>
                    <a:gd name="T5" fmla="*/ 4 h 9"/>
                    <a:gd name="T6" fmla="*/ 4 w 8"/>
                    <a:gd name="T7" fmla="*/ 9 h 9"/>
                    <a:gd name="T8" fmla="*/ 4 w 8"/>
                    <a:gd name="T9" fmla="*/ 4 h 9"/>
                    <a:gd name="T10" fmla="*/ 8 w 8"/>
                    <a:gd name="T11" fmla="*/ 4 h 9"/>
                    <a:gd name="T12" fmla="*/ 4 w 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4" y="0"/>
                      </a:moveTo>
                      <a:lnTo>
                        <a:pt x="4" y="4"/>
                      </a:lnTo>
                      <a:lnTo>
                        <a:pt x="0" y="4"/>
                      </a:lnTo>
                      <a:lnTo>
                        <a:pt x="4" y="9"/>
                      </a:lnTo>
                      <a:lnTo>
                        <a:pt x="4" y="4"/>
                      </a:lnTo>
                      <a:lnTo>
                        <a:pt x="8" y="4"/>
                      </a:lnTo>
                      <a:lnTo>
                        <a:pt x="4"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85" name="Freeform 83"/>
                <p:cNvSpPr>
                  <a:spLocks/>
                </p:cNvSpPr>
                <p:nvPr/>
              </p:nvSpPr>
              <p:spPr bwMode="gray">
                <a:xfrm>
                  <a:off x="1360" y="2516"/>
                  <a:ext cx="58" cy="62"/>
                </a:xfrm>
                <a:custGeom>
                  <a:avLst/>
                  <a:gdLst>
                    <a:gd name="T0" fmla="*/ 0 w 58"/>
                    <a:gd name="T1" fmla="*/ 53 h 62"/>
                    <a:gd name="T2" fmla="*/ 9 w 58"/>
                    <a:gd name="T3" fmla="*/ 62 h 62"/>
                    <a:gd name="T4" fmla="*/ 18 w 58"/>
                    <a:gd name="T5" fmla="*/ 58 h 62"/>
                    <a:gd name="T6" fmla="*/ 27 w 58"/>
                    <a:gd name="T7" fmla="*/ 62 h 62"/>
                    <a:gd name="T8" fmla="*/ 41 w 58"/>
                    <a:gd name="T9" fmla="*/ 58 h 62"/>
                    <a:gd name="T10" fmla="*/ 41 w 58"/>
                    <a:gd name="T11" fmla="*/ 53 h 62"/>
                    <a:gd name="T12" fmla="*/ 41 w 58"/>
                    <a:gd name="T13" fmla="*/ 49 h 62"/>
                    <a:gd name="T14" fmla="*/ 49 w 58"/>
                    <a:gd name="T15" fmla="*/ 44 h 62"/>
                    <a:gd name="T16" fmla="*/ 58 w 58"/>
                    <a:gd name="T17" fmla="*/ 35 h 62"/>
                    <a:gd name="T18" fmla="*/ 58 w 58"/>
                    <a:gd name="T19" fmla="*/ 31 h 62"/>
                    <a:gd name="T20" fmla="*/ 49 w 58"/>
                    <a:gd name="T21" fmla="*/ 35 h 62"/>
                    <a:gd name="T22" fmla="*/ 45 w 58"/>
                    <a:gd name="T23" fmla="*/ 35 h 62"/>
                    <a:gd name="T24" fmla="*/ 49 w 58"/>
                    <a:gd name="T25" fmla="*/ 31 h 62"/>
                    <a:gd name="T26" fmla="*/ 45 w 58"/>
                    <a:gd name="T27" fmla="*/ 31 h 62"/>
                    <a:gd name="T28" fmla="*/ 41 w 58"/>
                    <a:gd name="T29" fmla="*/ 17 h 62"/>
                    <a:gd name="T30" fmla="*/ 45 w 58"/>
                    <a:gd name="T31" fmla="*/ 0 h 62"/>
                    <a:gd name="T32" fmla="*/ 41 w 58"/>
                    <a:gd name="T33" fmla="*/ 4 h 62"/>
                    <a:gd name="T34" fmla="*/ 36 w 58"/>
                    <a:gd name="T35" fmla="*/ 0 h 62"/>
                    <a:gd name="T36" fmla="*/ 18 w 58"/>
                    <a:gd name="T37" fmla="*/ 0 h 62"/>
                    <a:gd name="T38" fmla="*/ 14 w 58"/>
                    <a:gd name="T39" fmla="*/ 9 h 62"/>
                    <a:gd name="T40" fmla="*/ 27 w 58"/>
                    <a:gd name="T41" fmla="*/ 26 h 62"/>
                    <a:gd name="T42" fmla="*/ 27 w 58"/>
                    <a:gd name="T43" fmla="*/ 31 h 62"/>
                    <a:gd name="T44" fmla="*/ 5 w 58"/>
                    <a:gd name="T45" fmla="*/ 31 h 62"/>
                    <a:gd name="T46" fmla="*/ 0 w 58"/>
                    <a:gd name="T47"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62">
                      <a:moveTo>
                        <a:pt x="0" y="53"/>
                      </a:moveTo>
                      <a:lnTo>
                        <a:pt x="9" y="62"/>
                      </a:lnTo>
                      <a:lnTo>
                        <a:pt x="18" y="58"/>
                      </a:lnTo>
                      <a:lnTo>
                        <a:pt x="27" y="62"/>
                      </a:lnTo>
                      <a:lnTo>
                        <a:pt x="41" y="58"/>
                      </a:lnTo>
                      <a:lnTo>
                        <a:pt x="41" y="53"/>
                      </a:lnTo>
                      <a:lnTo>
                        <a:pt x="41" y="49"/>
                      </a:lnTo>
                      <a:lnTo>
                        <a:pt x="49" y="44"/>
                      </a:lnTo>
                      <a:lnTo>
                        <a:pt x="58" y="35"/>
                      </a:lnTo>
                      <a:lnTo>
                        <a:pt x="58" y="31"/>
                      </a:lnTo>
                      <a:lnTo>
                        <a:pt x="49" y="35"/>
                      </a:lnTo>
                      <a:lnTo>
                        <a:pt x="45" y="35"/>
                      </a:lnTo>
                      <a:lnTo>
                        <a:pt x="49" y="31"/>
                      </a:lnTo>
                      <a:lnTo>
                        <a:pt x="45" y="31"/>
                      </a:lnTo>
                      <a:lnTo>
                        <a:pt x="41" y="17"/>
                      </a:lnTo>
                      <a:lnTo>
                        <a:pt x="45" y="0"/>
                      </a:lnTo>
                      <a:lnTo>
                        <a:pt x="41" y="4"/>
                      </a:lnTo>
                      <a:lnTo>
                        <a:pt x="36" y="0"/>
                      </a:lnTo>
                      <a:lnTo>
                        <a:pt x="18" y="0"/>
                      </a:lnTo>
                      <a:lnTo>
                        <a:pt x="14" y="9"/>
                      </a:lnTo>
                      <a:lnTo>
                        <a:pt x="27" y="26"/>
                      </a:lnTo>
                      <a:lnTo>
                        <a:pt x="27" y="31"/>
                      </a:lnTo>
                      <a:lnTo>
                        <a:pt x="5" y="31"/>
                      </a:lnTo>
                      <a:lnTo>
                        <a:pt x="0" y="5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86" name="Freeform 84"/>
                <p:cNvSpPr>
                  <a:spLocks/>
                </p:cNvSpPr>
                <p:nvPr/>
              </p:nvSpPr>
              <p:spPr bwMode="gray">
                <a:xfrm>
                  <a:off x="1807" y="2654"/>
                  <a:ext cx="71" cy="112"/>
                </a:xfrm>
                <a:custGeom>
                  <a:avLst/>
                  <a:gdLst>
                    <a:gd name="T0" fmla="*/ 18 w 71"/>
                    <a:gd name="T1" fmla="*/ 0 h 112"/>
                    <a:gd name="T2" fmla="*/ 22 w 71"/>
                    <a:gd name="T3" fmla="*/ 14 h 112"/>
                    <a:gd name="T4" fmla="*/ 9 w 71"/>
                    <a:gd name="T5" fmla="*/ 18 h 112"/>
                    <a:gd name="T6" fmla="*/ 13 w 71"/>
                    <a:gd name="T7" fmla="*/ 27 h 112"/>
                    <a:gd name="T8" fmla="*/ 4 w 71"/>
                    <a:gd name="T9" fmla="*/ 31 h 112"/>
                    <a:gd name="T10" fmla="*/ 0 w 71"/>
                    <a:gd name="T11" fmla="*/ 40 h 112"/>
                    <a:gd name="T12" fmla="*/ 9 w 71"/>
                    <a:gd name="T13" fmla="*/ 49 h 112"/>
                    <a:gd name="T14" fmla="*/ 18 w 71"/>
                    <a:gd name="T15" fmla="*/ 49 h 112"/>
                    <a:gd name="T16" fmla="*/ 18 w 71"/>
                    <a:gd name="T17" fmla="*/ 63 h 112"/>
                    <a:gd name="T18" fmla="*/ 27 w 71"/>
                    <a:gd name="T19" fmla="*/ 63 h 112"/>
                    <a:gd name="T20" fmla="*/ 18 w 71"/>
                    <a:gd name="T21" fmla="*/ 72 h 112"/>
                    <a:gd name="T22" fmla="*/ 18 w 71"/>
                    <a:gd name="T23" fmla="*/ 94 h 112"/>
                    <a:gd name="T24" fmla="*/ 27 w 71"/>
                    <a:gd name="T25" fmla="*/ 107 h 112"/>
                    <a:gd name="T26" fmla="*/ 36 w 71"/>
                    <a:gd name="T27" fmla="*/ 112 h 112"/>
                    <a:gd name="T28" fmla="*/ 45 w 71"/>
                    <a:gd name="T29" fmla="*/ 103 h 112"/>
                    <a:gd name="T30" fmla="*/ 71 w 71"/>
                    <a:gd name="T31" fmla="*/ 98 h 112"/>
                    <a:gd name="T32" fmla="*/ 67 w 71"/>
                    <a:gd name="T33" fmla="*/ 90 h 112"/>
                    <a:gd name="T34" fmla="*/ 63 w 71"/>
                    <a:gd name="T35" fmla="*/ 76 h 112"/>
                    <a:gd name="T36" fmla="*/ 54 w 71"/>
                    <a:gd name="T37" fmla="*/ 76 h 112"/>
                    <a:gd name="T38" fmla="*/ 45 w 71"/>
                    <a:gd name="T39" fmla="*/ 67 h 112"/>
                    <a:gd name="T40" fmla="*/ 49 w 71"/>
                    <a:gd name="T41" fmla="*/ 58 h 112"/>
                    <a:gd name="T42" fmla="*/ 58 w 71"/>
                    <a:gd name="T43" fmla="*/ 54 h 112"/>
                    <a:gd name="T44" fmla="*/ 63 w 71"/>
                    <a:gd name="T45" fmla="*/ 40 h 112"/>
                    <a:gd name="T46" fmla="*/ 58 w 71"/>
                    <a:gd name="T47" fmla="*/ 36 h 112"/>
                    <a:gd name="T48" fmla="*/ 40 w 71"/>
                    <a:gd name="T49" fmla="*/ 22 h 112"/>
                    <a:gd name="T50" fmla="*/ 36 w 71"/>
                    <a:gd name="T51" fmla="*/ 14 h 112"/>
                    <a:gd name="T52" fmla="*/ 27 w 71"/>
                    <a:gd name="T53" fmla="*/ 5 h 112"/>
                    <a:gd name="T54" fmla="*/ 18 w 71"/>
                    <a:gd name="T5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112">
                      <a:moveTo>
                        <a:pt x="18" y="0"/>
                      </a:moveTo>
                      <a:lnTo>
                        <a:pt x="22" y="14"/>
                      </a:lnTo>
                      <a:lnTo>
                        <a:pt x="9" y="18"/>
                      </a:lnTo>
                      <a:lnTo>
                        <a:pt x="13" y="27"/>
                      </a:lnTo>
                      <a:lnTo>
                        <a:pt x="4" y="31"/>
                      </a:lnTo>
                      <a:lnTo>
                        <a:pt x="0" y="40"/>
                      </a:lnTo>
                      <a:lnTo>
                        <a:pt x="9" y="49"/>
                      </a:lnTo>
                      <a:lnTo>
                        <a:pt x="18" y="49"/>
                      </a:lnTo>
                      <a:lnTo>
                        <a:pt x="18" y="63"/>
                      </a:lnTo>
                      <a:lnTo>
                        <a:pt x="27" y="63"/>
                      </a:lnTo>
                      <a:lnTo>
                        <a:pt x="18" y="72"/>
                      </a:lnTo>
                      <a:lnTo>
                        <a:pt x="18" y="94"/>
                      </a:lnTo>
                      <a:lnTo>
                        <a:pt x="27" y="107"/>
                      </a:lnTo>
                      <a:lnTo>
                        <a:pt x="36" y="112"/>
                      </a:lnTo>
                      <a:lnTo>
                        <a:pt x="45" y="103"/>
                      </a:lnTo>
                      <a:lnTo>
                        <a:pt x="71" y="98"/>
                      </a:lnTo>
                      <a:lnTo>
                        <a:pt x="67" y="90"/>
                      </a:lnTo>
                      <a:lnTo>
                        <a:pt x="63" y="76"/>
                      </a:lnTo>
                      <a:lnTo>
                        <a:pt x="54" y="76"/>
                      </a:lnTo>
                      <a:lnTo>
                        <a:pt x="45" y="67"/>
                      </a:lnTo>
                      <a:lnTo>
                        <a:pt x="49" y="58"/>
                      </a:lnTo>
                      <a:lnTo>
                        <a:pt x="58" y="54"/>
                      </a:lnTo>
                      <a:lnTo>
                        <a:pt x="63" y="40"/>
                      </a:lnTo>
                      <a:lnTo>
                        <a:pt x="58" y="36"/>
                      </a:lnTo>
                      <a:lnTo>
                        <a:pt x="40" y="22"/>
                      </a:lnTo>
                      <a:lnTo>
                        <a:pt x="36" y="14"/>
                      </a:lnTo>
                      <a:lnTo>
                        <a:pt x="27" y="5"/>
                      </a:lnTo>
                      <a:lnTo>
                        <a:pt x="18"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87" name="Freeform 85"/>
                <p:cNvSpPr>
                  <a:spLocks/>
                </p:cNvSpPr>
                <p:nvPr/>
              </p:nvSpPr>
              <p:spPr bwMode="gray">
                <a:xfrm>
                  <a:off x="1619" y="2484"/>
                  <a:ext cx="36" cy="32"/>
                </a:xfrm>
                <a:custGeom>
                  <a:avLst/>
                  <a:gdLst>
                    <a:gd name="T0" fmla="*/ 36 w 36"/>
                    <a:gd name="T1" fmla="*/ 5 h 32"/>
                    <a:gd name="T2" fmla="*/ 36 w 36"/>
                    <a:gd name="T3" fmla="*/ 14 h 32"/>
                    <a:gd name="T4" fmla="*/ 32 w 36"/>
                    <a:gd name="T5" fmla="*/ 27 h 32"/>
                    <a:gd name="T6" fmla="*/ 14 w 36"/>
                    <a:gd name="T7" fmla="*/ 27 h 32"/>
                    <a:gd name="T8" fmla="*/ 9 w 36"/>
                    <a:gd name="T9" fmla="*/ 32 h 32"/>
                    <a:gd name="T10" fmla="*/ 5 w 36"/>
                    <a:gd name="T11" fmla="*/ 27 h 32"/>
                    <a:gd name="T12" fmla="*/ 0 w 36"/>
                    <a:gd name="T13" fmla="*/ 27 h 32"/>
                    <a:gd name="T14" fmla="*/ 0 w 36"/>
                    <a:gd name="T15" fmla="*/ 18 h 32"/>
                    <a:gd name="T16" fmla="*/ 14 w 36"/>
                    <a:gd name="T17" fmla="*/ 23 h 32"/>
                    <a:gd name="T18" fmla="*/ 23 w 36"/>
                    <a:gd name="T19" fmla="*/ 23 h 32"/>
                    <a:gd name="T20" fmla="*/ 23 w 36"/>
                    <a:gd name="T21" fmla="*/ 18 h 32"/>
                    <a:gd name="T22" fmla="*/ 23 w 36"/>
                    <a:gd name="T23" fmla="*/ 9 h 32"/>
                    <a:gd name="T24" fmla="*/ 14 w 36"/>
                    <a:gd name="T25" fmla="*/ 9 h 32"/>
                    <a:gd name="T26" fmla="*/ 14 w 36"/>
                    <a:gd name="T27" fmla="*/ 5 h 32"/>
                    <a:gd name="T28" fmla="*/ 23 w 36"/>
                    <a:gd name="T29" fmla="*/ 0 h 32"/>
                    <a:gd name="T30" fmla="*/ 36 w 36"/>
                    <a:gd name="T31"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32">
                      <a:moveTo>
                        <a:pt x="36" y="5"/>
                      </a:moveTo>
                      <a:lnTo>
                        <a:pt x="36" y="14"/>
                      </a:lnTo>
                      <a:lnTo>
                        <a:pt x="32" y="27"/>
                      </a:lnTo>
                      <a:lnTo>
                        <a:pt x="14" y="27"/>
                      </a:lnTo>
                      <a:lnTo>
                        <a:pt x="9" y="32"/>
                      </a:lnTo>
                      <a:lnTo>
                        <a:pt x="5" y="27"/>
                      </a:lnTo>
                      <a:lnTo>
                        <a:pt x="0" y="27"/>
                      </a:lnTo>
                      <a:lnTo>
                        <a:pt x="0" y="18"/>
                      </a:lnTo>
                      <a:lnTo>
                        <a:pt x="14" y="23"/>
                      </a:lnTo>
                      <a:lnTo>
                        <a:pt x="23" y="23"/>
                      </a:lnTo>
                      <a:lnTo>
                        <a:pt x="23" y="18"/>
                      </a:lnTo>
                      <a:lnTo>
                        <a:pt x="23" y="9"/>
                      </a:lnTo>
                      <a:lnTo>
                        <a:pt x="14" y="9"/>
                      </a:lnTo>
                      <a:lnTo>
                        <a:pt x="14" y="5"/>
                      </a:lnTo>
                      <a:lnTo>
                        <a:pt x="23" y="0"/>
                      </a:lnTo>
                      <a:lnTo>
                        <a:pt x="36" y="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88" name="Freeform 86"/>
                <p:cNvSpPr>
                  <a:spLocks/>
                </p:cNvSpPr>
                <p:nvPr/>
              </p:nvSpPr>
              <p:spPr bwMode="gray">
                <a:xfrm>
                  <a:off x="1401" y="2542"/>
                  <a:ext cx="89" cy="50"/>
                </a:xfrm>
                <a:custGeom>
                  <a:avLst/>
                  <a:gdLst>
                    <a:gd name="T0" fmla="*/ 0 w 89"/>
                    <a:gd name="T1" fmla="*/ 27 h 50"/>
                    <a:gd name="T2" fmla="*/ 0 w 89"/>
                    <a:gd name="T3" fmla="*/ 23 h 50"/>
                    <a:gd name="T4" fmla="*/ 8 w 89"/>
                    <a:gd name="T5" fmla="*/ 18 h 50"/>
                    <a:gd name="T6" fmla="*/ 17 w 89"/>
                    <a:gd name="T7" fmla="*/ 9 h 50"/>
                    <a:gd name="T8" fmla="*/ 26 w 89"/>
                    <a:gd name="T9" fmla="*/ 9 h 50"/>
                    <a:gd name="T10" fmla="*/ 49 w 89"/>
                    <a:gd name="T11" fmla="*/ 5 h 50"/>
                    <a:gd name="T12" fmla="*/ 49 w 89"/>
                    <a:gd name="T13" fmla="*/ 0 h 50"/>
                    <a:gd name="T14" fmla="*/ 67 w 89"/>
                    <a:gd name="T15" fmla="*/ 5 h 50"/>
                    <a:gd name="T16" fmla="*/ 75 w 89"/>
                    <a:gd name="T17" fmla="*/ 9 h 50"/>
                    <a:gd name="T18" fmla="*/ 80 w 89"/>
                    <a:gd name="T19" fmla="*/ 14 h 50"/>
                    <a:gd name="T20" fmla="*/ 84 w 89"/>
                    <a:gd name="T21" fmla="*/ 14 h 50"/>
                    <a:gd name="T22" fmla="*/ 89 w 89"/>
                    <a:gd name="T23" fmla="*/ 18 h 50"/>
                    <a:gd name="T24" fmla="*/ 75 w 89"/>
                    <a:gd name="T25" fmla="*/ 27 h 50"/>
                    <a:gd name="T26" fmla="*/ 71 w 89"/>
                    <a:gd name="T27" fmla="*/ 27 h 50"/>
                    <a:gd name="T28" fmla="*/ 58 w 89"/>
                    <a:gd name="T29" fmla="*/ 36 h 50"/>
                    <a:gd name="T30" fmla="*/ 49 w 89"/>
                    <a:gd name="T31" fmla="*/ 36 h 50"/>
                    <a:gd name="T32" fmla="*/ 40 w 89"/>
                    <a:gd name="T33" fmla="*/ 41 h 50"/>
                    <a:gd name="T34" fmla="*/ 40 w 89"/>
                    <a:gd name="T35" fmla="*/ 45 h 50"/>
                    <a:gd name="T36" fmla="*/ 31 w 89"/>
                    <a:gd name="T37" fmla="*/ 50 h 50"/>
                    <a:gd name="T38" fmla="*/ 31 w 89"/>
                    <a:gd name="T39" fmla="*/ 41 h 50"/>
                    <a:gd name="T40" fmla="*/ 22 w 89"/>
                    <a:gd name="T41" fmla="*/ 45 h 50"/>
                    <a:gd name="T42" fmla="*/ 22 w 89"/>
                    <a:gd name="T43" fmla="*/ 32 h 50"/>
                    <a:gd name="T44" fmla="*/ 13 w 89"/>
                    <a:gd name="T45" fmla="*/ 32 h 50"/>
                    <a:gd name="T46" fmla="*/ 8 w 89"/>
                    <a:gd name="T47" fmla="*/ 27 h 50"/>
                    <a:gd name="T48" fmla="*/ 0 w 89"/>
                    <a:gd name="T4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50">
                      <a:moveTo>
                        <a:pt x="0" y="27"/>
                      </a:moveTo>
                      <a:lnTo>
                        <a:pt x="0" y="23"/>
                      </a:lnTo>
                      <a:lnTo>
                        <a:pt x="8" y="18"/>
                      </a:lnTo>
                      <a:lnTo>
                        <a:pt x="17" y="9"/>
                      </a:lnTo>
                      <a:lnTo>
                        <a:pt x="26" y="9"/>
                      </a:lnTo>
                      <a:lnTo>
                        <a:pt x="49" y="5"/>
                      </a:lnTo>
                      <a:lnTo>
                        <a:pt x="49" y="0"/>
                      </a:lnTo>
                      <a:lnTo>
                        <a:pt x="67" y="5"/>
                      </a:lnTo>
                      <a:lnTo>
                        <a:pt x="75" y="9"/>
                      </a:lnTo>
                      <a:lnTo>
                        <a:pt x="80" y="14"/>
                      </a:lnTo>
                      <a:lnTo>
                        <a:pt x="84" y="14"/>
                      </a:lnTo>
                      <a:lnTo>
                        <a:pt x="89" y="18"/>
                      </a:lnTo>
                      <a:lnTo>
                        <a:pt x="75" y="27"/>
                      </a:lnTo>
                      <a:lnTo>
                        <a:pt x="71" y="27"/>
                      </a:lnTo>
                      <a:lnTo>
                        <a:pt x="58" y="36"/>
                      </a:lnTo>
                      <a:lnTo>
                        <a:pt x="49" y="36"/>
                      </a:lnTo>
                      <a:lnTo>
                        <a:pt x="40" y="41"/>
                      </a:lnTo>
                      <a:lnTo>
                        <a:pt x="40" y="45"/>
                      </a:lnTo>
                      <a:lnTo>
                        <a:pt x="31" y="50"/>
                      </a:lnTo>
                      <a:lnTo>
                        <a:pt x="31" y="41"/>
                      </a:lnTo>
                      <a:lnTo>
                        <a:pt x="22" y="45"/>
                      </a:lnTo>
                      <a:lnTo>
                        <a:pt x="22" y="32"/>
                      </a:lnTo>
                      <a:lnTo>
                        <a:pt x="13" y="32"/>
                      </a:lnTo>
                      <a:lnTo>
                        <a:pt x="8" y="27"/>
                      </a:lnTo>
                      <a:lnTo>
                        <a:pt x="0" y="27"/>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89" name="Freeform 87"/>
                <p:cNvSpPr>
                  <a:spLocks/>
                </p:cNvSpPr>
                <p:nvPr/>
              </p:nvSpPr>
              <p:spPr bwMode="gray">
                <a:xfrm>
                  <a:off x="1561" y="2502"/>
                  <a:ext cx="32" cy="18"/>
                </a:xfrm>
                <a:custGeom>
                  <a:avLst/>
                  <a:gdLst>
                    <a:gd name="T0" fmla="*/ 0 w 32"/>
                    <a:gd name="T1" fmla="*/ 5 h 18"/>
                    <a:gd name="T2" fmla="*/ 9 w 32"/>
                    <a:gd name="T3" fmla="*/ 14 h 18"/>
                    <a:gd name="T4" fmla="*/ 9 w 32"/>
                    <a:gd name="T5" fmla="*/ 14 h 18"/>
                    <a:gd name="T6" fmla="*/ 18 w 32"/>
                    <a:gd name="T7" fmla="*/ 18 h 18"/>
                    <a:gd name="T8" fmla="*/ 32 w 32"/>
                    <a:gd name="T9" fmla="*/ 14 h 18"/>
                    <a:gd name="T10" fmla="*/ 32 w 32"/>
                    <a:gd name="T11" fmla="*/ 9 h 18"/>
                    <a:gd name="T12" fmla="*/ 23 w 32"/>
                    <a:gd name="T13" fmla="*/ 0 h 18"/>
                    <a:gd name="T14" fmla="*/ 5 w 32"/>
                    <a:gd name="T15" fmla="*/ 0 h 18"/>
                    <a:gd name="T16" fmla="*/ 0 w 32"/>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0" y="5"/>
                      </a:moveTo>
                      <a:lnTo>
                        <a:pt x="9" y="14"/>
                      </a:lnTo>
                      <a:lnTo>
                        <a:pt x="9" y="14"/>
                      </a:lnTo>
                      <a:lnTo>
                        <a:pt x="18" y="18"/>
                      </a:lnTo>
                      <a:lnTo>
                        <a:pt x="32" y="14"/>
                      </a:lnTo>
                      <a:lnTo>
                        <a:pt x="32" y="9"/>
                      </a:lnTo>
                      <a:lnTo>
                        <a:pt x="23" y="0"/>
                      </a:lnTo>
                      <a:lnTo>
                        <a:pt x="5" y="0"/>
                      </a:lnTo>
                      <a:lnTo>
                        <a:pt x="0" y="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90" name="Freeform 88"/>
                <p:cNvSpPr>
                  <a:spLocks/>
                </p:cNvSpPr>
                <p:nvPr/>
              </p:nvSpPr>
              <p:spPr bwMode="gray">
                <a:xfrm>
                  <a:off x="1811" y="2560"/>
                  <a:ext cx="5" cy="9"/>
                </a:xfrm>
                <a:custGeom>
                  <a:avLst/>
                  <a:gdLst>
                    <a:gd name="T0" fmla="*/ 5 w 5"/>
                    <a:gd name="T1" fmla="*/ 9 h 9"/>
                    <a:gd name="T2" fmla="*/ 5 w 5"/>
                    <a:gd name="T3" fmla="*/ 5 h 9"/>
                    <a:gd name="T4" fmla="*/ 0 w 5"/>
                    <a:gd name="T5" fmla="*/ 0 h 9"/>
                    <a:gd name="T6" fmla="*/ 0 w 5"/>
                    <a:gd name="T7" fmla="*/ 0 h 9"/>
                    <a:gd name="T8" fmla="*/ 0 w 5"/>
                    <a:gd name="T9" fmla="*/ 9 h 9"/>
                    <a:gd name="T10" fmla="*/ 5 w 5"/>
                    <a:gd name="T11" fmla="*/ 9 h 9"/>
                  </a:gdLst>
                  <a:ahLst/>
                  <a:cxnLst>
                    <a:cxn ang="0">
                      <a:pos x="T0" y="T1"/>
                    </a:cxn>
                    <a:cxn ang="0">
                      <a:pos x="T2" y="T3"/>
                    </a:cxn>
                    <a:cxn ang="0">
                      <a:pos x="T4" y="T5"/>
                    </a:cxn>
                    <a:cxn ang="0">
                      <a:pos x="T6" y="T7"/>
                    </a:cxn>
                    <a:cxn ang="0">
                      <a:pos x="T8" y="T9"/>
                    </a:cxn>
                    <a:cxn ang="0">
                      <a:pos x="T10" y="T11"/>
                    </a:cxn>
                  </a:cxnLst>
                  <a:rect l="0" t="0" r="r" b="b"/>
                  <a:pathLst>
                    <a:path w="5" h="9">
                      <a:moveTo>
                        <a:pt x="5" y="9"/>
                      </a:moveTo>
                      <a:lnTo>
                        <a:pt x="5" y="5"/>
                      </a:lnTo>
                      <a:lnTo>
                        <a:pt x="0" y="0"/>
                      </a:lnTo>
                      <a:lnTo>
                        <a:pt x="0" y="0"/>
                      </a:lnTo>
                      <a:lnTo>
                        <a:pt x="0" y="9"/>
                      </a:lnTo>
                      <a:lnTo>
                        <a:pt x="5"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91" name="Freeform 89"/>
                <p:cNvSpPr>
                  <a:spLocks/>
                </p:cNvSpPr>
                <p:nvPr/>
              </p:nvSpPr>
              <p:spPr bwMode="gray">
                <a:xfrm>
                  <a:off x="1003" y="2279"/>
                  <a:ext cx="442" cy="290"/>
                </a:xfrm>
                <a:custGeom>
                  <a:avLst/>
                  <a:gdLst>
                    <a:gd name="T0" fmla="*/ 4 w 442"/>
                    <a:gd name="T1" fmla="*/ 9 h 290"/>
                    <a:gd name="T2" fmla="*/ 36 w 442"/>
                    <a:gd name="T3" fmla="*/ 53 h 290"/>
                    <a:gd name="T4" fmla="*/ 49 w 442"/>
                    <a:gd name="T5" fmla="*/ 80 h 290"/>
                    <a:gd name="T6" fmla="*/ 40 w 442"/>
                    <a:gd name="T7" fmla="*/ 94 h 290"/>
                    <a:gd name="T8" fmla="*/ 71 w 442"/>
                    <a:gd name="T9" fmla="*/ 107 h 290"/>
                    <a:gd name="T10" fmla="*/ 80 w 442"/>
                    <a:gd name="T11" fmla="*/ 134 h 290"/>
                    <a:gd name="T12" fmla="*/ 80 w 442"/>
                    <a:gd name="T13" fmla="*/ 129 h 290"/>
                    <a:gd name="T14" fmla="*/ 116 w 442"/>
                    <a:gd name="T15" fmla="*/ 147 h 290"/>
                    <a:gd name="T16" fmla="*/ 107 w 442"/>
                    <a:gd name="T17" fmla="*/ 134 h 290"/>
                    <a:gd name="T18" fmla="*/ 98 w 442"/>
                    <a:gd name="T19" fmla="*/ 138 h 290"/>
                    <a:gd name="T20" fmla="*/ 94 w 442"/>
                    <a:gd name="T21" fmla="*/ 111 h 290"/>
                    <a:gd name="T22" fmla="*/ 80 w 442"/>
                    <a:gd name="T23" fmla="*/ 94 h 290"/>
                    <a:gd name="T24" fmla="*/ 63 w 442"/>
                    <a:gd name="T25" fmla="*/ 58 h 290"/>
                    <a:gd name="T26" fmla="*/ 49 w 442"/>
                    <a:gd name="T27" fmla="*/ 49 h 290"/>
                    <a:gd name="T28" fmla="*/ 58 w 442"/>
                    <a:gd name="T29" fmla="*/ 22 h 290"/>
                    <a:gd name="T30" fmla="*/ 67 w 442"/>
                    <a:gd name="T31" fmla="*/ 58 h 290"/>
                    <a:gd name="T32" fmla="*/ 76 w 442"/>
                    <a:gd name="T33" fmla="*/ 62 h 290"/>
                    <a:gd name="T34" fmla="*/ 89 w 442"/>
                    <a:gd name="T35" fmla="*/ 80 h 290"/>
                    <a:gd name="T36" fmla="*/ 103 w 442"/>
                    <a:gd name="T37" fmla="*/ 89 h 290"/>
                    <a:gd name="T38" fmla="*/ 121 w 442"/>
                    <a:gd name="T39" fmla="*/ 103 h 290"/>
                    <a:gd name="T40" fmla="*/ 130 w 442"/>
                    <a:gd name="T41" fmla="*/ 120 h 290"/>
                    <a:gd name="T42" fmla="*/ 170 w 442"/>
                    <a:gd name="T43" fmla="*/ 165 h 290"/>
                    <a:gd name="T44" fmla="*/ 174 w 442"/>
                    <a:gd name="T45" fmla="*/ 196 h 290"/>
                    <a:gd name="T46" fmla="*/ 201 w 442"/>
                    <a:gd name="T47" fmla="*/ 232 h 290"/>
                    <a:gd name="T48" fmla="*/ 259 w 442"/>
                    <a:gd name="T49" fmla="*/ 259 h 290"/>
                    <a:gd name="T50" fmla="*/ 317 w 442"/>
                    <a:gd name="T51" fmla="*/ 268 h 290"/>
                    <a:gd name="T52" fmla="*/ 357 w 442"/>
                    <a:gd name="T53" fmla="*/ 290 h 290"/>
                    <a:gd name="T54" fmla="*/ 384 w 442"/>
                    <a:gd name="T55" fmla="*/ 263 h 290"/>
                    <a:gd name="T56" fmla="*/ 393 w 442"/>
                    <a:gd name="T57" fmla="*/ 237 h 290"/>
                    <a:gd name="T58" fmla="*/ 411 w 442"/>
                    <a:gd name="T59" fmla="*/ 228 h 290"/>
                    <a:gd name="T60" fmla="*/ 429 w 442"/>
                    <a:gd name="T61" fmla="*/ 214 h 290"/>
                    <a:gd name="T62" fmla="*/ 433 w 442"/>
                    <a:gd name="T63" fmla="*/ 205 h 290"/>
                    <a:gd name="T64" fmla="*/ 438 w 442"/>
                    <a:gd name="T65" fmla="*/ 183 h 290"/>
                    <a:gd name="T66" fmla="*/ 398 w 442"/>
                    <a:gd name="T67" fmla="*/ 183 h 290"/>
                    <a:gd name="T68" fmla="*/ 384 w 442"/>
                    <a:gd name="T69" fmla="*/ 210 h 290"/>
                    <a:gd name="T70" fmla="*/ 366 w 442"/>
                    <a:gd name="T71" fmla="*/ 223 h 290"/>
                    <a:gd name="T72" fmla="*/ 326 w 442"/>
                    <a:gd name="T73" fmla="*/ 232 h 290"/>
                    <a:gd name="T74" fmla="*/ 299 w 442"/>
                    <a:gd name="T75" fmla="*/ 205 h 290"/>
                    <a:gd name="T76" fmla="*/ 286 w 442"/>
                    <a:gd name="T77" fmla="*/ 179 h 290"/>
                    <a:gd name="T78" fmla="*/ 286 w 442"/>
                    <a:gd name="T79" fmla="*/ 143 h 290"/>
                    <a:gd name="T80" fmla="*/ 281 w 442"/>
                    <a:gd name="T81" fmla="*/ 134 h 290"/>
                    <a:gd name="T82" fmla="*/ 290 w 442"/>
                    <a:gd name="T83" fmla="*/ 111 h 290"/>
                    <a:gd name="T84" fmla="*/ 255 w 442"/>
                    <a:gd name="T85" fmla="*/ 85 h 290"/>
                    <a:gd name="T86" fmla="*/ 201 w 442"/>
                    <a:gd name="T87" fmla="*/ 67 h 290"/>
                    <a:gd name="T88" fmla="*/ 156 w 442"/>
                    <a:gd name="T89" fmla="*/ 18 h 290"/>
                    <a:gd name="T90" fmla="*/ 89 w 442"/>
                    <a:gd name="T91" fmla="*/ 2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2" h="290">
                      <a:moveTo>
                        <a:pt x="0" y="4"/>
                      </a:moveTo>
                      <a:lnTo>
                        <a:pt x="0" y="9"/>
                      </a:lnTo>
                      <a:lnTo>
                        <a:pt x="4" y="9"/>
                      </a:lnTo>
                      <a:lnTo>
                        <a:pt x="18" y="36"/>
                      </a:lnTo>
                      <a:lnTo>
                        <a:pt x="22" y="49"/>
                      </a:lnTo>
                      <a:lnTo>
                        <a:pt x="36" y="53"/>
                      </a:lnTo>
                      <a:lnTo>
                        <a:pt x="45" y="67"/>
                      </a:lnTo>
                      <a:lnTo>
                        <a:pt x="45" y="76"/>
                      </a:lnTo>
                      <a:lnTo>
                        <a:pt x="49" y="80"/>
                      </a:lnTo>
                      <a:lnTo>
                        <a:pt x="40" y="76"/>
                      </a:lnTo>
                      <a:lnTo>
                        <a:pt x="31" y="80"/>
                      </a:lnTo>
                      <a:lnTo>
                        <a:pt x="40" y="94"/>
                      </a:lnTo>
                      <a:lnTo>
                        <a:pt x="54" y="98"/>
                      </a:lnTo>
                      <a:lnTo>
                        <a:pt x="58" y="94"/>
                      </a:lnTo>
                      <a:lnTo>
                        <a:pt x="71" y="107"/>
                      </a:lnTo>
                      <a:lnTo>
                        <a:pt x="71" y="134"/>
                      </a:lnTo>
                      <a:lnTo>
                        <a:pt x="80" y="138"/>
                      </a:lnTo>
                      <a:lnTo>
                        <a:pt x="80" y="134"/>
                      </a:lnTo>
                      <a:lnTo>
                        <a:pt x="76" y="134"/>
                      </a:lnTo>
                      <a:lnTo>
                        <a:pt x="76" y="129"/>
                      </a:lnTo>
                      <a:lnTo>
                        <a:pt x="80" y="129"/>
                      </a:lnTo>
                      <a:lnTo>
                        <a:pt x="85" y="138"/>
                      </a:lnTo>
                      <a:lnTo>
                        <a:pt x="107" y="161"/>
                      </a:lnTo>
                      <a:lnTo>
                        <a:pt x="116" y="147"/>
                      </a:lnTo>
                      <a:lnTo>
                        <a:pt x="112" y="138"/>
                      </a:lnTo>
                      <a:lnTo>
                        <a:pt x="112" y="134"/>
                      </a:lnTo>
                      <a:lnTo>
                        <a:pt x="107" y="134"/>
                      </a:lnTo>
                      <a:lnTo>
                        <a:pt x="107" y="138"/>
                      </a:lnTo>
                      <a:lnTo>
                        <a:pt x="103" y="134"/>
                      </a:lnTo>
                      <a:lnTo>
                        <a:pt x="98" y="138"/>
                      </a:lnTo>
                      <a:lnTo>
                        <a:pt x="94" y="120"/>
                      </a:lnTo>
                      <a:lnTo>
                        <a:pt x="89" y="111"/>
                      </a:lnTo>
                      <a:lnTo>
                        <a:pt x="94" y="111"/>
                      </a:lnTo>
                      <a:lnTo>
                        <a:pt x="94" y="107"/>
                      </a:lnTo>
                      <a:lnTo>
                        <a:pt x="89" y="107"/>
                      </a:lnTo>
                      <a:lnTo>
                        <a:pt x="80" y="94"/>
                      </a:lnTo>
                      <a:lnTo>
                        <a:pt x="80" y="98"/>
                      </a:lnTo>
                      <a:lnTo>
                        <a:pt x="58" y="62"/>
                      </a:lnTo>
                      <a:lnTo>
                        <a:pt x="63" y="58"/>
                      </a:lnTo>
                      <a:lnTo>
                        <a:pt x="54" y="53"/>
                      </a:lnTo>
                      <a:lnTo>
                        <a:pt x="54" y="58"/>
                      </a:lnTo>
                      <a:lnTo>
                        <a:pt x="49" y="49"/>
                      </a:lnTo>
                      <a:lnTo>
                        <a:pt x="40" y="44"/>
                      </a:lnTo>
                      <a:lnTo>
                        <a:pt x="36" y="18"/>
                      </a:lnTo>
                      <a:lnTo>
                        <a:pt x="58" y="22"/>
                      </a:lnTo>
                      <a:lnTo>
                        <a:pt x="58" y="31"/>
                      </a:lnTo>
                      <a:lnTo>
                        <a:pt x="71" y="58"/>
                      </a:lnTo>
                      <a:lnTo>
                        <a:pt x="67" y="58"/>
                      </a:lnTo>
                      <a:lnTo>
                        <a:pt x="67" y="67"/>
                      </a:lnTo>
                      <a:lnTo>
                        <a:pt x="71" y="67"/>
                      </a:lnTo>
                      <a:lnTo>
                        <a:pt x="76" y="62"/>
                      </a:lnTo>
                      <a:lnTo>
                        <a:pt x="71" y="58"/>
                      </a:lnTo>
                      <a:lnTo>
                        <a:pt x="80" y="67"/>
                      </a:lnTo>
                      <a:lnTo>
                        <a:pt x="89" y="80"/>
                      </a:lnTo>
                      <a:lnTo>
                        <a:pt x="94" y="80"/>
                      </a:lnTo>
                      <a:lnTo>
                        <a:pt x="98" y="89"/>
                      </a:lnTo>
                      <a:lnTo>
                        <a:pt x="103" y="89"/>
                      </a:lnTo>
                      <a:lnTo>
                        <a:pt x="112" y="98"/>
                      </a:lnTo>
                      <a:lnTo>
                        <a:pt x="116" y="98"/>
                      </a:lnTo>
                      <a:lnTo>
                        <a:pt x="121" y="103"/>
                      </a:lnTo>
                      <a:lnTo>
                        <a:pt x="116" y="116"/>
                      </a:lnTo>
                      <a:lnTo>
                        <a:pt x="121" y="120"/>
                      </a:lnTo>
                      <a:lnTo>
                        <a:pt x="130" y="120"/>
                      </a:lnTo>
                      <a:lnTo>
                        <a:pt x="152" y="147"/>
                      </a:lnTo>
                      <a:lnTo>
                        <a:pt x="152" y="152"/>
                      </a:lnTo>
                      <a:lnTo>
                        <a:pt x="170" y="165"/>
                      </a:lnTo>
                      <a:lnTo>
                        <a:pt x="174" y="187"/>
                      </a:lnTo>
                      <a:lnTo>
                        <a:pt x="174" y="192"/>
                      </a:lnTo>
                      <a:lnTo>
                        <a:pt x="174" y="196"/>
                      </a:lnTo>
                      <a:lnTo>
                        <a:pt x="170" y="201"/>
                      </a:lnTo>
                      <a:lnTo>
                        <a:pt x="174" y="210"/>
                      </a:lnTo>
                      <a:lnTo>
                        <a:pt x="201" y="232"/>
                      </a:lnTo>
                      <a:lnTo>
                        <a:pt x="228" y="237"/>
                      </a:lnTo>
                      <a:lnTo>
                        <a:pt x="237" y="254"/>
                      </a:lnTo>
                      <a:lnTo>
                        <a:pt x="259" y="259"/>
                      </a:lnTo>
                      <a:lnTo>
                        <a:pt x="295" y="277"/>
                      </a:lnTo>
                      <a:lnTo>
                        <a:pt x="308" y="272"/>
                      </a:lnTo>
                      <a:lnTo>
                        <a:pt x="317" y="268"/>
                      </a:lnTo>
                      <a:lnTo>
                        <a:pt x="331" y="268"/>
                      </a:lnTo>
                      <a:lnTo>
                        <a:pt x="339" y="272"/>
                      </a:lnTo>
                      <a:lnTo>
                        <a:pt x="357" y="290"/>
                      </a:lnTo>
                      <a:lnTo>
                        <a:pt x="362" y="268"/>
                      </a:lnTo>
                      <a:lnTo>
                        <a:pt x="384" y="268"/>
                      </a:lnTo>
                      <a:lnTo>
                        <a:pt x="384" y="263"/>
                      </a:lnTo>
                      <a:lnTo>
                        <a:pt x="371" y="246"/>
                      </a:lnTo>
                      <a:lnTo>
                        <a:pt x="375" y="237"/>
                      </a:lnTo>
                      <a:lnTo>
                        <a:pt x="393" y="237"/>
                      </a:lnTo>
                      <a:lnTo>
                        <a:pt x="398" y="241"/>
                      </a:lnTo>
                      <a:lnTo>
                        <a:pt x="402" y="237"/>
                      </a:lnTo>
                      <a:lnTo>
                        <a:pt x="411" y="228"/>
                      </a:lnTo>
                      <a:lnTo>
                        <a:pt x="415" y="223"/>
                      </a:lnTo>
                      <a:lnTo>
                        <a:pt x="420" y="232"/>
                      </a:lnTo>
                      <a:lnTo>
                        <a:pt x="429" y="214"/>
                      </a:lnTo>
                      <a:lnTo>
                        <a:pt x="424" y="210"/>
                      </a:lnTo>
                      <a:lnTo>
                        <a:pt x="433" y="201"/>
                      </a:lnTo>
                      <a:lnTo>
                        <a:pt x="433" y="205"/>
                      </a:lnTo>
                      <a:lnTo>
                        <a:pt x="442" y="196"/>
                      </a:lnTo>
                      <a:lnTo>
                        <a:pt x="438" y="196"/>
                      </a:lnTo>
                      <a:lnTo>
                        <a:pt x="438" y="183"/>
                      </a:lnTo>
                      <a:lnTo>
                        <a:pt x="433" y="179"/>
                      </a:lnTo>
                      <a:lnTo>
                        <a:pt x="415" y="179"/>
                      </a:lnTo>
                      <a:lnTo>
                        <a:pt x="398" y="183"/>
                      </a:lnTo>
                      <a:lnTo>
                        <a:pt x="384" y="192"/>
                      </a:lnTo>
                      <a:lnTo>
                        <a:pt x="389" y="192"/>
                      </a:lnTo>
                      <a:lnTo>
                        <a:pt x="384" y="210"/>
                      </a:lnTo>
                      <a:lnTo>
                        <a:pt x="375" y="219"/>
                      </a:lnTo>
                      <a:lnTo>
                        <a:pt x="380" y="223"/>
                      </a:lnTo>
                      <a:lnTo>
                        <a:pt x="366" y="223"/>
                      </a:lnTo>
                      <a:lnTo>
                        <a:pt x="366" y="219"/>
                      </a:lnTo>
                      <a:lnTo>
                        <a:pt x="339" y="228"/>
                      </a:lnTo>
                      <a:lnTo>
                        <a:pt x="326" y="232"/>
                      </a:lnTo>
                      <a:lnTo>
                        <a:pt x="322" y="228"/>
                      </a:lnTo>
                      <a:lnTo>
                        <a:pt x="308" y="219"/>
                      </a:lnTo>
                      <a:lnTo>
                        <a:pt x="299" y="205"/>
                      </a:lnTo>
                      <a:lnTo>
                        <a:pt x="290" y="196"/>
                      </a:lnTo>
                      <a:lnTo>
                        <a:pt x="286" y="187"/>
                      </a:lnTo>
                      <a:lnTo>
                        <a:pt x="286" y="179"/>
                      </a:lnTo>
                      <a:lnTo>
                        <a:pt x="281" y="174"/>
                      </a:lnTo>
                      <a:lnTo>
                        <a:pt x="281" y="156"/>
                      </a:lnTo>
                      <a:lnTo>
                        <a:pt x="286" y="143"/>
                      </a:lnTo>
                      <a:lnTo>
                        <a:pt x="281" y="138"/>
                      </a:lnTo>
                      <a:lnTo>
                        <a:pt x="281" y="138"/>
                      </a:lnTo>
                      <a:lnTo>
                        <a:pt x="281" y="134"/>
                      </a:lnTo>
                      <a:lnTo>
                        <a:pt x="281" y="134"/>
                      </a:lnTo>
                      <a:lnTo>
                        <a:pt x="286" y="125"/>
                      </a:lnTo>
                      <a:lnTo>
                        <a:pt x="290" y="111"/>
                      </a:lnTo>
                      <a:lnTo>
                        <a:pt x="286" y="111"/>
                      </a:lnTo>
                      <a:lnTo>
                        <a:pt x="264" y="103"/>
                      </a:lnTo>
                      <a:lnTo>
                        <a:pt x="255" y="85"/>
                      </a:lnTo>
                      <a:lnTo>
                        <a:pt x="228" y="53"/>
                      </a:lnTo>
                      <a:lnTo>
                        <a:pt x="214" y="49"/>
                      </a:lnTo>
                      <a:lnTo>
                        <a:pt x="201" y="67"/>
                      </a:lnTo>
                      <a:lnTo>
                        <a:pt x="183" y="53"/>
                      </a:lnTo>
                      <a:lnTo>
                        <a:pt x="179" y="31"/>
                      </a:lnTo>
                      <a:lnTo>
                        <a:pt x="156" y="18"/>
                      </a:lnTo>
                      <a:lnTo>
                        <a:pt x="130" y="18"/>
                      </a:lnTo>
                      <a:lnTo>
                        <a:pt x="134" y="27"/>
                      </a:lnTo>
                      <a:lnTo>
                        <a:pt x="89" y="27"/>
                      </a:lnTo>
                      <a:lnTo>
                        <a:pt x="36" y="0"/>
                      </a:lnTo>
                      <a:lnTo>
                        <a:pt x="0" y="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92" name="Freeform 90"/>
                <p:cNvSpPr>
                  <a:spLocks noEditPoints="1"/>
                </p:cNvSpPr>
                <p:nvPr/>
              </p:nvSpPr>
              <p:spPr bwMode="gray">
                <a:xfrm>
                  <a:off x="1691" y="2596"/>
                  <a:ext cx="18" cy="9"/>
                </a:xfrm>
                <a:custGeom>
                  <a:avLst/>
                  <a:gdLst>
                    <a:gd name="T0" fmla="*/ 9 w 18"/>
                    <a:gd name="T1" fmla="*/ 9 h 9"/>
                    <a:gd name="T2" fmla="*/ 9 w 18"/>
                    <a:gd name="T3" fmla="*/ 9 h 9"/>
                    <a:gd name="T4" fmla="*/ 13 w 18"/>
                    <a:gd name="T5" fmla="*/ 5 h 9"/>
                    <a:gd name="T6" fmla="*/ 4 w 18"/>
                    <a:gd name="T7" fmla="*/ 0 h 9"/>
                    <a:gd name="T8" fmla="*/ 0 w 18"/>
                    <a:gd name="T9" fmla="*/ 5 h 9"/>
                    <a:gd name="T10" fmla="*/ 9 w 18"/>
                    <a:gd name="T11" fmla="*/ 9 h 9"/>
                    <a:gd name="T12" fmla="*/ 18 w 18"/>
                    <a:gd name="T13" fmla="*/ 9 h 9"/>
                    <a:gd name="T14" fmla="*/ 18 w 18"/>
                    <a:gd name="T15" fmla="*/ 5 h 9"/>
                    <a:gd name="T16" fmla="*/ 13 w 18"/>
                    <a:gd name="T17" fmla="*/ 5 h 9"/>
                    <a:gd name="T18" fmla="*/ 13 w 18"/>
                    <a:gd name="T19" fmla="*/ 5 h 9"/>
                    <a:gd name="T20" fmla="*/ 18 w 18"/>
                    <a:gd name="T21" fmla="*/ 5 h 9"/>
                    <a:gd name="T22" fmla="*/ 18 w 18"/>
                    <a:gd name="T23" fmla="*/ 9 h 9"/>
                    <a:gd name="T24" fmla="*/ 18 w 18"/>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9">
                      <a:moveTo>
                        <a:pt x="9" y="9"/>
                      </a:moveTo>
                      <a:lnTo>
                        <a:pt x="9" y="9"/>
                      </a:lnTo>
                      <a:lnTo>
                        <a:pt x="13" y="5"/>
                      </a:lnTo>
                      <a:lnTo>
                        <a:pt x="4" y="0"/>
                      </a:lnTo>
                      <a:lnTo>
                        <a:pt x="0" y="5"/>
                      </a:lnTo>
                      <a:lnTo>
                        <a:pt x="9" y="9"/>
                      </a:lnTo>
                      <a:close/>
                      <a:moveTo>
                        <a:pt x="18" y="9"/>
                      </a:moveTo>
                      <a:lnTo>
                        <a:pt x="18" y="5"/>
                      </a:lnTo>
                      <a:lnTo>
                        <a:pt x="13" y="5"/>
                      </a:lnTo>
                      <a:lnTo>
                        <a:pt x="13" y="5"/>
                      </a:lnTo>
                      <a:lnTo>
                        <a:pt x="18" y="5"/>
                      </a:lnTo>
                      <a:lnTo>
                        <a:pt x="18" y="9"/>
                      </a:lnTo>
                      <a:lnTo>
                        <a:pt x="18"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93" name="Freeform 91"/>
                <p:cNvSpPr>
                  <a:spLocks/>
                </p:cNvSpPr>
                <p:nvPr/>
              </p:nvSpPr>
              <p:spPr bwMode="gray">
                <a:xfrm>
                  <a:off x="1427" y="2560"/>
                  <a:ext cx="67" cy="63"/>
                </a:xfrm>
                <a:custGeom>
                  <a:avLst/>
                  <a:gdLst>
                    <a:gd name="T0" fmla="*/ 5 w 67"/>
                    <a:gd name="T1" fmla="*/ 32 h 63"/>
                    <a:gd name="T2" fmla="*/ 0 w 67"/>
                    <a:gd name="T3" fmla="*/ 36 h 63"/>
                    <a:gd name="T4" fmla="*/ 27 w 67"/>
                    <a:gd name="T5" fmla="*/ 58 h 63"/>
                    <a:gd name="T6" fmla="*/ 45 w 67"/>
                    <a:gd name="T7" fmla="*/ 58 h 63"/>
                    <a:gd name="T8" fmla="*/ 58 w 67"/>
                    <a:gd name="T9" fmla="*/ 63 h 63"/>
                    <a:gd name="T10" fmla="*/ 58 w 67"/>
                    <a:gd name="T11" fmla="*/ 63 h 63"/>
                    <a:gd name="T12" fmla="*/ 58 w 67"/>
                    <a:gd name="T13" fmla="*/ 54 h 63"/>
                    <a:gd name="T14" fmla="*/ 63 w 67"/>
                    <a:gd name="T15" fmla="*/ 54 h 63"/>
                    <a:gd name="T16" fmla="*/ 58 w 67"/>
                    <a:gd name="T17" fmla="*/ 41 h 63"/>
                    <a:gd name="T18" fmla="*/ 63 w 67"/>
                    <a:gd name="T19" fmla="*/ 36 h 63"/>
                    <a:gd name="T20" fmla="*/ 63 w 67"/>
                    <a:gd name="T21" fmla="*/ 27 h 63"/>
                    <a:gd name="T22" fmla="*/ 67 w 67"/>
                    <a:gd name="T23" fmla="*/ 9 h 63"/>
                    <a:gd name="T24" fmla="*/ 63 w 67"/>
                    <a:gd name="T25" fmla="*/ 5 h 63"/>
                    <a:gd name="T26" fmla="*/ 63 w 67"/>
                    <a:gd name="T27" fmla="*/ 0 h 63"/>
                    <a:gd name="T28" fmla="*/ 49 w 67"/>
                    <a:gd name="T29" fmla="*/ 9 h 63"/>
                    <a:gd name="T30" fmla="*/ 45 w 67"/>
                    <a:gd name="T31" fmla="*/ 9 h 63"/>
                    <a:gd name="T32" fmla="*/ 32 w 67"/>
                    <a:gd name="T33" fmla="*/ 18 h 63"/>
                    <a:gd name="T34" fmla="*/ 23 w 67"/>
                    <a:gd name="T35" fmla="*/ 18 h 63"/>
                    <a:gd name="T36" fmla="*/ 14 w 67"/>
                    <a:gd name="T37" fmla="*/ 23 h 63"/>
                    <a:gd name="T38" fmla="*/ 14 w 67"/>
                    <a:gd name="T39" fmla="*/ 27 h 63"/>
                    <a:gd name="T40" fmla="*/ 5 w 67"/>
                    <a:gd name="T41"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63">
                      <a:moveTo>
                        <a:pt x="5" y="32"/>
                      </a:moveTo>
                      <a:lnTo>
                        <a:pt x="0" y="36"/>
                      </a:lnTo>
                      <a:lnTo>
                        <a:pt x="27" y="58"/>
                      </a:lnTo>
                      <a:lnTo>
                        <a:pt x="45" y="58"/>
                      </a:lnTo>
                      <a:lnTo>
                        <a:pt x="58" y="63"/>
                      </a:lnTo>
                      <a:lnTo>
                        <a:pt x="58" y="63"/>
                      </a:lnTo>
                      <a:lnTo>
                        <a:pt x="58" y="54"/>
                      </a:lnTo>
                      <a:lnTo>
                        <a:pt x="63" y="54"/>
                      </a:lnTo>
                      <a:lnTo>
                        <a:pt x="58" y="41"/>
                      </a:lnTo>
                      <a:lnTo>
                        <a:pt x="63" y="36"/>
                      </a:lnTo>
                      <a:lnTo>
                        <a:pt x="63" y="27"/>
                      </a:lnTo>
                      <a:lnTo>
                        <a:pt x="67" y="9"/>
                      </a:lnTo>
                      <a:lnTo>
                        <a:pt x="63" y="5"/>
                      </a:lnTo>
                      <a:lnTo>
                        <a:pt x="63" y="0"/>
                      </a:lnTo>
                      <a:lnTo>
                        <a:pt x="49" y="9"/>
                      </a:lnTo>
                      <a:lnTo>
                        <a:pt x="45" y="9"/>
                      </a:lnTo>
                      <a:lnTo>
                        <a:pt x="32" y="18"/>
                      </a:lnTo>
                      <a:lnTo>
                        <a:pt x="23" y="18"/>
                      </a:lnTo>
                      <a:lnTo>
                        <a:pt x="14" y="23"/>
                      </a:lnTo>
                      <a:lnTo>
                        <a:pt x="14" y="27"/>
                      </a:lnTo>
                      <a:lnTo>
                        <a:pt x="5" y="3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94" name="Freeform 92"/>
                <p:cNvSpPr>
                  <a:spLocks/>
                </p:cNvSpPr>
                <p:nvPr/>
              </p:nvSpPr>
              <p:spPr bwMode="gray">
                <a:xfrm>
                  <a:off x="1494" y="2641"/>
                  <a:ext cx="81" cy="40"/>
                </a:xfrm>
                <a:custGeom>
                  <a:avLst/>
                  <a:gdLst>
                    <a:gd name="T0" fmla="*/ 0 w 81"/>
                    <a:gd name="T1" fmla="*/ 18 h 40"/>
                    <a:gd name="T2" fmla="*/ 0 w 81"/>
                    <a:gd name="T3" fmla="*/ 4 h 40"/>
                    <a:gd name="T4" fmla="*/ 9 w 81"/>
                    <a:gd name="T5" fmla="*/ 0 h 40"/>
                    <a:gd name="T6" fmla="*/ 14 w 81"/>
                    <a:gd name="T7" fmla="*/ 9 h 40"/>
                    <a:gd name="T8" fmla="*/ 18 w 81"/>
                    <a:gd name="T9" fmla="*/ 4 h 40"/>
                    <a:gd name="T10" fmla="*/ 27 w 81"/>
                    <a:gd name="T11" fmla="*/ 13 h 40"/>
                    <a:gd name="T12" fmla="*/ 49 w 81"/>
                    <a:gd name="T13" fmla="*/ 0 h 40"/>
                    <a:gd name="T14" fmla="*/ 58 w 81"/>
                    <a:gd name="T15" fmla="*/ 0 h 40"/>
                    <a:gd name="T16" fmla="*/ 72 w 81"/>
                    <a:gd name="T17" fmla="*/ 4 h 40"/>
                    <a:gd name="T18" fmla="*/ 81 w 81"/>
                    <a:gd name="T19" fmla="*/ 13 h 40"/>
                    <a:gd name="T20" fmla="*/ 81 w 81"/>
                    <a:gd name="T21" fmla="*/ 27 h 40"/>
                    <a:gd name="T22" fmla="*/ 72 w 81"/>
                    <a:gd name="T23" fmla="*/ 31 h 40"/>
                    <a:gd name="T24" fmla="*/ 72 w 81"/>
                    <a:gd name="T25" fmla="*/ 31 h 40"/>
                    <a:gd name="T26" fmla="*/ 67 w 81"/>
                    <a:gd name="T27" fmla="*/ 27 h 40"/>
                    <a:gd name="T28" fmla="*/ 72 w 81"/>
                    <a:gd name="T29" fmla="*/ 18 h 40"/>
                    <a:gd name="T30" fmla="*/ 58 w 81"/>
                    <a:gd name="T31" fmla="*/ 13 h 40"/>
                    <a:gd name="T32" fmla="*/ 49 w 81"/>
                    <a:gd name="T33" fmla="*/ 9 h 40"/>
                    <a:gd name="T34" fmla="*/ 45 w 81"/>
                    <a:gd name="T35" fmla="*/ 18 h 40"/>
                    <a:gd name="T36" fmla="*/ 41 w 81"/>
                    <a:gd name="T37" fmla="*/ 22 h 40"/>
                    <a:gd name="T38" fmla="*/ 45 w 81"/>
                    <a:gd name="T39" fmla="*/ 31 h 40"/>
                    <a:gd name="T40" fmla="*/ 32 w 81"/>
                    <a:gd name="T41" fmla="*/ 40 h 40"/>
                    <a:gd name="T42" fmla="*/ 27 w 81"/>
                    <a:gd name="T43" fmla="*/ 31 h 40"/>
                    <a:gd name="T44" fmla="*/ 18 w 81"/>
                    <a:gd name="T45" fmla="*/ 27 h 40"/>
                    <a:gd name="T46" fmla="*/ 9 w 81"/>
                    <a:gd name="T47" fmla="*/ 18 h 40"/>
                    <a:gd name="T48" fmla="*/ 5 w 81"/>
                    <a:gd name="T49" fmla="*/ 27 h 40"/>
                    <a:gd name="T50" fmla="*/ 0 w 81"/>
                    <a:gd name="T51" fmla="*/ 1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 h="40">
                      <a:moveTo>
                        <a:pt x="0" y="18"/>
                      </a:moveTo>
                      <a:lnTo>
                        <a:pt x="0" y="4"/>
                      </a:lnTo>
                      <a:lnTo>
                        <a:pt x="9" y="0"/>
                      </a:lnTo>
                      <a:lnTo>
                        <a:pt x="14" y="9"/>
                      </a:lnTo>
                      <a:lnTo>
                        <a:pt x="18" y="4"/>
                      </a:lnTo>
                      <a:lnTo>
                        <a:pt x="27" y="13"/>
                      </a:lnTo>
                      <a:lnTo>
                        <a:pt x="49" y="0"/>
                      </a:lnTo>
                      <a:lnTo>
                        <a:pt x="58" y="0"/>
                      </a:lnTo>
                      <a:lnTo>
                        <a:pt x="72" y="4"/>
                      </a:lnTo>
                      <a:lnTo>
                        <a:pt x="81" y="13"/>
                      </a:lnTo>
                      <a:lnTo>
                        <a:pt x="81" y="27"/>
                      </a:lnTo>
                      <a:lnTo>
                        <a:pt x="72" y="31"/>
                      </a:lnTo>
                      <a:lnTo>
                        <a:pt x="72" y="31"/>
                      </a:lnTo>
                      <a:lnTo>
                        <a:pt x="67" y="27"/>
                      </a:lnTo>
                      <a:lnTo>
                        <a:pt x="72" y="18"/>
                      </a:lnTo>
                      <a:lnTo>
                        <a:pt x="58" y="13"/>
                      </a:lnTo>
                      <a:lnTo>
                        <a:pt x="49" y="9"/>
                      </a:lnTo>
                      <a:lnTo>
                        <a:pt x="45" y="18"/>
                      </a:lnTo>
                      <a:lnTo>
                        <a:pt x="41" y="22"/>
                      </a:lnTo>
                      <a:lnTo>
                        <a:pt x="45" y="31"/>
                      </a:lnTo>
                      <a:lnTo>
                        <a:pt x="32" y="40"/>
                      </a:lnTo>
                      <a:lnTo>
                        <a:pt x="27" y="31"/>
                      </a:lnTo>
                      <a:lnTo>
                        <a:pt x="18" y="27"/>
                      </a:lnTo>
                      <a:lnTo>
                        <a:pt x="9" y="18"/>
                      </a:lnTo>
                      <a:lnTo>
                        <a:pt x="5" y="27"/>
                      </a:lnTo>
                      <a:lnTo>
                        <a:pt x="0" y="1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95" name="Freeform 93"/>
                <p:cNvSpPr>
                  <a:spLocks/>
                </p:cNvSpPr>
                <p:nvPr/>
              </p:nvSpPr>
              <p:spPr bwMode="gray">
                <a:xfrm>
                  <a:off x="1789" y="3070"/>
                  <a:ext cx="121" cy="129"/>
                </a:xfrm>
                <a:custGeom>
                  <a:avLst/>
                  <a:gdLst>
                    <a:gd name="T0" fmla="*/ 0 w 121"/>
                    <a:gd name="T1" fmla="*/ 44 h 129"/>
                    <a:gd name="T2" fmla="*/ 5 w 121"/>
                    <a:gd name="T3" fmla="*/ 31 h 129"/>
                    <a:gd name="T4" fmla="*/ 5 w 121"/>
                    <a:gd name="T5" fmla="*/ 18 h 129"/>
                    <a:gd name="T6" fmla="*/ 14 w 121"/>
                    <a:gd name="T7" fmla="*/ 9 h 129"/>
                    <a:gd name="T8" fmla="*/ 49 w 121"/>
                    <a:gd name="T9" fmla="*/ 0 h 129"/>
                    <a:gd name="T10" fmla="*/ 63 w 121"/>
                    <a:gd name="T11" fmla="*/ 4 h 129"/>
                    <a:gd name="T12" fmla="*/ 67 w 121"/>
                    <a:gd name="T13" fmla="*/ 18 h 129"/>
                    <a:gd name="T14" fmla="*/ 72 w 121"/>
                    <a:gd name="T15" fmla="*/ 13 h 129"/>
                    <a:gd name="T16" fmla="*/ 72 w 121"/>
                    <a:gd name="T17" fmla="*/ 27 h 129"/>
                    <a:gd name="T18" fmla="*/ 67 w 121"/>
                    <a:gd name="T19" fmla="*/ 44 h 129"/>
                    <a:gd name="T20" fmla="*/ 81 w 121"/>
                    <a:gd name="T21" fmla="*/ 44 h 129"/>
                    <a:gd name="T22" fmla="*/ 94 w 121"/>
                    <a:gd name="T23" fmla="*/ 40 h 129"/>
                    <a:gd name="T24" fmla="*/ 103 w 121"/>
                    <a:gd name="T25" fmla="*/ 49 h 129"/>
                    <a:gd name="T26" fmla="*/ 103 w 121"/>
                    <a:gd name="T27" fmla="*/ 76 h 129"/>
                    <a:gd name="T28" fmla="*/ 116 w 121"/>
                    <a:gd name="T29" fmla="*/ 71 h 129"/>
                    <a:gd name="T30" fmla="*/ 121 w 121"/>
                    <a:gd name="T31" fmla="*/ 76 h 129"/>
                    <a:gd name="T32" fmla="*/ 116 w 121"/>
                    <a:gd name="T33" fmla="*/ 94 h 129"/>
                    <a:gd name="T34" fmla="*/ 121 w 121"/>
                    <a:gd name="T35" fmla="*/ 98 h 129"/>
                    <a:gd name="T36" fmla="*/ 116 w 121"/>
                    <a:gd name="T37" fmla="*/ 116 h 129"/>
                    <a:gd name="T38" fmla="*/ 103 w 121"/>
                    <a:gd name="T39" fmla="*/ 129 h 129"/>
                    <a:gd name="T40" fmla="*/ 85 w 121"/>
                    <a:gd name="T41" fmla="*/ 129 h 129"/>
                    <a:gd name="T42" fmla="*/ 72 w 121"/>
                    <a:gd name="T43" fmla="*/ 125 h 129"/>
                    <a:gd name="T44" fmla="*/ 58 w 121"/>
                    <a:gd name="T45" fmla="*/ 125 h 129"/>
                    <a:gd name="T46" fmla="*/ 72 w 121"/>
                    <a:gd name="T47" fmla="*/ 98 h 129"/>
                    <a:gd name="T48" fmla="*/ 72 w 121"/>
                    <a:gd name="T49" fmla="*/ 89 h 129"/>
                    <a:gd name="T50" fmla="*/ 36 w 121"/>
                    <a:gd name="T51" fmla="*/ 71 h 129"/>
                    <a:gd name="T52" fmla="*/ 27 w 121"/>
                    <a:gd name="T53" fmla="*/ 71 h 129"/>
                    <a:gd name="T54" fmla="*/ 0 w 121"/>
                    <a:gd name="T55" fmla="*/ 4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29">
                      <a:moveTo>
                        <a:pt x="0" y="44"/>
                      </a:moveTo>
                      <a:lnTo>
                        <a:pt x="5" y="31"/>
                      </a:lnTo>
                      <a:lnTo>
                        <a:pt x="5" y="18"/>
                      </a:lnTo>
                      <a:lnTo>
                        <a:pt x="14" y="9"/>
                      </a:lnTo>
                      <a:lnTo>
                        <a:pt x="49" y="0"/>
                      </a:lnTo>
                      <a:lnTo>
                        <a:pt x="63" y="4"/>
                      </a:lnTo>
                      <a:lnTo>
                        <a:pt x="67" y="18"/>
                      </a:lnTo>
                      <a:lnTo>
                        <a:pt x="72" y="13"/>
                      </a:lnTo>
                      <a:lnTo>
                        <a:pt x="72" y="27"/>
                      </a:lnTo>
                      <a:lnTo>
                        <a:pt x="67" y="44"/>
                      </a:lnTo>
                      <a:lnTo>
                        <a:pt x="81" y="44"/>
                      </a:lnTo>
                      <a:lnTo>
                        <a:pt x="94" y="40"/>
                      </a:lnTo>
                      <a:lnTo>
                        <a:pt x="103" y="49"/>
                      </a:lnTo>
                      <a:lnTo>
                        <a:pt x="103" y="76"/>
                      </a:lnTo>
                      <a:lnTo>
                        <a:pt x="116" y="71"/>
                      </a:lnTo>
                      <a:lnTo>
                        <a:pt x="121" y="76"/>
                      </a:lnTo>
                      <a:lnTo>
                        <a:pt x="116" y="94"/>
                      </a:lnTo>
                      <a:lnTo>
                        <a:pt x="121" y="98"/>
                      </a:lnTo>
                      <a:lnTo>
                        <a:pt x="116" y="116"/>
                      </a:lnTo>
                      <a:lnTo>
                        <a:pt x="103" y="129"/>
                      </a:lnTo>
                      <a:lnTo>
                        <a:pt x="85" y="129"/>
                      </a:lnTo>
                      <a:lnTo>
                        <a:pt x="72" y="125"/>
                      </a:lnTo>
                      <a:lnTo>
                        <a:pt x="58" y="125"/>
                      </a:lnTo>
                      <a:lnTo>
                        <a:pt x="72" y="98"/>
                      </a:lnTo>
                      <a:lnTo>
                        <a:pt x="72" y="89"/>
                      </a:lnTo>
                      <a:lnTo>
                        <a:pt x="36" y="71"/>
                      </a:lnTo>
                      <a:lnTo>
                        <a:pt x="27" y="71"/>
                      </a:lnTo>
                      <a:lnTo>
                        <a:pt x="0" y="4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96" name="Freeform 94"/>
                <p:cNvSpPr>
                  <a:spLocks/>
                </p:cNvSpPr>
                <p:nvPr/>
              </p:nvSpPr>
              <p:spPr bwMode="gray">
                <a:xfrm>
                  <a:off x="1521" y="2784"/>
                  <a:ext cx="179" cy="268"/>
                </a:xfrm>
                <a:custGeom>
                  <a:avLst/>
                  <a:gdLst>
                    <a:gd name="T0" fmla="*/ 14 w 179"/>
                    <a:gd name="T1" fmla="*/ 49 h 268"/>
                    <a:gd name="T2" fmla="*/ 9 w 179"/>
                    <a:gd name="T3" fmla="*/ 49 h 268"/>
                    <a:gd name="T4" fmla="*/ 0 w 179"/>
                    <a:gd name="T5" fmla="*/ 58 h 268"/>
                    <a:gd name="T6" fmla="*/ 0 w 179"/>
                    <a:gd name="T7" fmla="*/ 71 h 268"/>
                    <a:gd name="T8" fmla="*/ 5 w 179"/>
                    <a:gd name="T9" fmla="*/ 80 h 268"/>
                    <a:gd name="T10" fmla="*/ 0 w 179"/>
                    <a:gd name="T11" fmla="*/ 85 h 268"/>
                    <a:gd name="T12" fmla="*/ 18 w 179"/>
                    <a:gd name="T13" fmla="*/ 98 h 268"/>
                    <a:gd name="T14" fmla="*/ 31 w 179"/>
                    <a:gd name="T15" fmla="*/ 116 h 268"/>
                    <a:gd name="T16" fmla="*/ 49 w 179"/>
                    <a:gd name="T17" fmla="*/ 156 h 268"/>
                    <a:gd name="T18" fmla="*/ 58 w 179"/>
                    <a:gd name="T19" fmla="*/ 174 h 268"/>
                    <a:gd name="T20" fmla="*/ 72 w 179"/>
                    <a:gd name="T21" fmla="*/ 196 h 268"/>
                    <a:gd name="T22" fmla="*/ 72 w 179"/>
                    <a:gd name="T23" fmla="*/ 201 h 268"/>
                    <a:gd name="T24" fmla="*/ 94 w 179"/>
                    <a:gd name="T25" fmla="*/ 228 h 268"/>
                    <a:gd name="T26" fmla="*/ 98 w 179"/>
                    <a:gd name="T27" fmla="*/ 223 h 268"/>
                    <a:gd name="T28" fmla="*/ 139 w 179"/>
                    <a:gd name="T29" fmla="*/ 250 h 268"/>
                    <a:gd name="T30" fmla="*/ 156 w 179"/>
                    <a:gd name="T31" fmla="*/ 268 h 268"/>
                    <a:gd name="T32" fmla="*/ 170 w 179"/>
                    <a:gd name="T33" fmla="*/ 259 h 268"/>
                    <a:gd name="T34" fmla="*/ 170 w 179"/>
                    <a:gd name="T35" fmla="*/ 250 h 268"/>
                    <a:gd name="T36" fmla="*/ 174 w 179"/>
                    <a:gd name="T37" fmla="*/ 237 h 268"/>
                    <a:gd name="T38" fmla="*/ 170 w 179"/>
                    <a:gd name="T39" fmla="*/ 232 h 268"/>
                    <a:gd name="T40" fmla="*/ 174 w 179"/>
                    <a:gd name="T41" fmla="*/ 210 h 268"/>
                    <a:gd name="T42" fmla="*/ 174 w 179"/>
                    <a:gd name="T43" fmla="*/ 187 h 268"/>
                    <a:gd name="T44" fmla="*/ 179 w 179"/>
                    <a:gd name="T45" fmla="*/ 178 h 268"/>
                    <a:gd name="T46" fmla="*/ 170 w 179"/>
                    <a:gd name="T47" fmla="*/ 161 h 268"/>
                    <a:gd name="T48" fmla="*/ 152 w 179"/>
                    <a:gd name="T49" fmla="*/ 161 h 268"/>
                    <a:gd name="T50" fmla="*/ 152 w 179"/>
                    <a:gd name="T51" fmla="*/ 134 h 268"/>
                    <a:gd name="T52" fmla="*/ 130 w 179"/>
                    <a:gd name="T53" fmla="*/ 147 h 268"/>
                    <a:gd name="T54" fmla="*/ 125 w 179"/>
                    <a:gd name="T55" fmla="*/ 138 h 268"/>
                    <a:gd name="T56" fmla="*/ 112 w 179"/>
                    <a:gd name="T57" fmla="*/ 138 h 268"/>
                    <a:gd name="T58" fmla="*/ 112 w 179"/>
                    <a:gd name="T59" fmla="*/ 125 h 268"/>
                    <a:gd name="T60" fmla="*/ 103 w 179"/>
                    <a:gd name="T61" fmla="*/ 107 h 268"/>
                    <a:gd name="T62" fmla="*/ 116 w 179"/>
                    <a:gd name="T63" fmla="*/ 89 h 268"/>
                    <a:gd name="T64" fmla="*/ 121 w 179"/>
                    <a:gd name="T65" fmla="*/ 76 h 268"/>
                    <a:gd name="T66" fmla="*/ 130 w 179"/>
                    <a:gd name="T67" fmla="*/ 67 h 268"/>
                    <a:gd name="T68" fmla="*/ 148 w 179"/>
                    <a:gd name="T69" fmla="*/ 62 h 268"/>
                    <a:gd name="T70" fmla="*/ 161 w 179"/>
                    <a:gd name="T71" fmla="*/ 62 h 268"/>
                    <a:gd name="T72" fmla="*/ 156 w 179"/>
                    <a:gd name="T73" fmla="*/ 58 h 268"/>
                    <a:gd name="T74" fmla="*/ 148 w 179"/>
                    <a:gd name="T75" fmla="*/ 53 h 268"/>
                    <a:gd name="T76" fmla="*/ 161 w 179"/>
                    <a:gd name="T77" fmla="*/ 31 h 268"/>
                    <a:gd name="T78" fmla="*/ 134 w 179"/>
                    <a:gd name="T79" fmla="*/ 22 h 268"/>
                    <a:gd name="T80" fmla="*/ 121 w 179"/>
                    <a:gd name="T81" fmla="*/ 27 h 268"/>
                    <a:gd name="T82" fmla="*/ 98 w 179"/>
                    <a:gd name="T83" fmla="*/ 4 h 268"/>
                    <a:gd name="T84" fmla="*/ 85 w 179"/>
                    <a:gd name="T85" fmla="*/ 0 h 268"/>
                    <a:gd name="T86" fmla="*/ 85 w 179"/>
                    <a:gd name="T87" fmla="*/ 9 h 268"/>
                    <a:gd name="T88" fmla="*/ 63 w 179"/>
                    <a:gd name="T89" fmla="*/ 35 h 268"/>
                    <a:gd name="T90" fmla="*/ 40 w 179"/>
                    <a:gd name="T91" fmla="*/ 44 h 268"/>
                    <a:gd name="T92" fmla="*/ 36 w 179"/>
                    <a:gd name="T93" fmla="*/ 67 h 268"/>
                    <a:gd name="T94" fmla="*/ 14 w 179"/>
                    <a:gd name="T95" fmla="*/ 67 h 268"/>
                    <a:gd name="T96" fmla="*/ 9 w 179"/>
                    <a:gd name="T97" fmla="*/ 58 h 268"/>
                    <a:gd name="T98" fmla="*/ 14 w 179"/>
                    <a:gd name="T99" fmla="*/ 53 h 268"/>
                    <a:gd name="T100" fmla="*/ 14 w 179"/>
                    <a:gd name="T101" fmla="*/ 4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9" h="268">
                      <a:moveTo>
                        <a:pt x="14" y="49"/>
                      </a:moveTo>
                      <a:lnTo>
                        <a:pt x="9" y="49"/>
                      </a:lnTo>
                      <a:lnTo>
                        <a:pt x="0" y="58"/>
                      </a:lnTo>
                      <a:lnTo>
                        <a:pt x="0" y="71"/>
                      </a:lnTo>
                      <a:lnTo>
                        <a:pt x="5" y="80"/>
                      </a:lnTo>
                      <a:lnTo>
                        <a:pt x="0" y="85"/>
                      </a:lnTo>
                      <a:lnTo>
                        <a:pt x="18" y="98"/>
                      </a:lnTo>
                      <a:lnTo>
                        <a:pt x="31" y="116"/>
                      </a:lnTo>
                      <a:lnTo>
                        <a:pt x="49" y="156"/>
                      </a:lnTo>
                      <a:lnTo>
                        <a:pt x="58" y="174"/>
                      </a:lnTo>
                      <a:lnTo>
                        <a:pt x="72" y="196"/>
                      </a:lnTo>
                      <a:lnTo>
                        <a:pt x="72" y="201"/>
                      </a:lnTo>
                      <a:lnTo>
                        <a:pt x="94" y="228"/>
                      </a:lnTo>
                      <a:lnTo>
                        <a:pt x="98" y="223"/>
                      </a:lnTo>
                      <a:lnTo>
                        <a:pt x="139" y="250"/>
                      </a:lnTo>
                      <a:lnTo>
                        <a:pt x="156" y="268"/>
                      </a:lnTo>
                      <a:lnTo>
                        <a:pt x="170" y="259"/>
                      </a:lnTo>
                      <a:lnTo>
                        <a:pt x="170" y="250"/>
                      </a:lnTo>
                      <a:lnTo>
                        <a:pt x="174" y="237"/>
                      </a:lnTo>
                      <a:lnTo>
                        <a:pt x="170" y="232"/>
                      </a:lnTo>
                      <a:lnTo>
                        <a:pt x="174" y="210"/>
                      </a:lnTo>
                      <a:lnTo>
                        <a:pt x="174" y="187"/>
                      </a:lnTo>
                      <a:lnTo>
                        <a:pt x="179" y="178"/>
                      </a:lnTo>
                      <a:lnTo>
                        <a:pt x="170" y="161"/>
                      </a:lnTo>
                      <a:lnTo>
                        <a:pt x="152" y="161"/>
                      </a:lnTo>
                      <a:lnTo>
                        <a:pt x="152" y="134"/>
                      </a:lnTo>
                      <a:lnTo>
                        <a:pt x="130" y="147"/>
                      </a:lnTo>
                      <a:lnTo>
                        <a:pt x="125" y="138"/>
                      </a:lnTo>
                      <a:lnTo>
                        <a:pt x="112" y="138"/>
                      </a:lnTo>
                      <a:lnTo>
                        <a:pt x="112" y="125"/>
                      </a:lnTo>
                      <a:lnTo>
                        <a:pt x="103" y="107"/>
                      </a:lnTo>
                      <a:lnTo>
                        <a:pt x="116" y="89"/>
                      </a:lnTo>
                      <a:lnTo>
                        <a:pt x="121" y="76"/>
                      </a:lnTo>
                      <a:lnTo>
                        <a:pt x="130" y="67"/>
                      </a:lnTo>
                      <a:lnTo>
                        <a:pt x="148" y="62"/>
                      </a:lnTo>
                      <a:lnTo>
                        <a:pt x="161" y="62"/>
                      </a:lnTo>
                      <a:lnTo>
                        <a:pt x="156" y="58"/>
                      </a:lnTo>
                      <a:lnTo>
                        <a:pt x="148" y="53"/>
                      </a:lnTo>
                      <a:lnTo>
                        <a:pt x="161" y="31"/>
                      </a:lnTo>
                      <a:lnTo>
                        <a:pt x="134" y="22"/>
                      </a:lnTo>
                      <a:lnTo>
                        <a:pt x="121" y="27"/>
                      </a:lnTo>
                      <a:lnTo>
                        <a:pt x="98" y="4"/>
                      </a:lnTo>
                      <a:lnTo>
                        <a:pt x="85" y="0"/>
                      </a:lnTo>
                      <a:lnTo>
                        <a:pt x="85" y="9"/>
                      </a:lnTo>
                      <a:lnTo>
                        <a:pt x="63" y="35"/>
                      </a:lnTo>
                      <a:lnTo>
                        <a:pt x="40" y="44"/>
                      </a:lnTo>
                      <a:lnTo>
                        <a:pt x="36" y="67"/>
                      </a:lnTo>
                      <a:lnTo>
                        <a:pt x="14" y="67"/>
                      </a:lnTo>
                      <a:lnTo>
                        <a:pt x="9" y="58"/>
                      </a:lnTo>
                      <a:lnTo>
                        <a:pt x="14" y="53"/>
                      </a:lnTo>
                      <a:lnTo>
                        <a:pt x="14" y="4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97" name="Freeform 95"/>
                <p:cNvSpPr>
                  <a:spLocks/>
                </p:cNvSpPr>
                <p:nvPr/>
              </p:nvSpPr>
              <p:spPr bwMode="gray">
                <a:xfrm>
                  <a:off x="1727" y="2502"/>
                  <a:ext cx="22" cy="14"/>
                </a:xfrm>
                <a:custGeom>
                  <a:avLst/>
                  <a:gdLst>
                    <a:gd name="T0" fmla="*/ 0 w 22"/>
                    <a:gd name="T1" fmla="*/ 14 h 14"/>
                    <a:gd name="T2" fmla="*/ 13 w 22"/>
                    <a:gd name="T3" fmla="*/ 9 h 14"/>
                    <a:gd name="T4" fmla="*/ 17 w 22"/>
                    <a:gd name="T5" fmla="*/ 14 h 14"/>
                    <a:gd name="T6" fmla="*/ 22 w 22"/>
                    <a:gd name="T7" fmla="*/ 9 h 14"/>
                    <a:gd name="T8" fmla="*/ 22 w 22"/>
                    <a:gd name="T9" fmla="*/ 0 h 14"/>
                    <a:gd name="T10" fmla="*/ 13 w 22"/>
                    <a:gd name="T11" fmla="*/ 5 h 14"/>
                    <a:gd name="T12" fmla="*/ 0 w 22"/>
                    <a:gd name="T13" fmla="*/ 0 h 14"/>
                    <a:gd name="T14" fmla="*/ 0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0" y="14"/>
                      </a:moveTo>
                      <a:lnTo>
                        <a:pt x="13" y="9"/>
                      </a:lnTo>
                      <a:lnTo>
                        <a:pt x="17" y="14"/>
                      </a:lnTo>
                      <a:lnTo>
                        <a:pt x="22" y="9"/>
                      </a:lnTo>
                      <a:lnTo>
                        <a:pt x="22" y="0"/>
                      </a:lnTo>
                      <a:lnTo>
                        <a:pt x="13" y="5"/>
                      </a:lnTo>
                      <a:lnTo>
                        <a:pt x="0" y="0"/>
                      </a:lnTo>
                      <a:lnTo>
                        <a:pt x="0" y="1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98" name="Freeform 96"/>
                <p:cNvSpPr>
                  <a:spLocks/>
                </p:cNvSpPr>
                <p:nvPr/>
              </p:nvSpPr>
              <p:spPr bwMode="gray">
                <a:xfrm>
                  <a:off x="1816" y="2574"/>
                  <a:ext cx="1" cy="9"/>
                </a:xfrm>
                <a:custGeom>
                  <a:avLst/>
                  <a:gdLst>
                    <a:gd name="T0" fmla="*/ 0 h 9"/>
                    <a:gd name="T1" fmla="*/ 9 h 9"/>
                    <a:gd name="T2" fmla="*/ 4 h 9"/>
                    <a:gd name="T3" fmla="*/ 0 h 9"/>
                    <a:gd name="T4" fmla="*/ 0 h 9"/>
                  </a:gdLst>
                  <a:ahLst/>
                  <a:cxnLst>
                    <a:cxn ang="0">
                      <a:pos x="0" y="T0"/>
                    </a:cxn>
                    <a:cxn ang="0">
                      <a:pos x="0" y="T1"/>
                    </a:cxn>
                    <a:cxn ang="0">
                      <a:pos x="0" y="T2"/>
                    </a:cxn>
                    <a:cxn ang="0">
                      <a:pos x="0" y="T3"/>
                    </a:cxn>
                    <a:cxn ang="0">
                      <a:pos x="0" y="T4"/>
                    </a:cxn>
                  </a:cxnLst>
                  <a:rect l="0" t="0" r="r" b="b"/>
                  <a:pathLst>
                    <a:path h="9">
                      <a:moveTo>
                        <a:pt x="0" y="0"/>
                      </a:moveTo>
                      <a:lnTo>
                        <a:pt x="0" y="9"/>
                      </a:lnTo>
                      <a:lnTo>
                        <a:pt x="0" y="4"/>
                      </a:lnTo>
                      <a:lnTo>
                        <a:pt x="0" y="0"/>
                      </a:lnTo>
                      <a:lnTo>
                        <a:pt x="0"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99" name="Freeform 97"/>
                <p:cNvSpPr>
                  <a:spLocks/>
                </p:cNvSpPr>
                <p:nvPr/>
              </p:nvSpPr>
              <p:spPr bwMode="gray">
                <a:xfrm>
                  <a:off x="1811" y="2583"/>
                  <a:ext cx="5" cy="9"/>
                </a:xfrm>
                <a:custGeom>
                  <a:avLst/>
                  <a:gdLst>
                    <a:gd name="T0" fmla="*/ 5 w 5"/>
                    <a:gd name="T1" fmla="*/ 0 h 9"/>
                    <a:gd name="T2" fmla="*/ 0 w 5"/>
                    <a:gd name="T3" fmla="*/ 4 h 9"/>
                    <a:gd name="T4" fmla="*/ 5 w 5"/>
                    <a:gd name="T5" fmla="*/ 9 h 9"/>
                    <a:gd name="T6" fmla="*/ 5 w 5"/>
                    <a:gd name="T7" fmla="*/ 4 h 9"/>
                    <a:gd name="T8" fmla="*/ 5 w 5"/>
                    <a:gd name="T9" fmla="*/ 0 h 9"/>
                  </a:gdLst>
                  <a:ahLst/>
                  <a:cxnLst>
                    <a:cxn ang="0">
                      <a:pos x="T0" y="T1"/>
                    </a:cxn>
                    <a:cxn ang="0">
                      <a:pos x="T2" y="T3"/>
                    </a:cxn>
                    <a:cxn ang="0">
                      <a:pos x="T4" y="T5"/>
                    </a:cxn>
                    <a:cxn ang="0">
                      <a:pos x="T6" y="T7"/>
                    </a:cxn>
                    <a:cxn ang="0">
                      <a:pos x="T8" y="T9"/>
                    </a:cxn>
                  </a:cxnLst>
                  <a:rect l="0" t="0" r="r" b="b"/>
                  <a:pathLst>
                    <a:path w="5" h="9">
                      <a:moveTo>
                        <a:pt x="5" y="0"/>
                      </a:moveTo>
                      <a:lnTo>
                        <a:pt x="0" y="4"/>
                      </a:lnTo>
                      <a:lnTo>
                        <a:pt x="5" y="9"/>
                      </a:lnTo>
                      <a:lnTo>
                        <a:pt x="5" y="4"/>
                      </a:lnTo>
                      <a:lnTo>
                        <a:pt x="5"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00" name="Freeform 98"/>
                <p:cNvSpPr>
                  <a:spLocks/>
                </p:cNvSpPr>
                <p:nvPr/>
              </p:nvSpPr>
              <p:spPr bwMode="gray">
                <a:xfrm>
                  <a:off x="1852" y="2690"/>
                  <a:ext cx="62" cy="67"/>
                </a:xfrm>
                <a:custGeom>
                  <a:avLst/>
                  <a:gdLst>
                    <a:gd name="T0" fmla="*/ 26 w 62"/>
                    <a:gd name="T1" fmla="*/ 62 h 67"/>
                    <a:gd name="T2" fmla="*/ 22 w 62"/>
                    <a:gd name="T3" fmla="*/ 54 h 67"/>
                    <a:gd name="T4" fmla="*/ 18 w 62"/>
                    <a:gd name="T5" fmla="*/ 40 h 67"/>
                    <a:gd name="T6" fmla="*/ 9 w 62"/>
                    <a:gd name="T7" fmla="*/ 40 h 67"/>
                    <a:gd name="T8" fmla="*/ 0 w 62"/>
                    <a:gd name="T9" fmla="*/ 31 h 67"/>
                    <a:gd name="T10" fmla="*/ 4 w 62"/>
                    <a:gd name="T11" fmla="*/ 22 h 67"/>
                    <a:gd name="T12" fmla="*/ 13 w 62"/>
                    <a:gd name="T13" fmla="*/ 18 h 67"/>
                    <a:gd name="T14" fmla="*/ 18 w 62"/>
                    <a:gd name="T15" fmla="*/ 4 h 67"/>
                    <a:gd name="T16" fmla="*/ 22 w 62"/>
                    <a:gd name="T17" fmla="*/ 0 h 67"/>
                    <a:gd name="T18" fmla="*/ 35 w 62"/>
                    <a:gd name="T19" fmla="*/ 4 h 67"/>
                    <a:gd name="T20" fmla="*/ 58 w 62"/>
                    <a:gd name="T21" fmla="*/ 4 h 67"/>
                    <a:gd name="T22" fmla="*/ 58 w 62"/>
                    <a:gd name="T23" fmla="*/ 13 h 67"/>
                    <a:gd name="T24" fmla="*/ 53 w 62"/>
                    <a:gd name="T25" fmla="*/ 22 h 67"/>
                    <a:gd name="T26" fmla="*/ 62 w 62"/>
                    <a:gd name="T27" fmla="*/ 40 h 67"/>
                    <a:gd name="T28" fmla="*/ 49 w 62"/>
                    <a:gd name="T29" fmla="*/ 54 h 67"/>
                    <a:gd name="T30" fmla="*/ 31 w 62"/>
                    <a:gd name="T31" fmla="*/ 54 h 67"/>
                    <a:gd name="T32" fmla="*/ 31 w 62"/>
                    <a:gd name="T33" fmla="*/ 67 h 67"/>
                    <a:gd name="T34" fmla="*/ 26 w 62"/>
                    <a:gd name="T35" fmla="*/ 6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6" y="62"/>
                      </a:moveTo>
                      <a:lnTo>
                        <a:pt x="22" y="54"/>
                      </a:lnTo>
                      <a:lnTo>
                        <a:pt x="18" y="40"/>
                      </a:lnTo>
                      <a:lnTo>
                        <a:pt x="9" y="40"/>
                      </a:lnTo>
                      <a:lnTo>
                        <a:pt x="0" y="31"/>
                      </a:lnTo>
                      <a:lnTo>
                        <a:pt x="4" y="22"/>
                      </a:lnTo>
                      <a:lnTo>
                        <a:pt x="13" y="18"/>
                      </a:lnTo>
                      <a:lnTo>
                        <a:pt x="18" y="4"/>
                      </a:lnTo>
                      <a:lnTo>
                        <a:pt x="22" y="0"/>
                      </a:lnTo>
                      <a:lnTo>
                        <a:pt x="35" y="4"/>
                      </a:lnTo>
                      <a:lnTo>
                        <a:pt x="58" y="4"/>
                      </a:lnTo>
                      <a:lnTo>
                        <a:pt x="58" y="13"/>
                      </a:lnTo>
                      <a:lnTo>
                        <a:pt x="53" y="22"/>
                      </a:lnTo>
                      <a:lnTo>
                        <a:pt x="62" y="40"/>
                      </a:lnTo>
                      <a:lnTo>
                        <a:pt x="49" y="54"/>
                      </a:lnTo>
                      <a:lnTo>
                        <a:pt x="31" y="54"/>
                      </a:lnTo>
                      <a:lnTo>
                        <a:pt x="31" y="67"/>
                      </a:lnTo>
                      <a:lnTo>
                        <a:pt x="26" y="6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01" name="Freeform 99"/>
                <p:cNvSpPr>
                  <a:spLocks noEditPoints="1"/>
                </p:cNvSpPr>
                <p:nvPr/>
              </p:nvSpPr>
              <p:spPr bwMode="gray">
                <a:xfrm>
                  <a:off x="1803" y="2614"/>
                  <a:ext cx="22" cy="22"/>
                </a:xfrm>
                <a:custGeom>
                  <a:avLst/>
                  <a:gdLst>
                    <a:gd name="T0" fmla="*/ 13 w 22"/>
                    <a:gd name="T1" fmla="*/ 0 h 22"/>
                    <a:gd name="T2" fmla="*/ 13 w 22"/>
                    <a:gd name="T3" fmla="*/ 4 h 22"/>
                    <a:gd name="T4" fmla="*/ 22 w 22"/>
                    <a:gd name="T5" fmla="*/ 0 h 22"/>
                    <a:gd name="T6" fmla="*/ 17 w 22"/>
                    <a:gd name="T7" fmla="*/ 0 h 22"/>
                    <a:gd name="T8" fmla="*/ 13 w 22"/>
                    <a:gd name="T9" fmla="*/ 0 h 22"/>
                    <a:gd name="T10" fmla="*/ 13 w 22"/>
                    <a:gd name="T11" fmla="*/ 9 h 22"/>
                    <a:gd name="T12" fmla="*/ 4 w 22"/>
                    <a:gd name="T13" fmla="*/ 9 h 22"/>
                    <a:gd name="T14" fmla="*/ 0 w 22"/>
                    <a:gd name="T15" fmla="*/ 18 h 22"/>
                    <a:gd name="T16" fmla="*/ 0 w 22"/>
                    <a:gd name="T17" fmla="*/ 22 h 22"/>
                    <a:gd name="T18" fmla="*/ 4 w 22"/>
                    <a:gd name="T19" fmla="*/ 22 h 22"/>
                    <a:gd name="T20" fmla="*/ 13 w 22"/>
                    <a:gd name="T21" fmla="*/ 22 h 22"/>
                    <a:gd name="T22" fmla="*/ 13 w 22"/>
                    <a:gd name="T23"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2">
                      <a:moveTo>
                        <a:pt x="13" y="0"/>
                      </a:moveTo>
                      <a:lnTo>
                        <a:pt x="13" y="4"/>
                      </a:lnTo>
                      <a:lnTo>
                        <a:pt x="22" y="0"/>
                      </a:lnTo>
                      <a:lnTo>
                        <a:pt x="17" y="0"/>
                      </a:lnTo>
                      <a:lnTo>
                        <a:pt x="13" y="0"/>
                      </a:lnTo>
                      <a:close/>
                      <a:moveTo>
                        <a:pt x="13" y="9"/>
                      </a:moveTo>
                      <a:lnTo>
                        <a:pt x="4" y="9"/>
                      </a:lnTo>
                      <a:lnTo>
                        <a:pt x="0" y="18"/>
                      </a:lnTo>
                      <a:lnTo>
                        <a:pt x="0" y="22"/>
                      </a:lnTo>
                      <a:lnTo>
                        <a:pt x="4" y="22"/>
                      </a:lnTo>
                      <a:lnTo>
                        <a:pt x="13" y="22"/>
                      </a:lnTo>
                      <a:lnTo>
                        <a:pt x="13"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02" name="Freeform 100"/>
                <p:cNvSpPr>
                  <a:spLocks noEditPoints="1"/>
                </p:cNvSpPr>
                <p:nvPr/>
              </p:nvSpPr>
              <p:spPr bwMode="gray">
                <a:xfrm>
                  <a:off x="253" y="1242"/>
                  <a:ext cx="1474" cy="1256"/>
                </a:xfrm>
                <a:custGeom>
                  <a:avLst/>
                  <a:gdLst>
                    <a:gd name="T0" fmla="*/ 26 w 1474"/>
                    <a:gd name="T1" fmla="*/ 425 h 1256"/>
                    <a:gd name="T2" fmla="*/ 35 w 1474"/>
                    <a:gd name="T3" fmla="*/ 594 h 1256"/>
                    <a:gd name="T4" fmla="*/ 58 w 1474"/>
                    <a:gd name="T5" fmla="*/ 590 h 1256"/>
                    <a:gd name="T6" fmla="*/ 107 w 1474"/>
                    <a:gd name="T7" fmla="*/ 232 h 1256"/>
                    <a:gd name="T8" fmla="*/ 44 w 1474"/>
                    <a:gd name="T9" fmla="*/ 232 h 1256"/>
                    <a:gd name="T10" fmla="*/ 120 w 1474"/>
                    <a:gd name="T11" fmla="*/ 282 h 1256"/>
                    <a:gd name="T12" fmla="*/ 67 w 1474"/>
                    <a:gd name="T13" fmla="*/ 353 h 1256"/>
                    <a:gd name="T14" fmla="*/ 75 w 1474"/>
                    <a:gd name="T15" fmla="*/ 442 h 1256"/>
                    <a:gd name="T16" fmla="*/ 134 w 1474"/>
                    <a:gd name="T17" fmla="*/ 465 h 1256"/>
                    <a:gd name="T18" fmla="*/ 174 w 1474"/>
                    <a:gd name="T19" fmla="*/ 509 h 1256"/>
                    <a:gd name="T20" fmla="*/ 98 w 1474"/>
                    <a:gd name="T21" fmla="*/ 554 h 1256"/>
                    <a:gd name="T22" fmla="*/ 138 w 1474"/>
                    <a:gd name="T23" fmla="*/ 550 h 1256"/>
                    <a:gd name="T24" fmla="*/ 227 w 1474"/>
                    <a:gd name="T25" fmla="*/ 447 h 1256"/>
                    <a:gd name="T26" fmla="*/ 250 w 1474"/>
                    <a:gd name="T27" fmla="*/ 438 h 1256"/>
                    <a:gd name="T28" fmla="*/ 321 w 1474"/>
                    <a:gd name="T29" fmla="*/ 429 h 1256"/>
                    <a:gd name="T30" fmla="*/ 352 w 1474"/>
                    <a:gd name="T31" fmla="*/ 429 h 1256"/>
                    <a:gd name="T32" fmla="*/ 455 w 1474"/>
                    <a:gd name="T33" fmla="*/ 469 h 1256"/>
                    <a:gd name="T34" fmla="*/ 495 w 1474"/>
                    <a:gd name="T35" fmla="*/ 460 h 1256"/>
                    <a:gd name="T36" fmla="*/ 518 w 1474"/>
                    <a:gd name="T37" fmla="*/ 496 h 1256"/>
                    <a:gd name="T38" fmla="*/ 567 w 1474"/>
                    <a:gd name="T39" fmla="*/ 572 h 1256"/>
                    <a:gd name="T40" fmla="*/ 477 w 1474"/>
                    <a:gd name="T41" fmla="*/ 447 h 1256"/>
                    <a:gd name="T42" fmla="*/ 406 w 1474"/>
                    <a:gd name="T43" fmla="*/ 433 h 1256"/>
                    <a:gd name="T44" fmla="*/ 268 w 1474"/>
                    <a:gd name="T45" fmla="*/ 67 h 1256"/>
                    <a:gd name="T46" fmla="*/ 209 w 1474"/>
                    <a:gd name="T47" fmla="*/ 9 h 1256"/>
                    <a:gd name="T48" fmla="*/ 116 w 1474"/>
                    <a:gd name="T49" fmla="*/ 58 h 1256"/>
                    <a:gd name="T50" fmla="*/ 40 w 1474"/>
                    <a:gd name="T51" fmla="*/ 152 h 1256"/>
                    <a:gd name="T52" fmla="*/ 134 w 1474"/>
                    <a:gd name="T53" fmla="*/ 228 h 1256"/>
                    <a:gd name="T54" fmla="*/ 160 w 1474"/>
                    <a:gd name="T55" fmla="*/ 1229 h 1256"/>
                    <a:gd name="T56" fmla="*/ 201 w 1474"/>
                    <a:gd name="T57" fmla="*/ 1251 h 1256"/>
                    <a:gd name="T58" fmla="*/ 491 w 1474"/>
                    <a:gd name="T59" fmla="*/ 527 h 1256"/>
                    <a:gd name="T60" fmla="*/ 513 w 1474"/>
                    <a:gd name="T61" fmla="*/ 523 h 1256"/>
                    <a:gd name="T62" fmla="*/ 536 w 1474"/>
                    <a:gd name="T63" fmla="*/ 563 h 1256"/>
                    <a:gd name="T64" fmla="*/ 531 w 1474"/>
                    <a:gd name="T65" fmla="*/ 572 h 1256"/>
                    <a:gd name="T66" fmla="*/ 652 w 1474"/>
                    <a:gd name="T67" fmla="*/ 742 h 1256"/>
                    <a:gd name="T68" fmla="*/ 647 w 1474"/>
                    <a:gd name="T69" fmla="*/ 885 h 1256"/>
                    <a:gd name="T70" fmla="*/ 679 w 1474"/>
                    <a:gd name="T71" fmla="*/ 947 h 1256"/>
                    <a:gd name="T72" fmla="*/ 746 w 1474"/>
                    <a:gd name="T73" fmla="*/ 1023 h 1256"/>
                    <a:gd name="T74" fmla="*/ 951 w 1474"/>
                    <a:gd name="T75" fmla="*/ 1104 h 1256"/>
                    <a:gd name="T76" fmla="*/ 1094 w 1474"/>
                    <a:gd name="T77" fmla="*/ 1086 h 1256"/>
                    <a:gd name="T78" fmla="*/ 1139 w 1474"/>
                    <a:gd name="T79" fmla="*/ 1081 h 1256"/>
                    <a:gd name="T80" fmla="*/ 1246 w 1474"/>
                    <a:gd name="T81" fmla="*/ 1104 h 1256"/>
                    <a:gd name="T82" fmla="*/ 1286 w 1474"/>
                    <a:gd name="T83" fmla="*/ 1135 h 1256"/>
                    <a:gd name="T84" fmla="*/ 1304 w 1474"/>
                    <a:gd name="T85" fmla="*/ 1014 h 1256"/>
                    <a:gd name="T86" fmla="*/ 1344 w 1474"/>
                    <a:gd name="T87" fmla="*/ 983 h 1256"/>
                    <a:gd name="T88" fmla="*/ 1335 w 1474"/>
                    <a:gd name="T89" fmla="*/ 912 h 1256"/>
                    <a:gd name="T90" fmla="*/ 1353 w 1474"/>
                    <a:gd name="T91" fmla="*/ 930 h 1256"/>
                    <a:gd name="T92" fmla="*/ 1371 w 1474"/>
                    <a:gd name="T93" fmla="*/ 885 h 1256"/>
                    <a:gd name="T94" fmla="*/ 1420 w 1474"/>
                    <a:gd name="T95" fmla="*/ 858 h 1256"/>
                    <a:gd name="T96" fmla="*/ 1469 w 1474"/>
                    <a:gd name="T97" fmla="*/ 800 h 1256"/>
                    <a:gd name="T98" fmla="*/ 1357 w 1474"/>
                    <a:gd name="T99" fmla="*/ 804 h 1256"/>
                    <a:gd name="T100" fmla="*/ 1299 w 1474"/>
                    <a:gd name="T101" fmla="*/ 849 h 1256"/>
                    <a:gd name="T102" fmla="*/ 1246 w 1474"/>
                    <a:gd name="T103" fmla="*/ 818 h 1256"/>
                    <a:gd name="T104" fmla="*/ 1206 w 1474"/>
                    <a:gd name="T105" fmla="*/ 800 h 1256"/>
                    <a:gd name="T106" fmla="*/ 1188 w 1474"/>
                    <a:gd name="T107" fmla="*/ 795 h 1256"/>
                    <a:gd name="T108" fmla="*/ 1170 w 1474"/>
                    <a:gd name="T109" fmla="*/ 755 h 1256"/>
                    <a:gd name="T110" fmla="*/ 1116 w 1474"/>
                    <a:gd name="T111" fmla="*/ 737 h 1256"/>
                    <a:gd name="T112" fmla="*/ 1389 w 1474"/>
                    <a:gd name="T113" fmla="*/ 885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4" h="1256">
                      <a:moveTo>
                        <a:pt x="13" y="603"/>
                      </a:moveTo>
                      <a:lnTo>
                        <a:pt x="8" y="608"/>
                      </a:lnTo>
                      <a:lnTo>
                        <a:pt x="8" y="612"/>
                      </a:lnTo>
                      <a:lnTo>
                        <a:pt x="4" y="617"/>
                      </a:lnTo>
                      <a:lnTo>
                        <a:pt x="0" y="626"/>
                      </a:lnTo>
                      <a:lnTo>
                        <a:pt x="8" y="621"/>
                      </a:lnTo>
                      <a:lnTo>
                        <a:pt x="22" y="608"/>
                      </a:lnTo>
                      <a:lnTo>
                        <a:pt x="13" y="603"/>
                      </a:lnTo>
                      <a:close/>
                      <a:moveTo>
                        <a:pt x="26" y="425"/>
                      </a:moveTo>
                      <a:lnTo>
                        <a:pt x="26" y="429"/>
                      </a:lnTo>
                      <a:lnTo>
                        <a:pt x="40" y="442"/>
                      </a:lnTo>
                      <a:lnTo>
                        <a:pt x="49" y="438"/>
                      </a:lnTo>
                      <a:lnTo>
                        <a:pt x="49" y="429"/>
                      </a:lnTo>
                      <a:lnTo>
                        <a:pt x="44" y="420"/>
                      </a:lnTo>
                      <a:lnTo>
                        <a:pt x="40" y="420"/>
                      </a:lnTo>
                      <a:lnTo>
                        <a:pt x="35" y="425"/>
                      </a:lnTo>
                      <a:lnTo>
                        <a:pt x="26" y="425"/>
                      </a:lnTo>
                      <a:close/>
                      <a:moveTo>
                        <a:pt x="35" y="594"/>
                      </a:moveTo>
                      <a:lnTo>
                        <a:pt x="31" y="599"/>
                      </a:lnTo>
                      <a:lnTo>
                        <a:pt x="35" y="603"/>
                      </a:lnTo>
                      <a:lnTo>
                        <a:pt x="17" y="612"/>
                      </a:lnTo>
                      <a:lnTo>
                        <a:pt x="22" y="617"/>
                      </a:lnTo>
                      <a:lnTo>
                        <a:pt x="40" y="608"/>
                      </a:lnTo>
                      <a:lnTo>
                        <a:pt x="49" y="603"/>
                      </a:lnTo>
                      <a:lnTo>
                        <a:pt x="49" y="599"/>
                      </a:lnTo>
                      <a:lnTo>
                        <a:pt x="58" y="590"/>
                      </a:lnTo>
                      <a:lnTo>
                        <a:pt x="58" y="590"/>
                      </a:lnTo>
                      <a:lnTo>
                        <a:pt x="49" y="590"/>
                      </a:lnTo>
                      <a:lnTo>
                        <a:pt x="44" y="594"/>
                      </a:lnTo>
                      <a:lnTo>
                        <a:pt x="35" y="594"/>
                      </a:lnTo>
                      <a:close/>
                      <a:moveTo>
                        <a:pt x="129" y="232"/>
                      </a:moveTo>
                      <a:lnTo>
                        <a:pt x="116" y="223"/>
                      </a:lnTo>
                      <a:lnTo>
                        <a:pt x="111" y="223"/>
                      </a:lnTo>
                      <a:lnTo>
                        <a:pt x="98" y="201"/>
                      </a:lnTo>
                      <a:lnTo>
                        <a:pt x="93" y="206"/>
                      </a:lnTo>
                      <a:lnTo>
                        <a:pt x="107" y="232"/>
                      </a:lnTo>
                      <a:lnTo>
                        <a:pt x="111" y="228"/>
                      </a:lnTo>
                      <a:lnTo>
                        <a:pt x="120" y="241"/>
                      </a:lnTo>
                      <a:lnTo>
                        <a:pt x="84" y="241"/>
                      </a:lnTo>
                      <a:lnTo>
                        <a:pt x="80" y="223"/>
                      </a:lnTo>
                      <a:lnTo>
                        <a:pt x="62" y="223"/>
                      </a:lnTo>
                      <a:lnTo>
                        <a:pt x="49" y="232"/>
                      </a:lnTo>
                      <a:lnTo>
                        <a:pt x="53" y="237"/>
                      </a:lnTo>
                      <a:lnTo>
                        <a:pt x="40" y="241"/>
                      </a:lnTo>
                      <a:lnTo>
                        <a:pt x="44" y="232"/>
                      </a:lnTo>
                      <a:lnTo>
                        <a:pt x="40" y="232"/>
                      </a:lnTo>
                      <a:lnTo>
                        <a:pt x="13" y="255"/>
                      </a:lnTo>
                      <a:lnTo>
                        <a:pt x="22" y="264"/>
                      </a:lnTo>
                      <a:lnTo>
                        <a:pt x="49" y="268"/>
                      </a:lnTo>
                      <a:lnTo>
                        <a:pt x="35" y="277"/>
                      </a:lnTo>
                      <a:lnTo>
                        <a:pt x="49" y="299"/>
                      </a:lnTo>
                      <a:lnTo>
                        <a:pt x="93" y="304"/>
                      </a:lnTo>
                      <a:lnTo>
                        <a:pt x="98" y="295"/>
                      </a:lnTo>
                      <a:lnTo>
                        <a:pt x="120" y="282"/>
                      </a:lnTo>
                      <a:lnTo>
                        <a:pt x="125" y="290"/>
                      </a:lnTo>
                      <a:lnTo>
                        <a:pt x="116" y="295"/>
                      </a:lnTo>
                      <a:lnTo>
                        <a:pt x="125" y="322"/>
                      </a:lnTo>
                      <a:lnTo>
                        <a:pt x="111" y="331"/>
                      </a:lnTo>
                      <a:lnTo>
                        <a:pt x="107" y="331"/>
                      </a:lnTo>
                      <a:lnTo>
                        <a:pt x="93" y="340"/>
                      </a:lnTo>
                      <a:lnTo>
                        <a:pt x="84" y="331"/>
                      </a:lnTo>
                      <a:lnTo>
                        <a:pt x="75" y="335"/>
                      </a:lnTo>
                      <a:lnTo>
                        <a:pt x="67" y="353"/>
                      </a:lnTo>
                      <a:lnTo>
                        <a:pt x="49" y="375"/>
                      </a:lnTo>
                      <a:lnTo>
                        <a:pt x="58" y="393"/>
                      </a:lnTo>
                      <a:lnTo>
                        <a:pt x="62" y="389"/>
                      </a:lnTo>
                      <a:lnTo>
                        <a:pt x="62" y="402"/>
                      </a:lnTo>
                      <a:lnTo>
                        <a:pt x="67" y="402"/>
                      </a:lnTo>
                      <a:lnTo>
                        <a:pt x="58" y="416"/>
                      </a:lnTo>
                      <a:lnTo>
                        <a:pt x="62" y="425"/>
                      </a:lnTo>
                      <a:lnTo>
                        <a:pt x="67" y="420"/>
                      </a:lnTo>
                      <a:lnTo>
                        <a:pt x="75" y="442"/>
                      </a:lnTo>
                      <a:lnTo>
                        <a:pt x="98" y="438"/>
                      </a:lnTo>
                      <a:lnTo>
                        <a:pt x="102" y="429"/>
                      </a:lnTo>
                      <a:lnTo>
                        <a:pt x="111" y="442"/>
                      </a:lnTo>
                      <a:lnTo>
                        <a:pt x="107" y="451"/>
                      </a:lnTo>
                      <a:lnTo>
                        <a:pt x="107" y="469"/>
                      </a:lnTo>
                      <a:lnTo>
                        <a:pt x="98" y="478"/>
                      </a:lnTo>
                      <a:lnTo>
                        <a:pt x="111" y="478"/>
                      </a:lnTo>
                      <a:lnTo>
                        <a:pt x="120" y="469"/>
                      </a:lnTo>
                      <a:lnTo>
                        <a:pt x="134" y="465"/>
                      </a:lnTo>
                      <a:lnTo>
                        <a:pt x="142" y="469"/>
                      </a:lnTo>
                      <a:lnTo>
                        <a:pt x="156" y="492"/>
                      </a:lnTo>
                      <a:lnTo>
                        <a:pt x="160" y="492"/>
                      </a:lnTo>
                      <a:lnTo>
                        <a:pt x="160" y="478"/>
                      </a:lnTo>
                      <a:lnTo>
                        <a:pt x="169" y="483"/>
                      </a:lnTo>
                      <a:lnTo>
                        <a:pt x="187" y="460"/>
                      </a:lnTo>
                      <a:lnTo>
                        <a:pt x="183" y="474"/>
                      </a:lnTo>
                      <a:lnTo>
                        <a:pt x="183" y="496"/>
                      </a:lnTo>
                      <a:lnTo>
                        <a:pt x="174" y="509"/>
                      </a:lnTo>
                      <a:lnTo>
                        <a:pt x="156" y="518"/>
                      </a:lnTo>
                      <a:lnTo>
                        <a:pt x="156" y="527"/>
                      </a:lnTo>
                      <a:lnTo>
                        <a:pt x="142" y="527"/>
                      </a:lnTo>
                      <a:lnTo>
                        <a:pt x="125" y="536"/>
                      </a:lnTo>
                      <a:lnTo>
                        <a:pt x="129" y="550"/>
                      </a:lnTo>
                      <a:lnTo>
                        <a:pt x="120" y="554"/>
                      </a:lnTo>
                      <a:lnTo>
                        <a:pt x="116" y="541"/>
                      </a:lnTo>
                      <a:lnTo>
                        <a:pt x="107" y="541"/>
                      </a:lnTo>
                      <a:lnTo>
                        <a:pt x="98" y="554"/>
                      </a:lnTo>
                      <a:lnTo>
                        <a:pt x="84" y="572"/>
                      </a:lnTo>
                      <a:lnTo>
                        <a:pt x="75" y="572"/>
                      </a:lnTo>
                      <a:lnTo>
                        <a:pt x="67" y="585"/>
                      </a:lnTo>
                      <a:lnTo>
                        <a:pt x="67" y="594"/>
                      </a:lnTo>
                      <a:lnTo>
                        <a:pt x="93" y="581"/>
                      </a:lnTo>
                      <a:lnTo>
                        <a:pt x="89" y="572"/>
                      </a:lnTo>
                      <a:lnTo>
                        <a:pt x="98" y="572"/>
                      </a:lnTo>
                      <a:lnTo>
                        <a:pt x="107" y="576"/>
                      </a:lnTo>
                      <a:lnTo>
                        <a:pt x="138" y="550"/>
                      </a:lnTo>
                      <a:lnTo>
                        <a:pt x="138" y="559"/>
                      </a:lnTo>
                      <a:lnTo>
                        <a:pt x="142" y="545"/>
                      </a:lnTo>
                      <a:lnTo>
                        <a:pt x="147" y="550"/>
                      </a:lnTo>
                      <a:lnTo>
                        <a:pt x="174" y="527"/>
                      </a:lnTo>
                      <a:lnTo>
                        <a:pt x="192" y="527"/>
                      </a:lnTo>
                      <a:lnTo>
                        <a:pt x="205" y="505"/>
                      </a:lnTo>
                      <a:lnTo>
                        <a:pt x="236" y="465"/>
                      </a:lnTo>
                      <a:lnTo>
                        <a:pt x="223" y="460"/>
                      </a:lnTo>
                      <a:lnTo>
                        <a:pt x="227" y="447"/>
                      </a:lnTo>
                      <a:lnTo>
                        <a:pt x="236" y="442"/>
                      </a:lnTo>
                      <a:lnTo>
                        <a:pt x="259" y="402"/>
                      </a:lnTo>
                      <a:lnTo>
                        <a:pt x="268" y="393"/>
                      </a:lnTo>
                      <a:lnTo>
                        <a:pt x="285" y="398"/>
                      </a:lnTo>
                      <a:lnTo>
                        <a:pt x="290" y="407"/>
                      </a:lnTo>
                      <a:lnTo>
                        <a:pt x="272" y="402"/>
                      </a:lnTo>
                      <a:lnTo>
                        <a:pt x="259" y="416"/>
                      </a:lnTo>
                      <a:lnTo>
                        <a:pt x="259" y="420"/>
                      </a:lnTo>
                      <a:lnTo>
                        <a:pt x="250" y="438"/>
                      </a:lnTo>
                      <a:lnTo>
                        <a:pt x="250" y="447"/>
                      </a:lnTo>
                      <a:lnTo>
                        <a:pt x="259" y="451"/>
                      </a:lnTo>
                      <a:lnTo>
                        <a:pt x="250" y="460"/>
                      </a:lnTo>
                      <a:lnTo>
                        <a:pt x="259" y="465"/>
                      </a:lnTo>
                      <a:lnTo>
                        <a:pt x="272" y="451"/>
                      </a:lnTo>
                      <a:lnTo>
                        <a:pt x="276" y="456"/>
                      </a:lnTo>
                      <a:lnTo>
                        <a:pt x="290" y="442"/>
                      </a:lnTo>
                      <a:lnTo>
                        <a:pt x="321" y="442"/>
                      </a:lnTo>
                      <a:lnTo>
                        <a:pt x="321" y="429"/>
                      </a:lnTo>
                      <a:lnTo>
                        <a:pt x="317" y="425"/>
                      </a:lnTo>
                      <a:lnTo>
                        <a:pt x="312" y="420"/>
                      </a:lnTo>
                      <a:lnTo>
                        <a:pt x="308" y="425"/>
                      </a:lnTo>
                      <a:lnTo>
                        <a:pt x="303" y="411"/>
                      </a:lnTo>
                      <a:lnTo>
                        <a:pt x="308" y="407"/>
                      </a:lnTo>
                      <a:lnTo>
                        <a:pt x="312" y="416"/>
                      </a:lnTo>
                      <a:lnTo>
                        <a:pt x="326" y="411"/>
                      </a:lnTo>
                      <a:lnTo>
                        <a:pt x="339" y="429"/>
                      </a:lnTo>
                      <a:lnTo>
                        <a:pt x="352" y="429"/>
                      </a:lnTo>
                      <a:lnTo>
                        <a:pt x="357" y="420"/>
                      </a:lnTo>
                      <a:lnTo>
                        <a:pt x="357" y="429"/>
                      </a:lnTo>
                      <a:lnTo>
                        <a:pt x="366" y="438"/>
                      </a:lnTo>
                      <a:lnTo>
                        <a:pt x="384" y="433"/>
                      </a:lnTo>
                      <a:lnTo>
                        <a:pt x="402" y="442"/>
                      </a:lnTo>
                      <a:lnTo>
                        <a:pt x="419" y="447"/>
                      </a:lnTo>
                      <a:lnTo>
                        <a:pt x="433" y="438"/>
                      </a:lnTo>
                      <a:lnTo>
                        <a:pt x="428" y="456"/>
                      </a:lnTo>
                      <a:lnTo>
                        <a:pt x="455" y="469"/>
                      </a:lnTo>
                      <a:lnTo>
                        <a:pt x="473" y="483"/>
                      </a:lnTo>
                      <a:lnTo>
                        <a:pt x="477" y="478"/>
                      </a:lnTo>
                      <a:lnTo>
                        <a:pt x="469" y="465"/>
                      </a:lnTo>
                      <a:lnTo>
                        <a:pt x="473" y="465"/>
                      </a:lnTo>
                      <a:lnTo>
                        <a:pt x="486" y="474"/>
                      </a:lnTo>
                      <a:lnTo>
                        <a:pt x="482" y="483"/>
                      </a:lnTo>
                      <a:lnTo>
                        <a:pt x="491" y="487"/>
                      </a:lnTo>
                      <a:lnTo>
                        <a:pt x="495" y="474"/>
                      </a:lnTo>
                      <a:lnTo>
                        <a:pt x="495" y="460"/>
                      </a:lnTo>
                      <a:lnTo>
                        <a:pt x="495" y="460"/>
                      </a:lnTo>
                      <a:lnTo>
                        <a:pt x="500" y="478"/>
                      </a:lnTo>
                      <a:lnTo>
                        <a:pt x="495" y="487"/>
                      </a:lnTo>
                      <a:lnTo>
                        <a:pt x="504" y="496"/>
                      </a:lnTo>
                      <a:lnTo>
                        <a:pt x="504" y="518"/>
                      </a:lnTo>
                      <a:lnTo>
                        <a:pt x="513" y="505"/>
                      </a:lnTo>
                      <a:lnTo>
                        <a:pt x="509" y="487"/>
                      </a:lnTo>
                      <a:lnTo>
                        <a:pt x="513" y="487"/>
                      </a:lnTo>
                      <a:lnTo>
                        <a:pt x="518" y="496"/>
                      </a:lnTo>
                      <a:lnTo>
                        <a:pt x="522" y="518"/>
                      </a:lnTo>
                      <a:lnTo>
                        <a:pt x="536" y="527"/>
                      </a:lnTo>
                      <a:lnTo>
                        <a:pt x="531" y="541"/>
                      </a:lnTo>
                      <a:lnTo>
                        <a:pt x="540" y="550"/>
                      </a:lnTo>
                      <a:lnTo>
                        <a:pt x="540" y="559"/>
                      </a:lnTo>
                      <a:lnTo>
                        <a:pt x="549" y="572"/>
                      </a:lnTo>
                      <a:lnTo>
                        <a:pt x="558" y="568"/>
                      </a:lnTo>
                      <a:lnTo>
                        <a:pt x="562" y="581"/>
                      </a:lnTo>
                      <a:lnTo>
                        <a:pt x="567" y="572"/>
                      </a:lnTo>
                      <a:lnTo>
                        <a:pt x="567" y="554"/>
                      </a:lnTo>
                      <a:lnTo>
                        <a:pt x="567" y="550"/>
                      </a:lnTo>
                      <a:lnTo>
                        <a:pt x="567" y="541"/>
                      </a:lnTo>
                      <a:lnTo>
                        <a:pt x="558" y="541"/>
                      </a:lnTo>
                      <a:lnTo>
                        <a:pt x="540" y="523"/>
                      </a:lnTo>
                      <a:lnTo>
                        <a:pt x="527" y="496"/>
                      </a:lnTo>
                      <a:lnTo>
                        <a:pt x="509" y="460"/>
                      </a:lnTo>
                      <a:lnTo>
                        <a:pt x="491" y="447"/>
                      </a:lnTo>
                      <a:lnTo>
                        <a:pt x="477" y="447"/>
                      </a:lnTo>
                      <a:lnTo>
                        <a:pt x="469" y="460"/>
                      </a:lnTo>
                      <a:lnTo>
                        <a:pt x="455" y="465"/>
                      </a:lnTo>
                      <a:lnTo>
                        <a:pt x="451" y="456"/>
                      </a:lnTo>
                      <a:lnTo>
                        <a:pt x="437" y="438"/>
                      </a:lnTo>
                      <a:lnTo>
                        <a:pt x="433" y="433"/>
                      </a:lnTo>
                      <a:lnTo>
                        <a:pt x="428" y="429"/>
                      </a:lnTo>
                      <a:lnTo>
                        <a:pt x="419" y="438"/>
                      </a:lnTo>
                      <a:lnTo>
                        <a:pt x="410" y="438"/>
                      </a:lnTo>
                      <a:lnTo>
                        <a:pt x="406" y="433"/>
                      </a:lnTo>
                      <a:lnTo>
                        <a:pt x="406" y="98"/>
                      </a:lnTo>
                      <a:lnTo>
                        <a:pt x="388" y="89"/>
                      </a:lnTo>
                      <a:lnTo>
                        <a:pt x="361" y="76"/>
                      </a:lnTo>
                      <a:lnTo>
                        <a:pt x="348" y="85"/>
                      </a:lnTo>
                      <a:lnTo>
                        <a:pt x="330" y="76"/>
                      </a:lnTo>
                      <a:lnTo>
                        <a:pt x="317" y="76"/>
                      </a:lnTo>
                      <a:lnTo>
                        <a:pt x="299" y="67"/>
                      </a:lnTo>
                      <a:lnTo>
                        <a:pt x="281" y="63"/>
                      </a:lnTo>
                      <a:lnTo>
                        <a:pt x="268" y="67"/>
                      </a:lnTo>
                      <a:lnTo>
                        <a:pt x="259" y="72"/>
                      </a:lnTo>
                      <a:lnTo>
                        <a:pt x="259" y="63"/>
                      </a:lnTo>
                      <a:lnTo>
                        <a:pt x="245" y="58"/>
                      </a:lnTo>
                      <a:lnTo>
                        <a:pt x="250" y="45"/>
                      </a:lnTo>
                      <a:lnTo>
                        <a:pt x="236" y="49"/>
                      </a:lnTo>
                      <a:lnTo>
                        <a:pt x="236" y="36"/>
                      </a:lnTo>
                      <a:lnTo>
                        <a:pt x="214" y="31"/>
                      </a:lnTo>
                      <a:lnTo>
                        <a:pt x="214" y="9"/>
                      </a:lnTo>
                      <a:lnTo>
                        <a:pt x="209" y="9"/>
                      </a:lnTo>
                      <a:lnTo>
                        <a:pt x="205" y="27"/>
                      </a:lnTo>
                      <a:lnTo>
                        <a:pt x="205" y="31"/>
                      </a:lnTo>
                      <a:lnTo>
                        <a:pt x="192" y="36"/>
                      </a:lnTo>
                      <a:lnTo>
                        <a:pt x="201" y="9"/>
                      </a:lnTo>
                      <a:lnTo>
                        <a:pt x="187" y="0"/>
                      </a:lnTo>
                      <a:lnTo>
                        <a:pt x="169" y="31"/>
                      </a:lnTo>
                      <a:lnTo>
                        <a:pt x="151" y="36"/>
                      </a:lnTo>
                      <a:lnTo>
                        <a:pt x="142" y="36"/>
                      </a:lnTo>
                      <a:lnTo>
                        <a:pt x="116" y="58"/>
                      </a:lnTo>
                      <a:lnTo>
                        <a:pt x="111" y="67"/>
                      </a:lnTo>
                      <a:lnTo>
                        <a:pt x="107" y="58"/>
                      </a:lnTo>
                      <a:lnTo>
                        <a:pt x="98" y="76"/>
                      </a:lnTo>
                      <a:lnTo>
                        <a:pt x="93" y="80"/>
                      </a:lnTo>
                      <a:lnTo>
                        <a:pt x="84" y="94"/>
                      </a:lnTo>
                      <a:lnTo>
                        <a:pt x="84" y="112"/>
                      </a:lnTo>
                      <a:lnTo>
                        <a:pt x="53" y="130"/>
                      </a:lnTo>
                      <a:lnTo>
                        <a:pt x="44" y="130"/>
                      </a:lnTo>
                      <a:lnTo>
                        <a:pt x="40" y="152"/>
                      </a:lnTo>
                      <a:lnTo>
                        <a:pt x="53" y="156"/>
                      </a:lnTo>
                      <a:lnTo>
                        <a:pt x="75" y="170"/>
                      </a:lnTo>
                      <a:lnTo>
                        <a:pt x="80" y="183"/>
                      </a:lnTo>
                      <a:lnTo>
                        <a:pt x="80" y="197"/>
                      </a:lnTo>
                      <a:lnTo>
                        <a:pt x="111" y="201"/>
                      </a:lnTo>
                      <a:lnTo>
                        <a:pt x="111" y="210"/>
                      </a:lnTo>
                      <a:lnTo>
                        <a:pt x="116" y="219"/>
                      </a:lnTo>
                      <a:lnTo>
                        <a:pt x="129" y="219"/>
                      </a:lnTo>
                      <a:lnTo>
                        <a:pt x="134" y="228"/>
                      </a:lnTo>
                      <a:lnTo>
                        <a:pt x="129" y="232"/>
                      </a:lnTo>
                      <a:close/>
                      <a:moveTo>
                        <a:pt x="138" y="1211"/>
                      </a:moveTo>
                      <a:lnTo>
                        <a:pt x="142" y="1216"/>
                      </a:lnTo>
                      <a:lnTo>
                        <a:pt x="147" y="1216"/>
                      </a:lnTo>
                      <a:lnTo>
                        <a:pt x="147" y="1207"/>
                      </a:lnTo>
                      <a:lnTo>
                        <a:pt x="138" y="1211"/>
                      </a:lnTo>
                      <a:close/>
                      <a:moveTo>
                        <a:pt x="165" y="1216"/>
                      </a:moveTo>
                      <a:lnTo>
                        <a:pt x="156" y="1220"/>
                      </a:lnTo>
                      <a:lnTo>
                        <a:pt x="160" y="1229"/>
                      </a:lnTo>
                      <a:lnTo>
                        <a:pt x="169" y="1229"/>
                      </a:lnTo>
                      <a:lnTo>
                        <a:pt x="169" y="1220"/>
                      </a:lnTo>
                      <a:lnTo>
                        <a:pt x="165" y="1216"/>
                      </a:lnTo>
                      <a:close/>
                      <a:moveTo>
                        <a:pt x="205" y="1256"/>
                      </a:moveTo>
                      <a:lnTo>
                        <a:pt x="209" y="1247"/>
                      </a:lnTo>
                      <a:lnTo>
                        <a:pt x="205" y="1242"/>
                      </a:lnTo>
                      <a:lnTo>
                        <a:pt x="196" y="1238"/>
                      </a:lnTo>
                      <a:lnTo>
                        <a:pt x="192" y="1242"/>
                      </a:lnTo>
                      <a:lnTo>
                        <a:pt x="201" y="1251"/>
                      </a:lnTo>
                      <a:lnTo>
                        <a:pt x="205" y="1256"/>
                      </a:lnTo>
                      <a:close/>
                      <a:moveTo>
                        <a:pt x="477" y="487"/>
                      </a:moveTo>
                      <a:lnTo>
                        <a:pt x="477" y="492"/>
                      </a:lnTo>
                      <a:lnTo>
                        <a:pt x="486" y="509"/>
                      </a:lnTo>
                      <a:lnTo>
                        <a:pt x="482" y="518"/>
                      </a:lnTo>
                      <a:lnTo>
                        <a:pt x="486" y="518"/>
                      </a:lnTo>
                      <a:lnTo>
                        <a:pt x="491" y="514"/>
                      </a:lnTo>
                      <a:lnTo>
                        <a:pt x="495" y="523"/>
                      </a:lnTo>
                      <a:lnTo>
                        <a:pt x="491" y="527"/>
                      </a:lnTo>
                      <a:lnTo>
                        <a:pt x="500" y="541"/>
                      </a:lnTo>
                      <a:lnTo>
                        <a:pt x="504" y="527"/>
                      </a:lnTo>
                      <a:lnTo>
                        <a:pt x="500" y="518"/>
                      </a:lnTo>
                      <a:lnTo>
                        <a:pt x="500" y="492"/>
                      </a:lnTo>
                      <a:lnTo>
                        <a:pt x="486" y="487"/>
                      </a:lnTo>
                      <a:lnTo>
                        <a:pt x="477" y="487"/>
                      </a:lnTo>
                      <a:close/>
                      <a:moveTo>
                        <a:pt x="504" y="545"/>
                      </a:moveTo>
                      <a:lnTo>
                        <a:pt x="509" y="541"/>
                      </a:lnTo>
                      <a:lnTo>
                        <a:pt x="513" y="523"/>
                      </a:lnTo>
                      <a:lnTo>
                        <a:pt x="518" y="532"/>
                      </a:lnTo>
                      <a:lnTo>
                        <a:pt x="527" y="532"/>
                      </a:lnTo>
                      <a:lnTo>
                        <a:pt x="531" y="527"/>
                      </a:lnTo>
                      <a:lnTo>
                        <a:pt x="513" y="514"/>
                      </a:lnTo>
                      <a:lnTo>
                        <a:pt x="509" y="523"/>
                      </a:lnTo>
                      <a:lnTo>
                        <a:pt x="509" y="532"/>
                      </a:lnTo>
                      <a:lnTo>
                        <a:pt x="504" y="545"/>
                      </a:lnTo>
                      <a:close/>
                      <a:moveTo>
                        <a:pt x="540" y="572"/>
                      </a:moveTo>
                      <a:lnTo>
                        <a:pt x="536" y="563"/>
                      </a:lnTo>
                      <a:lnTo>
                        <a:pt x="536" y="559"/>
                      </a:lnTo>
                      <a:lnTo>
                        <a:pt x="522" y="541"/>
                      </a:lnTo>
                      <a:lnTo>
                        <a:pt x="518" y="536"/>
                      </a:lnTo>
                      <a:lnTo>
                        <a:pt x="513" y="550"/>
                      </a:lnTo>
                      <a:lnTo>
                        <a:pt x="518" y="550"/>
                      </a:lnTo>
                      <a:lnTo>
                        <a:pt x="527" y="568"/>
                      </a:lnTo>
                      <a:lnTo>
                        <a:pt x="522" y="568"/>
                      </a:lnTo>
                      <a:lnTo>
                        <a:pt x="527" y="581"/>
                      </a:lnTo>
                      <a:lnTo>
                        <a:pt x="531" y="572"/>
                      </a:lnTo>
                      <a:lnTo>
                        <a:pt x="540" y="581"/>
                      </a:lnTo>
                      <a:lnTo>
                        <a:pt x="540" y="572"/>
                      </a:lnTo>
                      <a:close/>
                      <a:moveTo>
                        <a:pt x="674" y="719"/>
                      </a:moveTo>
                      <a:lnTo>
                        <a:pt x="670" y="724"/>
                      </a:lnTo>
                      <a:lnTo>
                        <a:pt x="674" y="733"/>
                      </a:lnTo>
                      <a:lnTo>
                        <a:pt x="656" y="728"/>
                      </a:lnTo>
                      <a:lnTo>
                        <a:pt x="647" y="728"/>
                      </a:lnTo>
                      <a:lnTo>
                        <a:pt x="647" y="737"/>
                      </a:lnTo>
                      <a:lnTo>
                        <a:pt x="652" y="742"/>
                      </a:lnTo>
                      <a:lnTo>
                        <a:pt x="652" y="773"/>
                      </a:lnTo>
                      <a:lnTo>
                        <a:pt x="665" y="778"/>
                      </a:lnTo>
                      <a:lnTo>
                        <a:pt x="656" y="782"/>
                      </a:lnTo>
                      <a:lnTo>
                        <a:pt x="656" y="791"/>
                      </a:lnTo>
                      <a:lnTo>
                        <a:pt x="656" y="818"/>
                      </a:lnTo>
                      <a:lnTo>
                        <a:pt x="652" y="831"/>
                      </a:lnTo>
                      <a:lnTo>
                        <a:pt x="647" y="836"/>
                      </a:lnTo>
                      <a:lnTo>
                        <a:pt x="652" y="885"/>
                      </a:lnTo>
                      <a:lnTo>
                        <a:pt x="647" y="885"/>
                      </a:lnTo>
                      <a:lnTo>
                        <a:pt x="652" y="894"/>
                      </a:lnTo>
                      <a:lnTo>
                        <a:pt x="656" y="903"/>
                      </a:lnTo>
                      <a:lnTo>
                        <a:pt x="656" y="921"/>
                      </a:lnTo>
                      <a:lnTo>
                        <a:pt x="670" y="934"/>
                      </a:lnTo>
                      <a:lnTo>
                        <a:pt x="670" y="938"/>
                      </a:lnTo>
                      <a:lnTo>
                        <a:pt x="674" y="943"/>
                      </a:lnTo>
                      <a:lnTo>
                        <a:pt x="683" y="934"/>
                      </a:lnTo>
                      <a:lnTo>
                        <a:pt x="683" y="938"/>
                      </a:lnTo>
                      <a:lnTo>
                        <a:pt x="679" y="947"/>
                      </a:lnTo>
                      <a:lnTo>
                        <a:pt x="679" y="965"/>
                      </a:lnTo>
                      <a:lnTo>
                        <a:pt x="687" y="974"/>
                      </a:lnTo>
                      <a:lnTo>
                        <a:pt x="701" y="988"/>
                      </a:lnTo>
                      <a:lnTo>
                        <a:pt x="701" y="992"/>
                      </a:lnTo>
                      <a:lnTo>
                        <a:pt x="705" y="992"/>
                      </a:lnTo>
                      <a:lnTo>
                        <a:pt x="705" y="1005"/>
                      </a:lnTo>
                      <a:lnTo>
                        <a:pt x="719" y="1005"/>
                      </a:lnTo>
                      <a:lnTo>
                        <a:pt x="732" y="1014"/>
                      </a:lnTo>
                      <a:lnTo>
                        <a:pt x="746" y="1023"/>
                      </a:lnTo>
                      <a:lnTo>
                        <a:pt x="750" y="1041"/>
                      </a:lnTo>
                      <a:lnTo>
                        <a:pt x="786" y="1037"/>
                      </a:lnTo>
                      <a:lnTo>
                        <a:pt x="839" y="1064"/>
                      </a:lnTo>
                      <a:lnTo>
                        <a:pt x="884" y="1064"/>
                      </a:lnTo>
                      <a:lnTo>
                        <a:pt x="880" y="1055"/>
                      </a:lnTo>
                      <a:lnTo>
                        <a:pt x="906" y="1055"/>
                      </a:lnTo>
                      <a:lnTo>
                        <a:pt x="929" y="1068"/>
                      </a:lnTo>
                      <a:lnTo>
                        <a:pt x="933" y="1090"/>
                      </a:lnTo>
                      <a:lnTo>
                        <a:pt x="951" y="1104"/>
                      </a:lnTo>
                      <a:lnTo>
                        <a:pt x="964" y="1086"/>
                      </a:lnTo>
                      <a:lnTo>
                        <a:pt x="978" y="1090"/>
                      </a:lnTo>
                      <a:lnTo>
                        <a:pt x="1005" y="1122"/>
                      </a:lnTo>
                      <a:lnTo>
                        <a:pt x="1014" y="1140"/>
                      </a:lnTo>
                      <a:lnTo>
                        <a:pt x="1036" y="1148"/>
                      </a:lnTo>
                      <a:lnTo>
                        <a:pt x="1045" y="1144"/>
                      </a:lnTo>
                      <a:lnTo>
                        <a:pt x="1040" y="1126"/>
                      </a:lnTo>
                      <a:lnTo>
                        <a:pt x="1049" y="1113"/>
                      </a:lnTo>
                      <a:lnTo>
                        <a:pt x="1094" y="1086"/>
                      </a:lnTo>
                      <a:lnTo>
                        <a:pt x="1125" y="1095"/>
                      </a:lnTo>
                      <a:lnTo>
                        <a:pt x="1139" y="1099"/>
                      </a:lnTo>
                      <a:lnTo>
                        <a:pt x="1143" y="1095"/>
                      </a:lnTo>
                      <a:lnTo>
                        <a:pt x="1152" y="1099"/>
                      </a:lnTo>
                      <a:lnTo>
                        <a:pt x="1156" y="1095"/>
                      </a:lnTo>
                      <a:lnTo>
                        <a:pt x="1148" y="1090"/>
                      </a:lnTo>
                      <a:lnTo>
                        <a:pt x="1152" y="1086"/>
                      </a:lnTo>
                      <a:lnTo>
                        <a:pt x="1148" y="1077"/>
                      </a:lnTo>
                      <a:lnTo>
                        <a:pt x="1139" y="1081"/>
                      </a:lnTo>
                      <a:lnTo>
                        <a:pt x="1139" y="1073"/>
                      </a:lnTo>
                      <a:lnTo>
                        <a:pt x="1170" y="1077"/>
                      </a:lnTo>
                      <a:lnTo>
                        <a:pt x="1179" y="1077"/>
                      </a:lnTo>
                      <a:lnTo>
                        <a:pt x="1183" y="1077"/>
                      </a:lnTo>
                      <a:lnTo>
                        <a:pt x="1192" y="1073"/>
                      </a:lnTo>
                      <a:lnTo>
                        <a:pt x="1201" y="1077"/>
                      </a:lnTo>
                      <a:lnTo>
                        <a:pt x="1210" y="1090"/>
                      </a:lnTo>
                      <a:lnTo>
                        <a:pt x="1228" y="1077"/>
                      </a:lnTo>
                      <a:lnTo>
                        <a:pt x="1246" y="1104"/>
                      </a:lnTo>
                      <a:lnTo>
                        <a:pt x="1237" y="1117"/>
                      </a:lnTo>
                      <a:lnTo>
                        <a:pt x="1246" y="1117"/>
                      </a:lnTo>
                      <a:lnTo>
                        <a:pt x="1246" y="1122"/>
                      </a:lnTo>
                      <a:lnTo>
                        <a:pt x="1259" y="1148"/>
                      </a:lnTo>
                      <a:lnTo>
                        <a:pt x="1264" y="1148"/>
                      </a:lnTo>
                      <a:lnTo>
                        <a:pt x="1268" y="1157"/>
                      </a:lnTo>
                      <a:lnTo>
                        <a:pt x="1268" y="1162"/>
                      </a:lnTo>
                      <a:lnTo>
                        <a:pt x="1282" y="1157"/>
                      </a:lnTo>
                      <a:lnTo>
                        <a:pt x="1286" y="1135"/>
                      </a:lnTo>
                      <a:lnTo>
                        <a:pt x="1277" y="1122"/>
                      </a:lnTo>
                      <a:lnTo>
                        <a:pt x="1277" y="1108"/>
                      </a:lnTo>
                      <a:lnTo>
                        <a:pt x="1268" y="1095"/>
                      </a:lnTo>
                      <a:lnTo>
                        <a:pt x="1268" y="1081"/>
                      </a:lnTo>
                      <a:lnTo>
                        <a:pt x="1264" y="1068"/>
                      </a:lnTo>
                      <a:lnTo>
                        <a:pt x="1273" y="1046"/>
                      </a:lnTo>
                      <a:lnTo>
                        <a:pt x="1277" y="1046"/>
                      </a:lnTo>
                      <a:lnTo>
                        <a:pt x="1295" y="1028"/>
                      </a:lnTo>
                      <a:lnTo>
                        <a:pt x="1304" y="1014"/>
                      </a:lnTo>
                      <a:lnTo>
                        <a:pt x="1317" y="1010"/>
                      </a:lnTo>
                      <a:lnTo>
                        <a:pt x="1322" y="1001"/>
                      </a:lnTo>
                      <a:lnTo>
                        <a:pt x="1326" y="1005"/>
                      </a:lnTo>
                      <a:lnTo>
                        <a:pt x="1331" y="997"/>
                      </a:lnTo>
                      <a:lnTo>
                        <a:pt x="1335" y="997"/>
                      </a:lnTo>
                      <a:lnTo>
                        <a:pt x="1344" y="992"/>
                      </a:lnTo>
                      <a:lnTo>
                        <a:pt x="1331" y="992"/>
                      </a:lnTo>
                      <a:lnTo>
                        <a:pt x="1335" y="983"/>
                      </a:lnTo>
                      <a:lnTo>
                        <a:pt x="1344" y="983"/>
                      </a:lnTo>
                      <a:lnTo>
                        <a:pt x="1344" y="974"/>
                      </a:lnTo>
                      <a:lnTo>
                        <a:pt x="1335" y="970"/>
                      </a:lnTo>
                      <a:lnTo>
                        <a:pt x="1335" y="970"/>
                      </a:lnTo>
                      <a:lnTo>
                        <a:pt x="1349" y="970"/>
                      </a:lnTo>
                      <a:lnTo>
                        <a:pt x="1340" y="956"/>
                      </a:lnTo>
                      <a:lnTo>
                        <a:pt x="1335" y="956"/>
                      </a:lnTo>
                      <a:lnTo>
                        <a:pt x="1335" y="947"/>
                      </a:lnTo>
                      <a:lnTo>
                        <a:pt x="1335" y="938"/>
                      </a:lnTo>
                      <a:lnTo>
                        <a:pt x="1335" y="912"/>
                      </a:lnTo>
                      <a:lnTo>
                        <a:pt x="1340" y="907"/>
                      </a:lnTo>
                      <a:lnTo>
                        <a:pt x="1340" y="934"/>
                      </a:lnTo>
                      <a:lnTo>
                        <a:pt x="1344" y="938"/>
                      </a:lnTo>
                      <a:lnTo>
                        <a:pt x="1344" y="952"/>
                      </a:lnTo>
                      <a:lnTo>
                        <a:pt x="1344" y="956"/>
                      </a:lnTo>
                      <a:lnTo>
                        <a:pt x="1349" y="943"/>
                      </a:lnTo>
                      <a:lnTo>
                        <a:pt x="1353" y="943"/>
                      </a:lnTo>
                      <a:lnTo>
                        <a:pt x="1357" y="934"/>
                      </a:lnTo>
                      <a:lnTo>
                        <a:pt x="1353" y="930"/>
                      </a:lnTo>
                      <a:lnTo>
                        <a:pt x="1353" y="921"/>
                      </a:lnTo>
                      <a:lnTo>
                        <a:pt x="1353" y="916"/>
                      </a:lnTo>
                      <a:lnTo>
                        <a:pt x="1357" y="916"/>
                      </a:lnTo>
                      <a:lnTo>
                        <a:pt x="1357" y="925"/>
                      </a:lnTo>
                      <a:lnTo>
                        <a:pt x="1366" y="912"/>
                      </a:lnTo>
                      <a:lnTo>
                        <a:pt x="1375" y="912"/>
                      </a:lnTo>
                      <a:lnTo>
                        <a:pt x="1375" y="889"/>
                      </a:lnTo>
                      <a:lnTo>
                        <a:pt x="1371" y="889"/>
                      </a:lnTo>
                      <a:lnTo>
                        <a:pt x="1371" y="885"/>
                      </a:lnTo>
                      <a:lnTo>
                        <a:pt x="1402" y="871"/>
                      </a:lnTo>
                      <a:lnTo>
                        <a:pt x="1411" y="871"/>
                      </a:lnTo>
                      <a:lnTo>
                        <a:pt x="1420" y="867"/>
                      </a:lnTo>
                      <a:lnTo>
                        <a:pt x="1429" y="867"/>
                      </a:lnTo>
                      <a:lnTo>
                        <a:pt x="1433" y="862"/>
                      </a:lnTo>
                      <a:lnTo>
                        <a:pt x="1429" y="854"/>
                      </a:lnTo>
                      <a:lnTo>
                        <a:pt x="1424" y="854"/>
                      </a:lnTo>
                      <a:lnTo>
                        <a:pt x="1424" y="858"/>
                      </a:lnTo>
                      <a:lnTo>
                        <a:pt x="1420" y="858"/>
                      </a:lnTo>
                      <a:lnTo>
                        <a:pt x="1420" y="849"/>
                      </a:lnTo>
                      <a:lnTo>
                        <a:pt x="1424" y="831"/>
                      </a:lnTo>
                      <a:lnTo>
                        <a:pt x="1429" y="822"/>
                      </a:lnTo>
                      <a:lnTo>
                        <a:pt x="1442" y="822"/>
                      </a:lnTo>
                      <a:lnTo>
                        <a:pt x="1447" y="813"/>
                      </a:lnTo>
                      <a:lnTo>
                        <a:pt x="1456" y="822"/>
                      </a:lnTo>
                      <a:lnTo>
                        <a:pt x="1474" y="809"/>
                      </a:lnTo>
                      <a:lnTo>
                        <a:pt x="1474" y="800"/>
                      </a:lnTo>
                      <a:lnTo>
                        <a:pt x="1469" y="800"/>
                      </a:lnTo>
                      <a:lnTo>
                        <a:pt x="1469" y="795"/>
                      </a:lnTo>
                      <a:lnTo>
                        <a:pt x="1460" y="791"/>
                      </a:lnTo>
                      <a:lnTo>
                        <a:pt x="1451" y="751"/>
                      </a:lnTo>
                      <a:lnTo>
                        <a:pt x="1442" y="755"/>
                      </a:lnTo>
                      <a:lnTo>
                        <a:pt x="1438" y="751"/>
                      </a:lnTo>
                      <a:lnTo>
                        <a:pt x="1420" y="778"/>
                      </a:lnTo>
                      <a:lnTo>
                        <a:pt x="1407" y="800"/>
                      </a:lnTo>
                      <a:lnTo>
                        <a:pt x="1362" y="804"/>
                      </a:lnTo>
                      <a:lnTo>
                        <a:pt x="1357" y="804"/>
                      </a:lnTo>
                      <a:lnTo>
                        <a:pt x="1340" y="818"/>
                      </a:lnTo>
                      <a:lnTo>
                        <a:pt x="1344" y="822"/>
                      </a:lnTo>
                      <a:lnTo>
                        <a:pt x="1340" y="831"/>
                      </a:lnTo>
                      <a:lnTo>
                        <a:pt x="1326" y="836"/>
                      </a:lnTo>
                      <a:lnTo>
                        <a:pt x="1304" y="831"/>
                      </a:lnTo>
                      <a:lnTo>
                        <a:pt x="1304" y="836"/>
                      </a:lnTo>
                      <a:lnTo>
                        <a:pt x="1299" y="845"/>
                      </a:lnTo>
                      <a:lnTo>
                        <a:pt x="1304" y="845"/>
                      </a:lnTo>
                      <a:lnTo>
                        <a:pt x="1299" y="849"/>
                      </a:lnTo>
                      <a:lnTo>
                        <a:pt x="1282" y="858"/>
                      </a:lnTo>
                      <a:lnTo>
                        <a:pt x="1268" y="867"/>
                      </a:lnTo>
                      <a:lnTo>
                        <a:pt x="1250" y="871"/>
                      </a:lnTo>
                      <a:lnTo>
                        <a:pt x="1237" y="862"/>
                      </a:lnTo>
                      <a:lnTo>
                        <a:pt x="1241" y="854"/>
                      </a:lnTo>
                      <a:lnTo>
                        <a:pt x="1241" y="845"/>
                      </a:lnTo>
                      <a:lnTo>
                        <a:pt x="1246" y="845"/>
                      </a:lnTo>
                      <a:lnTo>
                        <a:pt x="1246" y="831"/>
                      </a:lnTo>
                      <a:lnTo>
                        <a:pt x="1246" y="818"/>
                      </a:lnTo>
                      <a:lnTo>
                        <a:pt x="1237" y="818"/>
                      </a:lnTo>
                      <a:lnTo>
                        <a:pt x="1232" y="822"/>
                      </a:lnTo>
                      <a:lnTo>
                        <a:pt x="1232" y="818"/>
                      </a:lnTo>
                      <a:lnTo>
                        <a:pt x="1237" y="809"/>
                      </a:lnTo>
                      <a:lnTo>
                        <a:pt x="1241" y="795"/>
                      </a:lnTo>
                      <a:lnTo>
                        <a:pt x="1232" y="791"/>
                      </a:lnTo>
                      <a:lnTo>
                        <a:pt x="1219" y="787"/>
                      </a:lnTo>
                      <a:lnTo>
                        <a:pt x="1215" y="787"/>
                      </a:lnTo>
                      <a:lnTo>
                        <a:pt x="1206" y="800"/>
                      </a:lnTo>
                      <a:lnTo>
                        <a:pt x="1201" y="800"/>
                      </a:lnTo>
                      <a:lnTo>
                        <a:pt x="1197" y="804"/>
                      </a:lnTo>
                      <a:lnTo>
                        <a:pt x="1192" y="827"/>
                      </a:lnTo>
                      <a:lnTo>
                        <a:pt x="1192" y="849"/>
                      </a:lnTo>
                      <a:lnTo>
                        <a:pt x="1183" y="862"/>
                      </a:lnTo>
                      <a:lnTo>
                        <a:pt x="1174" y="854"/>
                      </a:lnTo>
                      <a:lnTo>
                        <a:pt x="1174" y="840"/>
                      </a:lnTo>
                      <a:lnTo>
                        <a:pt x="1179" y="809"/>
                      </a:lnTo>
                      <a:lnTo>
                        <a:pt x="1188" y="795"/>
                      </a:lnTo>
                      <a:lnTo>
                        <a:pt x="1170" y="804"/>
                      </a:lnTo>
                      <a:lnTo>
                        <a:pt x="1188" y="787"/>
                      </a:lnTo>
                      <a:lnTo>
                        <a:pt x="1223" y="778"/>
                      </a:lnTo>
                      <a:lnTo>
                        <a:pt x="1219" y="769"/>
                      </a:lnTo>
                      <a:lnTo>
                        <a:pt x="1215" y="764"/>
                      </a:lnTo>
                      <a:lnTo>
                        <a:pt x="1215" y="760"/>
                      </a:lnTo>
                      <a:lnTo>
                        <a:pt x="1197" y="764"/>
                      </a:lnTo>
                      <a:lnTo>
                        <a:pt x="1188" y="769"/>
                      </a:lnTo>
                      <a:lnTo>
                        <a:pt x="1170" y="755"/>
                      </a:lnTo>
                      <a:lnTo>
                        <a:pt x="1161" y="755"/>
                      </a:lnTo>
                      <a:lnTo>
                        <a:pt x="1170" y="746"/>
                      </a:lnTo>
                      <a:lnTo>
                        <a:pt x="1134" y="760"/>
                      </a:lnTo>
                      <a:lnTo>
                        <a:pt x="1125" y="760"/>
                      </a:lnTo>
                      <a:lnTo>
                        <a:pt x="1112" y="760"/>
                      </a:lnTo>
                      <a:lnTo>
                        <a:pt x="1125" y="751"/>
                      </a:lnTo>
                      <a:lnTo>
                        <a:pt x="1139" y="737"/>
                      </a:lnTo>
                      <a:lnTo>
                        <a:pt x="1130" y="733"/>
                      </a:lnTo>
                      <a:lnTo>
                        <a:pt x="1116" y="737"/>
                      </a:lnTo>
                      <a:lnTo>
                        <a:pt x="1107" y="728"/>
                      </a:lnTo>
                      <a:lnTo>
                        <a:pt x="1098" y="724"/>
                      </a:lnTo>
                      <a:lnTo>
                        <a:pt x="1076" y="724"/>
                      </a:lnTo>
                      <a:lnTo>
                        <a:pt x="1072" y="715"/>
                      </a:lnTo>
                      <a:lnTo>
                        <a:pt x="1063" y="719"/>
                      </a:lnTo>
                      <a:lnTo>
                        <a:pt x="674" y="719"/>
                      </a:lnTo>
                      <a:close/>
                      <a:moveTo>
                        <a:pt x="1375" y="885"/>
                      </a:moveTo>
                      <a:lnTo>
                        <a:pt x="1380" y="889"/>
                      </a:lnTo>
                      <a:lnTo>
                        <a:pt x="1389" y="885"/>
                      </a:lnTo>
                      <a:lnTo>
                        <a:pt x="1402" y="876"/>
                      </a:lnTo>
                      <a:lnTo>
                        <a:pt x="1402" y="876"/>
                      </a:lnTo>
                      <a:lnTo>
                        <a:pt x="1384" y="880"/>
                      </a:lnTo>
                      <a:lnTo>
                        <a:pt x="1375" y="88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03" name="Freeform 101"/>
                <p:cNvSpPr>
                  <a:spLocks noEditPoints="1"/>
                </p:cNvSpPr>
                <p:nvPr/>
              </p:nvSpPr>
              <p:spPr bwMode="gray">
                <a:xfrm>
                  <a:off x="1753" y="2507"/>
                  <a:ext cx="14" cy="13"/>
                </a:xfrm>
                <a:custGeom>
                  <a:avLst/>
                  <a:gdLst>
                    <a:gd name="T0" fmla="*/ 5 w 14"/>
                    <a:gd name="T1" fmla="*/ 4 h 13"/>
                    <a:gd name="T2" fmla="*/ 9 w 14"/>
                    <a:gd name="T3" fmla="*/ 4 h 13"/>
                    <a:gd name="T4" fmla="*/ 5 w 14"/>
                    <a:gd name="T5" fmla="*/ 0 h 13"/>
                    <a:gd name="T6" fmla="*/ 5 w 14"/>
                    <a:gd name="T7" fmla="*/ 0 h 13"/>
                    <a:gd name="T8" fmla="*/ 5 w 14"/>
                    <a:gd name="T9" fmla="*/ 4 h 13"/>
                    <a:gd name="T10" fmla="*/ 5 w 14"/>
                    <a:gd name="T11" fmla="*/ 13 h 13"/>
                    <a:gd name="T12" fmla="*/ 9 w 14"/>
                    <a:gd name="T13" fmla="*/ 9 h 13"/>
                    <a:gd name="T14" fmla="*/ 0 w 14"/>
                    <a:gd name="T15" fmla="*/ 13 h 13"/>
                    <a:gd name="T16" fmla="*/ 0 w 14"/>
                    <a:gd name="T17" fmla="*/ 13 h 13"/>
                    <a:gd name="T18" fmla="*/ 5 w 14"/>
                    <a:gd name="T19" fmla="*/ 13 h 13"/>
                    <a:gd name="T20" fmla="*/ 9 w 14"/>
                    <a:gd name="T21" fmla="*/ 0 h 13"/>
                    <a:gd name="T22" fmla="*/ 9 w 14"/>
                    <a:gd name="T23" fmla="*/ 0 h 13"/>
                    <a:gd name="T24" fmla="*/ 9 w 14"/>
                    <a:gd name="T25" fmla="*/ 0 h 13"/>
                    <a:gd name="T26" fmla="*/ 14 w 14"/>
                    <a:gd name="T27" fmla="*/ 0 h 13"/>
                    <a:gd name="T28" fmla="*/ 9 w 14"/>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3">
                      <a:moveTo>
                        <a:pt x="5" y="4"/>
                      </a:moveTo>
                      <a:lnTo>
                        <a:pt x="9" y="4"/>
                      </a:lnTo>
                      <a:lnTo>
                        <a:pt x="5" y="0"/>
                      </a:lnTo>
                      <a:lnTo>
                        <a:pt x="5" y="0"/>
                      </a:lnTo>
                      <a:lnTo>
                        <a:pt x="5" y="4"/>
                      </a:lnTo>
                      <a:close/>
                      <a:moveTo>
                        <a:pt x="5" y="13"/>
                      </a:moveTo>
                      <a:lnTo>
                        <a:pt x="9" y="9"/>
                      </a:lnTo>
                      <a:lnTo>
                        <a:pt x="0" y="13"/>
                      </a:lnTo>
                      <a:lnTo>
                        <a:pt x="0" y="13"/>
                      </a:lnTo>
                      <a:lnTo>
                        <a:pt x="5" y="13"/>
                      </a:lnTo>
                      <a:close/>
                      <a:moveTo>
                        <a:pt x="9" y="0"/>
                      </a:moveTo>
                      <a:lnTo>
                        <a:pt x="9" y="0"/>
                      </a:lnTo>
                      <a:lnTo>
                        <a:pt x="9" y="0"/>
                      </a:lnTo>
                      <a:lnTo>
                        <a:pt x="14" y="0"/>
                      </a:lnTo>
                      <a:lnTo>
                        <a:pt x="9"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04" name="Freeform 102"/>
                <p:cNvSpPr>
                  <a:spLocks/>
                </p:cNvSpPr>
                <p:nvPr/>
              </p:nvSpPr>
              <p:spPr bwMode="gray">
                <a:xfrm>
                  <a:off x="1852" y="3244"/>
                  <a:ext cx="71" cy="85"/>
                </a:xfrm>
                <a:custGeom>
                  <a:avLst/>
                  <a:gdLst>
                    <a:gd name="T0" fmla="*/ 0 w 71"/>
                    <a:gd name="T1" fmla="*/ 54 h 85"/>
                    <a:gd name="T2" fmla="*/ 4 w 71"/>
                    <a:gd name="T3" fmla="*/ 49 h 85"/>
                    <a:gd name="T4" fmla="*/ 0 w 71"/>
                    <a:gd name="T5" fmla="*/ 31 h 85"/>
                    <a:gd name="T6" fmla="*/ 9 w 71"/>
                    <a:gd name="T7" fmla="*/ 4 h 85"/>
                    <a:gd name="T8" fmla="*/ 13 w 71"/>
                    <a:gd name="T9" fmla="*/ 0 h 85"/>
                    <a:gd name="T10" fmla="*/ 22 w 71"/>
                    <a:gd name="T11" fmla="*/ 0 h 85"/>
                    <a:gd name="T12" fmla="*/ 31 w 71"/>
                    <a:gd name="T13" fmla="*/ 13 h 85"/>
                    <a:gd name="T14" fmla="*/ 40 w 71"/>
                    <a:gd name="T15" fmla="*/ 9 h 85"/>
                    <a:gd name="T16" fmla="*/ 49 w 71"/>
                    <a:gd name="T17" fmla="*/ 22 h 85"/>
                    <a:gd name="T18" fmla="*/ 62 w 71"/>
                    <a:gd name="T19" fmla="*/ 27 h 85"/>
                    <a:gd name="T20" fmla="*/ 71 w 71"/>
                    <a:gd name="T21" fmla="*/ 45 h 85"/>
                    <a:gd name="T22" fmla="*/ 67 w 71"/>
                    <a:gd name="T23" fmla="*/ 54 h 85"/>
                    <a:gd name="T24" fmla="*/ 67 w 71"/>
                    <a:gd name="T25" fmla="*/ 67 h 85"/>
                    <a:gd name="T26" fmla="*/ 49 w 71"/>
                    <a:gd name="T27" fmla="*/ 85 h 85"/>
                    <a:gd name="T28" fmla="*/ 31 w 71"/>
                    <a:gd name="T29" fmla="*/ 85 h 85"/>
                    <a:gd name="T30" fmla="*/ 13 w 71"/>
                    <a:gd name="T31" fmla="*/ 80 h 85"/>
                    <a:gd name="T32" fmla="*/ 4 w 71"/>
                    <a:gd name="T33" fmla="*/ 80 h 85"/>
                    <a:gd name="T34" fmla="*/ 0 w 71"/>
                    <a:gd name="T35" fmla="*/ 67 h 85"/>
                    <a:gd name="T36" fmla="*/ 0 w 71"/>
                    <a:gd name="T37" fmla="*/ 5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85">
                      <a:moveTo>
                        <a:pt x="0" y="54"/>
                      </a:moveTo>
                      <a:lnTo>
                        <a:pt x="4" y="49"/>
                      </a:lnTo>
                      <a:lnTo>
                        <a:pt x="0" y="31"/>
                      </a:lnTo>
                      <a:lnTo>
                        <a:pt x="9" y="4"/>
                      </a:lnTo>
                      <a:lnTo>
                        <a:pt x="13" y="0"/>
                      </a:lnTo>
                      <a:lnTo>
                        <a:pt x="22" y="0"/>
                      </a:lnTo>
                      <a:lnTo>
                        <a:pt x="31" y="13"/>
                      </a:lnTo>
                      <a:lnTo>
                        <a:pt x="40" y="9"/>
                      </a:lnTo>
                      <a:lnTo>
                        <a:pt x="49" y="22"/>
                      </a:lnTo>
                      <a:lnTo>
                        <a:pt x="62" y="27"/>
                      </a:lnTo>
                      <a:lnTo>
                        <a:pt x="71" y="45"/>
                      </a:lnTo>
                      <a:lnTo>
                        <a:pt x="67" y="54"/>
                      </a:lnTo>
                      <a:lnTo>
                        <a:pt x="67" y="67"/>
                      </a:lnTo>
                      <a:lnTo>
                        <a:pt x="49" y="85"/>
                      </a:lnTo>
                      <a:lnTo>
                        <a:pt x="31" y="85"/>
                      </a:lnTo>
                      <a:lnTo>
                        <a:pt x="13" y="80"/>
                      </a:lnTo>
                      <a:lnTo>
                        <a:pt x="4" y="80"/>
                      </a:lnTo>
                      <a:lnTo>
                        <a:pt x="0" y="67"/>
                      </a:lnTo>
                      <a:lnTo>
                        <a:pt x="0" y="5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505" name="Freeform 103"/>
                <p:cNvSpPr>
                  <a:spLocks/>
                </p:cNvSpPr>
                <p:nvPr/>
              </p:nvSpPr>
              <p:spPr bwMode="gray">
                <a:xfrm>
                  <a:off x="1633" y="2601"/>
                  <a:ext cx="196" cy="165"/>
                </a:xfrm>
                <a:custGeom>
                  <a:avLst/>
                  <a:gdLst>
                    <a:gd name="T0" fmla="*/ 89 w 196"/>
                    <a:gd name="T1" fmla="*/ 138 h 165"/>
                    <a:gd name="T2" fmla="*/ 85 w 196"/>
                    <a:gd name="T3" fmla="*/ 129 h 165"/>
                    <a:gd name="T4" fmla="*/ 80 w 196"/>
                    <a:gd name="T5" fmla="*/ 107 h 165"/>
                    <a:gd name="T6" fmla="*/ 58 w 196"/>
                    <a:gd name="T7" fmla="*/ 89 h 165"/>
                    <a:gd name="T8" fmla="*/ 22 w 196"/>
                    <a:gd name="T9" fmla="*/ 80 h 165"/>
                    <a:gd name="T10" fmla="*/ 13 w 196"/>
                    <a:gd name="T11" fmla="*/ 58 h 165"/>
                    <a:gd name="T12" fmla="*/ 0 w 196"/>
                    <a:gd name="T13" fmla="*/ 49 h 165"/>
                    <a:gd name="T14" fmla="*/ 4 w 196"/>
                    <a:gd name="T15" fmla="*/ 26 h 165"/>
                    <a:gd name="T16" fmla="*/ 22 w 196"/>
                    <a:gd name="T17" fmla="*/ 4 h 165"/>
                    <a:gd name="T18" fmla="*/ 18 w 196"/>
                    <a:gd name="T19" fmla="*/ 13 h 165"/>
                    <a:gd name="T20" fmla="*/ 13 w 196"/>
                    <a:gd name="T21" fmla="*/ 35 h 165"/>
                    <a:gd name="T22" fmla="*/ 31 w 196"/>
                    <a:gd name="T23" fmla="*/ 44 h 165"/>
                    <a:gd name="T24" fmla="*/ 22 w 196"/>
                    <a:gd name="T25" fmla="*/ 26 h 165"/>
                    <a:gd name="T26" fmla="*/ 49 w 196"/>
                    <a:gd name="T27" fmla="*/ 17 h 165"/>
                    <a:gd name="T28" fmla="*/ 44 w 196"/>
                    <a:gd name="T29" fmla="*/ 13 h 165"/>
                    <a:gd name="T30" fmla="*/ 49 w 196"/>
                    <a:gd name="T31" fmla="*/ 0 h 165"/>
                    <a:gd name="T32" fmla="*/ 62 w 196"/>
                    <a:gd name="T33" fmla="*/ 13 h 165"/>
                    <a:gd name="T34" fmla="*/ 71 w 196"/>
                    <a:gd name="T35" fmla="*/ 26 h 165"/>
                    <a:gd name="T36" fmla="*/ 120 w 196"/>
                    <a:gd name="T37" fmla="*/ 35 h 165"/>
                    <a:gd name="T38" fmla="*/ 129 w 196"/>
                    <a:gd name="T39" fmla="*/ 17 h 165"/>
                    <a:gd name="T40" fmla="*/ 143 w 196"/>
                    <a:gd name="T41" fmla="*/ 17 h 165"/>
                    <a:gd name="T42" fmla="*/ 170 w 196"/>
                    <a:gd name="T43" fmla="*/ 26 h 165"/>
                    <a:gd name="T44" fmla="*/ 161 w 196"/>
                    <a:gd name="T45" fmla="*/ 40 h 165"/>
                    <a:gd name="T46" fmla="*/ 183 w 196"/>
                    <a:gd name="T47" fmla="*/ 44 h 165"/>
                    <a:gd name="T48" fmla="*/ 192 w 196"/>
                    <a:gd name="T49" fmla="*/ 53 h 165"/>
                    <a:gd name="T50" fmla="*/ 183 w 196"/>
                    <a:gd name="T51" fmla="*/ 71 h 165"/>
                    <a:gd name="T52" fmla="*/ 178 w 196"/>
                    <a:gd name="T53" fmla="*/ 84 h 165"/>
                    <a:gd name="T54" fmla="*/ 183 w 196"/>
                    <a:gd name="T55" fmla="*/ 102 h 165"/>
                    <a:gd name="T56" fmla="*/ 152 w 196"/>
                    <a:gd name="T57" fmla="*/ 120 h 165"/>
                    <a:gd name="T58" fmla="*/ 125 w 196"/>
                    <a:gd name="T59" fmla="*/ 111 h 165"/>
                    <a:gd name="T60" fmla="*/ 125 w 196"/>
                    <a:gd name="T61" fmla="*/ 125 h 165"/>
                    <a:gd name="T62" fmla="*/ 143 w 196"/>
                    <a:gd name="T63" fmla="*/ 147 h 165"/>
                    <a:gd name="T64" fmla="*/ 125 w 196"/>
                    <a:gd name="T65" fmla="*/ 156 h 165"/>
                    <a:gd name="T66" fmla="*/ 94 w 196"/>
                    <a:gd name="T67" fmla="*/ 16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6" h="165">
                      <a:moveTo>
                        <a:pt x="94" y="160"/>
                      </a:moveTo>
                      <a:lnTo>
                        <a:pt x="89" y="138"/>
                      </a:lnTo>
                      <a:lnTo>
                        <a:pt x="76" y="143"/>
                      </a:lnTo>
                      <a:lnTo>
                        <a:pt x="85" y="129"/>
                      </a:lnTo>
                      <a:lnTo>
                        <a:pt x="80" y="125"/>
                      </a:lnTo>
                      <a:lnTo>
                        <a:pt x="80" y="107"/>
                      </a:lnTo>
                      <a:lnTo>
                        <a:pt x="85" y="84"/>
                      </a:lnTo>
                      <a:lnTo>
                        <a:pt x="58" y="89"/>
                      </a:lnTo>
                      <a:lnTo>
                        <a:pt x="49" y="75"/>
                      </a:lnTo>
                      <a:lnTo>
                        <a:pt x="22" y="80"/>
                      </a:lnTo>
                      <a:lnTo>
                        <a:pt x="9" y="67"/>
                      </a:lnTo>
                      <a:lnTo>
                        <a:pt x="13" y="58"/>
                      </a:lnTo>
                      <a:lnTo>
                        <a:pt x="4" y="49"/>
                      </a:lnTo>
                      <a:lnTo>
                        <a:pt x="0" y="49"/>
                      </a:lnTo>
                      <a:lnTo>
                        <a:pt x="4" y="44"/>
                      </a:lnTo>
                      <a:lnTo>
                        <a:pt x="4" y="26"/>
                      </a:lnTo>
                      <a:lnTo>
                        <a:pt x="13" y="13"/>
                      </a:lnTo>
                      <a:lnTo>
                        <a:pt x="22" y="4"/>
                      </a:lnTo>
                      <a:lnTo>
                        <a:pt x="31" y="4"/>
                      </a:lnTo>
                      <a:lnTo>
                        <a:pt x="18" y="13"/>
                      </a:lnTo>
                      <a:lnTo>
                        <a:pt x="22" y="22"/>
                      </a:lnTo>
                      <a:lnTo>
                        <a:pt x="13" y="35"/>
                      </a:lnTo>
                      <a:lnTo>
                        <a:pt x="22" y="49"/>
                      </a:lnTo>
                      <a:lnTo>
                        <a:pt x="31" y="44"/>
                      </a:lnTo>
                      <a:lnTo>
                        <a:pt x="31" y="35"/>
                      </a:lnTo>
                      <a:lnTo>
                        <a:pt x="22" y="26"/>
                      </a:lnTo>
                      <a:lnTo>
                        <a:pt x="27" y="22"/>
                      </a:lnTo>
                      <a:lnTo>
                        <a:pt x="49" y="17"/>
                      </a:lnTo>
                      <a:lnTo>
                        <a:pt x="49" y="8"/>
                      </a:lnTo>
                      <a:lnTo>
                        <a:pt x="44" y="13"/>
                      </a:lnTo>
                      <a:lnTo>
                        <a:pt x="44" y="4"/>
                      </a:lnTo>
                      <a:lnTo>
                        <a:pt x="49" y="0"/>
                      </a:lnTo>
                      <a:lnTo>
                        <a:pt x="53" y="13"/>
                      </a:lnTo>
                      <a:lnTo>
                        <a:pt x="62" y="13"/>
                      </a:lnTo>
                      <a:lnTo>
                        <a:pt x="71" y="17"/>
                      </a:lnTo>
                      <a:lnTo>
                        <a:pt x="71" y="26"/>
                      </a:lnTo>
                      <a:lnTo>
                        <a:pt x="103" y="26"/>
                      </a:lnTo>
                      <a:lnTo>
                        <a:pt x="120" y="35"/>
                      </a:lnTo>
                      <a:lnTo>
                        <a:pt x="134" y="26"/>
                      </a:lnTo>
                      <a:lnTo>
                        <a:pt x="129" y="17"/>
                      </a:lnTo>
                      <a:lnTo>
                        <a:pt x="143" y="13"/>
                      </a:lnTo>
                      <a:lnTo>
                        <a:pt x="143" y="17"/>
                      </a:lnTo>
                      <a:lnTo>
                        <a:pt x="138" y="22"/>
                      </a:lnTo>
                      <a:lnTo>
                        <a:pt x="170" y="26"/>
                      </a:lnTo>
                      <a:lnTo>
                        <a:pt x="152" y="31"/>
                      </a:lnTo>
                      <a:lnTo>
                        <a:pt x="161" y="40"/>
                      </a:lnTo>
                      <a:lnTo>
                        <a:pt x="178" y="40"/>
                      </a:lnTo>
                      <a:lnTo>
                        <a:pt x="183" y="44"/>
                      </a:lnTo>
                      <a:lnTo>
                        <a:pt x="183" y="53"/>
                      </a:lnTo>
                      <a:lnTo>
                        <a:pt x="192" y="53"/>
                      </a:lnTo>
                      <a:lnTo>
                        <a:pt x="196" y="67"/>
                      </a:lnTo>
                      <a:lnTo>
                        <a:pt x="183" y="71"/>
                      </a:lnTo>
                      <a:lnTo>
                        <a:pt x="187" y="80"/>
                      </a:lnTo>
                      <a:lnTo>
                        <a:pt x="178" y="84"/>
                      </a:lnTo>
                      <a:lnTo>
                        <a:pt x="174" y="93"/>
                      </a:lnTo>
                      <a:lnTo>
                        <a:pt x="183" y="102"/>
                      </a:lnTo>
                      <a:lnTo>
                        <a:pt x="183" y="116"/>
                      </a:lnTo>
                      <a:lnTo>
                        <a:pt x="152" y="120"/>
                      </a:lnTo>
                      <a:lnTo>
                        <a:pt x="138" y="120"/>
                      </a:lnTo>
                      <a:lnTo>
                        <a:pt x="125" y="111"/>
                      </a:lnTo>
                      <a:lnTo>
                        <a:pt x="120" y="120"/>
                      </a:lnTo>
                      <a:lnTo>
                        <a:pt x="125" y="125"/>
                      </a:lnTo>
                      <a:lnTo>
                        <a:pt x="129" y="143"/>
                      </a:lnTo>
                      <a:lnTo>
                        <a:pt x="143" y="147"/>
                      </a:lnTo>
                      <a:lnTo>
                        <a:pt x="134" y="147"/>
                      </a:lnTo>
                      <a:lnTo>
                        <a:pt x="125" y="156"/>
                      </a:lnTo>
                      <a:lnTo>
                        <a:pt x="103" y="165"/>
                      </a:lnTo>
                      <a:lnTo>
                        <a:pt x="94" y="16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grpSp>
          <p:grpSp>
            <p:nvGrpSpPr>
              <p:cNvPr id="361" name="Group 104"/>
              <p:cNvGrpSpPr>
                <a:grpSpLocks/>
              </p:cNvGrpSpPr>
              <p:nvPr/>
            </p:nvGrpSpPr>
            <p:grpSpPr bwMode="auto">
              <a:xfrm>
                <a:off x="4658089" y="1428949"/>
                <a:ext cx="3713530" cy="3348816"/>
                <a:chOff x="2959" y="911"/>
                <a:chExt cx="2448" cy="2208"/>
              </a:xfrm>
            </p:grpSpPr>
            <p:sp>
              <p:nvSpPr>
                <p:cNvPr id="408" name="Freeform 105"/>
                <p:cNvSpPr>
                  <a:spLocks noEditPoints="1"/>
                </p:cNvSpPr>
                <p:nvPr/>
              </p:nvSpPr>
              <p:spPr bwMode="gray">
                <a:xfrm>
                  <a:off x="4702" y="2811"/>
                  <a:ext cx="214" cy="134"/>
                </a:xfrm>
                <a:custGeom>
                  <a:avLst/>
                  <a:gdLst>
                    <a:gd name="T0" fmla="*/ 0 w 214"/>
                    <a:gd name="T1" fmla="*/ 13 h 134"/>
                    <a:gd name="T2" fmla="*/ 26 w 214"/>
                    <a:gd name="T3" fmla="*/ 26 h 134"/>
                    <a:gd name="T4" fmla="*/ 67 w 214"/>
                    <a:gd name="T5" fmla="*/ 40 h 134"/>
                    <a:gd name="T6" fmla="*/ 93 w 214"/>
                    <a:gd name="T7" fmla="*/ 58 h 134"/>
                    <a:gd name="T8" fmla="*/ 93 w 214"/>
                    <a:gd name="T9" fmla="*/ 71 h 134"/>
                    <a:gd name="T10" fmla="*/ 102 w 214"/>
                    <a:gd name="T11" fmla="*/ 98 h 134"/>
                    <a:gd name="T12" fmla="*/ 120 w 214"/>
                    <a:gd name="T13" fmla="*/ 107 h 134"/>
                    <a:gd name="T14" fmla="*/ 129 w 214"/>
                    <a:gd name="T15" fmla="*/ 116 h 134"/>
                    <a:gd name="T16" fmla="*/ 143 w 214"/>
                    <a:gd name="T17" fmla="*/ 125 h 134"/>
                    <a:gd name="T18" fmla="*/ 129 w 214"/>
                    <a:gd name="T19" fmla="*/ 134 h 134"/>
                    <a:gd name="T20" fmla="*/ 102 w 214"/>
                    <a:gd name="T21" fmla="*/ 125 h 134"/>
                    <a:gd name="T22" fmla="*/ 76 w 214"/>
                    <a:gd name="T23" fmla="*/ 102 h 134"/>
                    <a:gd name="T24" fmla="*/ 58 w 214"/>
                    <a:gd name="T25" fmla="*/ 84 h 134"/>
                    <a:gd name="T26" fmla="*/ 26 w 214"/>
                    <a:gd name="T27" fmla="*/ 93 h 134"/>
                    <a:gd name="T28" fmla="*/ 22 w 214"/>
                    <a:gd name="T29" fmla="*/ 107 h 134"/>
                    <a:gd name="T30" fmla="*/ 4 w 214"/>
                    <a:gd name="T31" fmla="*/ 107 h 134"/>
                    <a:gd name="T32" fmla="*/ 76 w 214"/>
                    <a:gd name="T33" fmla="*/ 0 h 134"/>
                    <a:gd name="T34" fmla="*/ 80 w 214"/>
                    <a:gd name="T35" fmla="*/ 8 h 134"/>
                    <a:gd name="T36" fmla="*/ 89 w 214"/>
                    <a:gd name="T37" fmla="*/ 0 h 134"/>
                    <a:gd name="T38" fmla="*/ 76 w 214"/>
                    <a:gd name="T39" fmla="*/ 0 h 134"/>
                    <a:gd name="T40" fmla="*/ 102 w 214"/>
                    <a:gd name="T41" fmla="*/ 58 h 134"/>
                    <a:gd name="T42" fmla="*/ 116 w 214"/>
                    <a:gd name="T43" fmla="*/ 67 h 134"/>
                    <a:gd name="T44" fmla="*/ 129 w 214"/>
                    <a:gd name="T45" fmla="*/ 71 h 134"/>
                    <a:gd name="T46" fmla="*/ 151 w 214"/>
                    <a:gd name="T47" fmla="*/ 58 h 134"/>
                    <a:gd name="T48" fmla="*/ 165 w 214"/>
                    <a:gd name="T49" fmla="*/ 40 h 134"/>
                    <a:gd name="T50" fmla="*/ 151 w 214"/>
                    <a:gd name="T51" fmla="*/ 35 h 134"/>
                    <a:gd name="T52" fmla="*/ 143 w 214"/>
                    <a:gd name="T53" fmla="*/ 53 h 134"/>
                    <a:gd name="T54" fmla="*/ 129 w 214"/>
                    <a:gd name="T55" fmla="*/ 49 h 134"/>
                    <a:gd name="T56" fmla="*/ 102 w 214"/>
                    <a:gd name="T57" fmla="*/ 53 h 134"/>
                    <a:gd name="T58" fmla="*/ 165 w 214"/>
                    <a:gd name="T59" fmla="*/ 26 h 134"/>
                    <a:gd name="T60" fmla="*/ 134 w 214"/>
                    <a:gd name="T61" fmla="*/ 4 h 134"/>
                    <a:gd name="T62" fmla="*/ 143 w 214"/>
                    <a:gd name="T63" fmla="*/ 13 h 134"/>
                    <a:gd name="T64" fmla="*/ 165 w 214"/>
                    <a:gd name="T65" fmla="*/ 35 h 134"/>
                    <a:gd name="T66" fmla="*/ 174 w 214"/>
                    <a:gd name="T67" fmla="*/ 35 h 134"/>
                    <a:gd name="T68" fmla="*/ 196 w 214"/>
                    <a:gd name="T69" fmla="*/ 62 h 134"/>
                    <a:gd name="T70" fmla="*/ 210 w 214"/>
                    <a:gd name="T71" fmla="*/ 71 h 134"/>
                    <a:gd name="T72" fmla="*/ 201 w 214"/>
                    <a:gd name="T73" fmla="*/ 5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34">
                      <a:moveTo>
                        <a:pt x="0" y="102"/>
                      </a:moveTo>
                      <a:lnTo>
                        <a:pt x="0" y="13"/>
                      </a:lnTo>
                      <a:lnTo>
                        <a:pt x="13" y="13"/>
                      </a:lnTo>
                      <a:lnTo>
                        <a:pt x="26" y="26"/>
                      </a:lnTo>
                      <a:lnTo>
                        <a:pt x="49" y="26"/>
                      </a:lnTo>
                      <a:lnTo>
                        <a:pt x="67" y="40"/>
                      </a:lnTo>
                      <a:lnTo>
                        <a:pt x="67" y="53"/>
                      </a:lnTo>
                      <a:lnTo>
                        <a:pt x="93" y="58"/>
                      </a:lnTo>
                      <a:lnTo>
                        <a:pt x="98" y="71"/>
                      </a:lnTo>
                      <a:lnTo>
                        <a:pt x="93" y="71"/>
                      </a:lnTo>
                      <a:lnTo>
                        <a:pt x="84" y="71"/>
                      </a:lnTo>
                      <a:lnTo>
                        <a:pt x="102" y="98"/>
                      </a:lnTo>
                      <a:lnTo>
                        <a:pt x="111" y="107"/>
                      </a:lnTo>
                      <a:lnTo>
                        <a:pt x="120" y="107"/>
                      </a:lnTo>
                      <a:lnTo>
                        <a:pt x="120" y="111"/>
                      </a:lnTo>
                      <a:lnTo>
                        <a:pt x="129" y="116"/>
                      </a:lnTo>
                      <a:lnTo>
                        <a:pt x="129" y="120"/>
                      </a:lnTo>
                      <a:lnTo>
                        <a:pt x="143" y="125"/>
                      </a:lnTo>
                      <a:lnTo>
                        <a:pt x="134" y="134"/>
                      </a:lnTo>
                      <a:lnTo>
                        <a:pt x="129" y="134"/>
                      </a:lnTo>
                      <a:lnTo>
                        <a:pt x="129" y="125"/>
                      </a:lnTo>
                      <a:lnTo>
                        <a:pt x="102" y="125"/>
                      </a:lnTo>
                      <a:lnTo>
                        <a:pt x="89" y="120"/>
                      </a:lnTo>
                      <a:lnTo>
                        <a:pt x="76" y="102"/>
                      </a:lnTo>
                      <a:lnTo>
                        <a:pt x="67" y="89"/>
                      </a:lnTo>
                      <a:lnTo>
                        <a:pt x="58" y="84"/>
                      </a:lnTo>
                      <a:lnTo>
                        <a:pt x="40" y="80"/>
                      </a:lnTo>
                      <a:lnTo>
                        <a:pt x="26" y="93"/>
                      </a:lnTo>
                      <a:lnTo>
                        <a:pt x="31" y="102"/>
                      </a:lnTo>
                      <a:lnTo>
                        <a:pt x="22" y="107"/>
                      </a:lnTo>
                      <a:lnTo>
                        <a:pt x="4" y="102"/>
                      </a:lnTo>
                      <a:lnTo>
                        <a:pt x="4" y="107"/>
                      </a:lnTo>
                      <a:lnTo>
                        <a:pt x="0" y="102"/>
                      </a:lnTo>
                      <a:close/>
                      <a:moveTo>
                        <a:pt x="76" y="0"/>
                      </a:moveTo>
                      <a:lnTo>
                        <a:pt x="76" y="8"/>
                      </a:lnTo>
                      <a:lnTo>
                        <a:pt x="80" y="8"/>
                      </a:lnTo>
                      <a:lnTo>
                        <a:pt x="89" y="4"/>
                      </a:lnTo>
                      <a:lnTo>
                        <a:pt x="89" y="0"/>
                      </a:lnTo>
                      <a:lnTo>
                        <a:pt x="80" y="0"/>
                      </a:lnTo>
                      <a:lnTo>
                        <a:pt x="76" y="0"/>
                      </a:lnTo>
                      <a:close/>
                      <a:moveTo>
                        <a:pt x="102" y="53"/>
                      </a:moveTo>
                      <a:lnTo>
                        <a:pt x="102" y="58"/>
                      </a:lnTo>
                      <a:lnTo>
                        <a:pt x="111" y="62"/>
                      </a:lnTo>
                      <a:lnTo>
                        <a:pt x="116" y="67"/>
                      </a:lnTo>
                      <a:lnTo>
                        <a:pt x="125" y="62"/>
                      </a:lnTo>
                      <a:lnTo>
                        <a:pt x="129" y="71"/>
                      </a:lnTo>
                      <a:lnTo>
                        <a:pt x="147" y="67"/>
                      </a:lnTo>
                      <a:lnTo>
                        <a:pt x="151" y="58"/>
                      </a:lnTo>
                      <a:lnTo>
                        <a:pt x="160" y="58"/>
                      </a:lnTo>
                      <a:lnTo>
                        <a:pt x="165" y="40"/>
                      </a:lnTo>
                      <a:lnTo>
                        <a:pt x="160" y="35"/>
                      </a:lnTo>
                      <a:lnTo>
                        <a:pt x="151" y="35"/>
                      </a:lnTo>
                      <a:lnTo>
                        <a:pt x="151" y="49"/>
                      </a:lnTo>
                      <a:lnTo>
                        <a:pt x="143" y="53"/>
                      </a:lnTo>
                      <a:lnTo>
                        <a:pt x="134" y="53"/>
                      </a:lnTo>
                      <a:lnTo>
                        <a:pt x="129" y="49"/>
                      </a:lnTo>
                      <a:lnTo>
                        <a:pt x="125" y="53"/>
                      </a:lnTo>
                      <a:lnTo>
                        <a:pt x="102" y="53"/>
                      </a:lnTo>
                      <a:close/>
                      <a:moveTo>
                        <a:pt x="174" y="35"/>
                      </a:moveTo>
                      <a:lnTo>
                        <a:pt x="165" y="26"/>
                      </a:lnTo>
                      <a:lnTo>
                        <a:pt x="143" y="8"/>
                      </a:lnTo>
                      <a:lnTo>
                        <a:pt x="134" y="4"/>
                      </a:lnTo>
                      <a:lnTo>
                        <a:pt x="129" y="8"/>
                      </a:lnTo>
                      <a:lnTo>
                        <a:pt x="143" y="13"/>
                      </a:lnTo>
                      <a:lnTo>
                        <a:pt x="160" y="31"/>
                      </a:lnTo>
                      <a:lnTo>
                        <a:pt x="165" y="35"/>
                      </a:lnTo>
                      <a:lnTo>
                        <a:pt x="169" y="44"/>
                      </a:lnTo>
                      <a:lnTo>
                        <a:pt x="174" y="35"/>
                      </a:lnTo>
                      <a:close/>
                      <a:moveTo>
                        <a:pt x="196" y="53"/>
                      </a:moveTo>
                      <a:lnTo>
                        <a:pt x="196" y="62"/>
                      </a:lnTo>
                      <a:lnTo>
                        <a:pt x="201" y="76"/>
                      </a:lnTo>
                      <a:lnTo>
                        <a:pt x="210" y="71"/>
                      </a:lnTo>
                      <a:lnTo>
                        <a:pt x="214" y="67"/>
                      </a:lnTo>
                      <a:lnTo>
                        <a:pt x="201" y="53"/>
                      </a:lnTo>
                      <a:lnTo>
                        <a:pt x="196" y="5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grpSp>
              <p:nvGrpSpPr>
                <p:cNvPr id="409" name="Group 106"/>
                <p:cNvGrpSpPr>
                  <a:grpSpLocks/>
                </p:cNvGrpSpPr>
                <p:nvPr/>
              </p:nvGrpSpPr>
              <p:grpSpPr bwMode="auto">
                <a:xfrm>
                  <a:off x="2959" y="911"/>
                  <a:ext cx="2448" cy="2208"/>
                  <a:chOff x="2959" y="911"/>
                  <a:chExt cx="2448" cy="2208"/>
                </a:xfrm>
              </p:grpSpPr>
              <p:sp>
                <p:nvSpPr>
                  <p:cNvPr id="410" name="Freeform 107"/>
                  <p:cNvSpPr>
                    <a:spLocks/>
                  </p:cNvSpPr>
                  <p:nvPr/>
                </p:nvSpPr>
                <p:spPr bwMode="gray">
                  <a:xfrm>
                    <a:off x="3549" y="2172"/>
                    <a:ext cx="206" cy="165"/>
                  </a:xfrm>
                  <a:custGeom>
                    <a:avLst/>
                    <a:gdLst>
                      <a:gd name="T0" fmla="*/ 5 w 206"/>
                      <a:gd name="T1" fmla="*/ 156 h 165"/>
                      <a:gd name="T2" fmla="*/ 14 w 206"/>
                      <a:gd name="T3" fmla="*/ 160 h 165"/>
                      <a:gd name="T4" fmla="*/ 27 w 206"/>
                      <a:gd name="T5" fmla="*/ 165 h 165"/>
                      <a:gd name="T6" fmla="*/ 81 w 206"/>
                      <a:gd name="T7" fmla="*/ 160 h 165"/>
                      <a:gd name="T8" fmla="*/ 85 w 206"/>
                      <a:gd name="T9" fmla="*/ 138 h 165"/>
                      <a:gd name="T10" fmla="*/ 89 w 206"/>
                      <a:gd name="T11" fmla="*/ 129 h 165"/>
                      <a:gd name="T12" fmla="*/ 103 w 206"/>
                      <a:gd name="T13" fmla="*/ 129 h 165"/>
                      <a:gd name="T14" fmla="*/ 112 w 206"/>
                      <a:gd name="T15" fmla="*/ 120 h 165"/>
                      <a:gd name="T16" fmla="*/ 121 w 206"/>
                      <a:gd name="T17" fmla="*/ 125 h 165"/>
                      <a:gd name="T18" fmla="*/ 125 w 206"/>
                      <a:gd name="T19" fmla="*/ 120 h 165"/>
                      <a:gd name="T20" fmla="*/ 125 w 206"/>
                      <a:gd name="T21" fmla="*/ 107 h 165"/>
                      <a:gd name="T22" fmla="*/ 125 w 206"/>
                      <a:gd name="T23" fmla="*/ 102 h 165"/>
                      <a:gd name="T24" fmla="*/ 139 w 206"/>
                      <a:gd name="T25" fmla="*/ 93 h 165"/>
                      <a:gd name="T26" fmla="*/ 134 w 206"/>
                      <a:gd name="T27" fmla="*/ 84 h 165"/>
                      <a:gd name="T28" fmla="*/ 148 w 206"/>
                      <a:gd name="T29" fmla="*/ 80 h 165"/>
                      <a:gd name="T30" fmla="*/ 156 w 206"/>
                      <a:gd name="T31" fmla="*/ 62 h 165"/>
                      <a:gd name="T32" fmla="*/ 152 w 206"/>
                      <a:gd name="T33" fmla="*/ 53 h 165"/>
                      <a:gd name="T34" fmla="*/ 156 w 206"/>
                      <a:gd name="T35" fmla="*/ 44 h 165"/>
                      <a:gd name="T36" fmla="*/ 174 w 206"/>
                      <a:gd name="T37" fmla="*/ 35 h 165"/>
                      <a:gd name="T38" fmla="*/ 197 w 206"/>
                      <a:gd name="T39" fmla="*/ 31 h 165"/>
                      <a:gd name="T40" fmla="*/ 201 w 206"/>
                      <a:gd name="T41" fmla="*/ 31 h 165"/>
                      <a:gd name="T42" fmla="*/ 206 w 206"/>
                      <a:gd name="T43" fmla="*/ 26 h 165"/>
                      <a:gd name="T44" fmla="*/ 179 w 206"/>
                      <a:gd name="T45" fmla="*/ 22 h 165"/>
                      <a:gd name="T46" fmla="*/ 156 w 206"/>
                      <a:gd name="T47" fmla="*/ 35 h 165"/>
                      <a:gd name="T48" fmla="*/ 161 w 206"/>
                      <a:gd name="T49" fmla="*/ 17 h 165"/>
                      <a:gd name="T50" fmla="*/ 156 w 206"/>
                      <a:gd name="T51" fmla="*/ 4 h 165"/>
                      <a:gd name="T52" fmla="*/ 152 w 206"/>
                      <a:gd name="T53" fmla="*/ 0 h 165"/>
                      <a:gd name="T54" fmla="*/ 139 w 206"/>
                      <a:gd name="T55" fmla="*/ 17 h 165"/>
                      <a:gd name="T56" fmla="*/ 134 w 206"/>
                      <a:gd name="T57" fmla="*/ 17 h 165"/>
                      <a:gd name="T58" fmla="*/ 121 w 206"/>
                      <a:gd name="T59" fmla="*/ 22 h 165"/>
                      <a:gd name="T60" fmla="*/ 107 w 206"/>
                      <a:gd name="T61" fmla="*/ 26 h 165"/>
                      <a:gd name="T62" fmla="*/ 103 w 206"/>
                      <a:gd name="T63" fmla="*/ 26 h 165"/>
                      <a:gd name="T64" fmla="*/ 85 w 206"/>
                      <a:gd name="T65" fmla="*/ 26 h 165"/>
                      <a:gd name="T66" fmla="*/ 76 w 206"/>
                      <a:gd name="T67" fmla="*/ 22 h 165"/>
                      <a:gd name="T68" fmla="*/ 67 w 206"/>
                      <a:gd name="T69" fmla="*/ 26 h 165"/>
                      <a:gd name="T70" fmla="*/ 58 w 206"/>
                      <a:gd name="T71" fmla="*/ 44 h 165"/>
                      <a:gd name="T72" fmla="*/ 40 w 206"/>
                      <a:gd name="T73" fmla="*/ 49 h 165"/>
                      <a:gd name="T74" fmla="*/ 27 w 206"/>
                      <a:gd name="T75" fmla="*/ 62 h 165"/>
                      <a:gd name="T76" fmla="*/ 22 w 206"/>
                      <a:gd name="T77" fmla="*/ 53 h 165"/>
                      <a:gd name="T78" fmla="*/ 9 w 206"/>
                      <a:gd name="T79" fmla="*/ 53 h 165"/>
                      <a:gd name="T80" fmla="*/ 0 w 206"/>
                      <a:gd name="T81" fmla="*/ 80 h 165"/>
                      <a:gd name="T82" fmla="*/ 5 w 206"/>
                      <a:gd name="T83" fmla="*/ 89 h 165"/>
                      <a:gd name="T84" fmla="*/ 5 w 206"/>
                      <a:gd name="T85" fmla="*/ 125 h 165"/>
                      <a:gd name="T86" fmla="*/ 14 w 206"/>
                      <a:gd name="T87" fmla="*/ 125 h 165"/>
                      <a:gd name="T88" fmla="*/ 18 w 206"/>
                      <a:gd name="T89" fmla="*/ 138 h 165"/>
                      <a:gd name="T90" fmla="*/ 9 w 206"/>
                      <a:gd name="T91" fmla="*/ 143 h 165"/>
                      <a:gd name="T92" fmla="*/ 5 w 206"/>
                      <a:gd name="T93" fmla="*/ 15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165">
                        <a:moveTo>
                          <a:pt x="5" y="156"/>
                        </a:moveTo>
                        <a:lnTo>
                          <a:pt x="14" y="160"/>
                        </a:lnTo>
                        <a:lnTo>
                          <a:pt x="27" y="165"/>
                        </a:lnTo>
                        <a:lnTo>
                          <a:pt x="81" y="160"/>
                        </a:lnTo>
                        <a:lnTo>
                          <a:pt x="85" y="138"/>
                        </a:lnTo>
                        <a:lnTo>
                          <a:pt x="89" y="129"/>
                        </a:lnTo>
                        <a:lnTo>
                          <a:pt x="103" y="129"/>
                        </a:lnTo>
                        <a:lnTo>
                          <a:pt x="112" y="120"/>
                        </a:lnTo>
                        <a:lnTo>
                          <a:pt x="121" y="125"/>
                        </a:lnTo>
                        <a:lnTo>
                          <a:pt x="125" y="120"/>
                        </a:lnTo>
                        <a:lnTo>
                          <a:pt x="125" y="107"/>
                        </a:lnTo>
                        <a:lnTo>
                          <a:pt x="125" y="102"/>
                        </a:lnTo>
                        <a:lnTo>
                          <a:pt x="139" y="93"/>
                        </a:lnTo>
                        <a:lnTo>
                          <a:pt x="134" y="84"/>
                        </a:lnTo>
                        <a:lnTo>
                          <a:pt x="148" y="80"/>
                        </a:lnTo>
                        <a:lnTo>
                          <a:pt x="156" y="62"/>
                        </a:lnTo>
                        <a:lnTo>
                          <a:pt x="152" y="53"/>
                        </a:lnTo>
                        <a:lnTo>
                          <a:pt x="156" y="44"/>
                        </a:lnTo>
                        <a:lnTo>
                          <a:pt x="174" y="35"/>
                        </a:lnTo>
                        <a:lnTo>
                          <a:pt x="197" y="31"/>
                        </a:lnTo>
                        <a:lnTo>
                          <a:pt x="201" y="31"/>
                        </a:lnTo>
                        <a:lnTo>
                          <a:pt x="206" y="26"/>
                        </a:lnTo>
                        <a:lnTo>
                          <a:pt x="179" y="22"/>
                        </a:lnTo>
                        <a:lnTo>
                          <a:pt x="156" y="35"/>
                        </a:lnTo>
                        <a:lnTo>
                          <a:pt x="161" y="17"/>
                        </a:lnTo>
                        <a:lnTo>
                          <a:pt x="156" y="4"/>
                        </a:lnTo>
                        <a:lnTo>
                          <a:pt x="152" y="0"/>
                        </a:lnTo>
                        <a:lnTo>
                          <a:pt x="139" y="17"/>
                        </a:lnTo>
                        <a:lnTo>
                          <a:pt x="134" y="17"/>
                        </a:lnTo>
                        <a:lnTo>
                          <a:pt x="121" y="22"/>
                        </a:lnTo>
                        <a:lnTo>
                          <a:pt x="107" y="26"/>
                        </a:lnTo>
                        <a:lnTo>
                          <a:pt x="103" y="26"/>
                        </a:lnTo>
                        <a:lnTo>
                          <a:pt x="85" y="26"/>
                        </a:lnTo>
                        <a:lnTo>
                          <a:pt x="76" y="22"/>
                        </a:lnTo>
                        <a:lnTo>
                          <a:pt x="67" y="26"/>
                        </a:lnTo>
                        <a:lnTo>
                          <a:pt x="58" y="44"/>
                        </a:lnTo>
                        <a:lnTo>
                          <a:pt x="40" y="49"/>
                        </a:lnTo>
                        <a:lnTo>
                          <a:pt x="27" y="62"/>
                        </a:lnTo>
                        <a:lnTo>
                          <a:pt x="22" y="53"/>
                        </a:lnTo>
                        <a:lnTo>
                          <a:pt x="9" y="53"/>
                        </a:lnTo>
                        <a:lnTo>
                          <a:pt x="0" y="80"/>
                        </a:lnTo>
                        <a:lnTo>
                          <a:pt x="5" y="89"/>
                        </a:lnTo>
                        <a:lnTo>
                          <a:pt x="5" y="125"/>
                        </a:lnTo>
                        <a:lnTo>
                          <a:pt x="14" y="125"/>
                        </a:lnTo>
                        <a:lnTo>
                          <a:pt x="18" y="138"/>
                        </a:lnTo>
                        <a:lnTo>
                          <a:pt x="9" y="143"/>
                        </a:lnTo>
                        <a:lnTo>
                          <a:pt x="5" y="15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11" name="Freeform 108"/>
                  <p:cNvSpPr>
                    <a:spLocks noEditPoints="1"/>
                  </p:cNvSpPr>
                  <p:nvPr/>
                </p:nvSpPr>
                <p:spPr bwMode="gray">
                  <a:xfrm>
                    <a:off x="3321" y="2104"/>
                    <a:ext cx="85" cy="76"/>
                  </a:xfrm>
                  <a:custGeom>
                    <a:avLst/>
                    <a:gdLst>
                      <a:gd name="T0" fmla="*/ 0 w 85"/>
                      <a:gd name="T1" fmla="*/ 50 h 76"/>
                      <a:gd name="T2" fmla="*/ 18 w 85"/>
                      <a:gd name="T3" fmla="*/ 63 h 76"/>
                      <a:gd name="T4" fmla="*/ 23 w 85"/>
                      <a:gd name="T5" fmla="*/ 68 h 76"/>
                      <a:gd name="T6" fmla="*/ 23 w 85"/>
                      <a:gd name="T7" fmla="*/ 54 h 76"/>
                      <a:gd name="T8" fmla="*/ 18 w 85"/>
                      <a:gd name="T9" fmla="*/ 54 h 76"/>
                      <a:gd name="T10" fmla="*/ 14 w 85"/>
                      <a:gd name="T11" fmla="*/ 54 h 76"/>
                      <a:gd name="T12" fmla="*/ 5 w 85"/>
                      <a:gd name="T13" fmla="*/ 50 h 76"/>
                      <a:gd name="T14" fmla="*/ 0 w 85"/>
                      <a:gd name="T15" fmla="*/ 50 h 76"/>
                      <a:gd name="T16" fmla="*/ 5 w 85"/>
                      <a:gd name="T17" fmla="*/ 23 h 76"/>
                      <a:gd name="T18" fmla="*/ 9 w 85"/>
                      <a:gd name="T19" fmla="*/ 23 h 76"/>
                      <a:gd name="T20" fmla="*/ 5 w 85"/>
                      <a:gd name="T21" fmla="*/ 23 h 76"/>
                      <a:gd name="T22" fmla="*/ 9 w 85"/>
                      <a:gd name="T23" fmla="*/ 27 h 76"/>
                      <a:gd name="T24" fmla="*/ 14 w 85"/>
                      <a:gd name="T25" fmla="*/ 23 h 76"/>
                      <a:gd name="T26" fmla="*/ 14 w 85"/>
                      <a:gd name="T27" fmla="*/ 27 h 76"/>
                      <a:gd name="T28" fmla="*/ 14 w 85"/>
                      <a:gd name="T29" fmla="*/ 32 h 76"/>
                      <a:gd name="T30" fmla="*/ 9 w 85"/>
                      <a:gd name="T31" fmla="*/ 32 h 76"/>
                      <a:gd name="T32" fmla="*/ 23 w 85"/>
                      <a:gd name="T33" fmla="*/ 41 h 76"/>
                      <a:gd name="T34" fmla="*/ 18 w 85"/>
                      <a:gd name="T35" fmla="*/ 45 h 76"/>
                      <a:gd name="T36" fmla="*/ 27 w 85"/>
                      <a:gd name="T37" fmla="*/ 50 h 76"/>
                      <a:gd name="T38" fmla="*/ 27 w 85"/>
                      <a:gd name="T39" fmla="*/ 54 h 76"/>
                      <a:gd name="T40" fmla="*/ 32 w 85"/>
                      <a:gd name="T41" fmla="*/ 54 h 76"/>
                      <a:gd name="T42" fmla="*/ 32 w 85"/>
                      <a:gd name="T43" fmla="*/ 59 h 76"/>
                      <a:gd name="T44" fmla="*/ 27 w 85"/>
                      <a:gd name="T45" fmla="*/ 59 h 76"/>
                      <a:gd name="T46" fmla="*/ 27 w 85"/>
                      <a:gd name="T47" fmla="*/ 63 h 76"/>
                      <a:gd name="T48" fmla="*/ 49 w 85"/>
                      <a:gd name="T49" fmla="*/ 50 h 76"/>
                      <a:gd name="T50" fmla="*/ 54 w 85"/>
                      <a:gd name="T51" fmla="*/ 54 h 76"/>
                      <a:gd name="T52" fmla="*/ 54 w 85"/>
                      <a:gd name="T53" fmla="*/ 68 h 76"/>
                      <a:gd name="T54" fmla="*/ 67 w 85"/>
                      <a:gd name="T55" fmla="*/ 76 h 76"/>
                      <a:gd name="T56" fmla="*/ 67 w 85"/>
                      <a:gd name="T57" fmla="*/ 63 h 76"/>
                      <a:gd name="T58" fmla="*/ 63 w 85"/>
                      <a:gd name="T59" fmla="*/ 54 h 76"/>
                      <a:gd name="T60" fmla="*/ 67 w 85"/>
                      <a:gd name="T61" fmla="*/ 54 h 76"/>
                      <a:gd name="T62" fmla="*/ 72 w 85"/>
                      <a:gd name="T63" fmla="*/ 59 h 76"/>
                      <a:gd name="T64" fmla="*/ 76 w 85"/>
                      <a:gd name="T65" fmla="*/ 41 h 76"/>
                      <a:gd name="T66" fmla="*/ 85 w 85"/>
                      <a:gd name="T67" fmla="*/ 36 h 76"/>
                      <a:gd name="T68" fmla="*/ 81 w 85"/>
                      <a:gd name="T69" fmla="*/ 27 h 76"/>
                      <a:gd name="T70" fmla="*/ 76 w 85"/>
                      <a:gd name="T71" fmla="*/ 32 h 76"/>
                      <a:gd name="T72" fmla="*/ 67 w 85"/>
                      <a:gd name="T73" fmla="*/ 23 h 76"/>
                      <a:gd name="T74" fmla="*/ 63 w 85"/>
                      <a:gd name="T75" fmla="*/ 9 h 76"/>
                      <a:gd name="T76" fmla="*/ 54 w 85"/>
                      <a:gd name="T77" fmla="*/ 14 h 76"/>
                      <a:gd name="T78" fmla="*/ 54 w 85"/>
                      <a:gd name="T79" fmla="*/ 14 h 76"/>
                      <a:gd name="T80" fmla="*/ 49 w 85"/>
                      <a:gd name="T81" fmla="*/ 18 h 76"/>
                      <a:gd name="T82" fmla="*/ 45 w 85"/>
                      <a:gd name="T83" fmla="*/ 18 h 76"/>
                      <a:gd name="T84" fmla="*/ 36 w 85"/>
                      <a:gd name="T85" fmla="*/ 5 h 76"/>
                      <a:gd name="T86" fmla="*/ 32 w 85"/>
                      <a:gd name="T87" fmla="*/ 5 h 76"/>
                      <a:gd name="T88" fmla="*/ 27 w 85"/>
                      <a:gd name="T89" fmla="*/ 0 h 76"/>
                      <a:gd name="T90" fmla="*/ 23 w 85"/>
                      <a:gd name="T91" fmla="*/ 9 h 76"/>
                      <a:gd name="T92" fmla="*/ 27 w 85"/>
                      <a:gd name="T93" fmla="*/ 14 h 76"/>
                      <a:gd name="T94" fmla="*/ 36 w 85"/>
                      <a:gd name="T95" fmla="*/ 18 h 76"/>
                      <a:gd name="T96" fmla="*/ 32 w 85"/>
                      <a:gd name="T97" fmla="*/ 23 h 76"/>
                      <a:gd name="T98" fmla="*/ 27 w 85"/>
                      <a:gd name="T99" fmla="*/ 18 h 76"/>
                      <a:gd name="T100" fmla="*/ 18 w 85"/>
                      <a:gd name="T101" fmla="*/ 23 h 76"/>
                      <a:gd name="T102" fmla="*/ 9 w 85"/>
                      <a:gd name="T103" fmla="*/ 18 h 76"/>
                      <a:gd name="T104" fmla="*/ 5 w 85"/>
                      <a:gd name="T105" fmla="*/ 2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 h="76">
                        <a:moveTo>
                          <a:pt x="0" y="50"/>
                        </a:moveTo>
                        <a:lnTo>
                          <a:pt x="18" y="63"/>
                        </a:lnTo>
                        <a:lnTo>
                          <a:pt x="23" y="68"/>
                        </a:lnTo>
                        <a:lnTo>
                          <a:pt x="23" y="54"/>
                        </a:lnTo>
                        <a:lnTo>
                          <a:pt x="18" y="54"/>
                        </a:lnTo>
                        <a:lnTo>
                          <a:pt x="14" y="54"/>
                        </a:lnTo>
                        <a:lnTo>
                          <a:pt x="5" y="50"/>
                        </a:lnTo>
                        <a:lnTo>
                          <a:pt x="0" y="50"/>
                        </a:lnTo>
                        <a:close/>
                        <a:moveTo>
                          <a:pt x="5" y="23"/>
                        </a:moveTo>
                        <a:lnTo>
                          <a:pt x="9" y="23"/>
                        </a:lnTo>
                        <a:lnTo>
                          <a:pt x="5" y="23"/>
                        </a:lnTo>
                        <a:lnTo>
                          <a:pt x="9" y="27"/>
                        </a:lnTo>
                        <a:lnTo>
                          <a:pt x="14" y="23"/>
                        </a:lnTo>
                        <a:lnTo>
                          <a:pt x="14" y="27"/>
                        </a:lnTo>
                        <a:lnTo>
                          <a:pt x="14" y="32"/>
                        </a:lnTo>
                        <a:lnTo>
                          <a:pt x="9" y="32"/>
                        </a:lnTo>
                        <a:lnTo>
                          <a:pt x="23" y="41"/>
                        </a:lnTo>
                        <a:lnTo>
                          <a:pt x="18" y="45"/>
                        </a:lnTo>
                        <a:lnTo>
                          <a:pt x="27" y="50"/>
                        </a:lnTo>
                        <a:lnTo>
                          <a:pt x="27" y="54"/>
                        </a:lnTo>
                        <a:lnTo>
                          <a:pt x="32" y="54"/>
                        </a:lnTo>
                        <a:lnTo>
                          <a:pt x="32" y="59"/>
                        </a:lnTo>
                        <a:lnTo>
                          <a:pt x="27" y="59"/>
                        </a:lnTo>
                        <a:lnTo>
                          <a:pt x="27" y="63"/>
                        </a:lnTo>
                        <a:lnTo>
                          <a:pt x="49" y="50"/>
                        </a:lnTo>
                        <a:lnTo>
                          <a:pt x="54" y="54"/>
                        </a:lnTo>
                        <a:lnTo>
                          <a:pt x="54" y="68"/>
                        </a:lnTo>
                        <a:lnTo>
                          <a:pt x="67" y="76"/>
                        </a:lnTo>
                        <a:lnTo>
                          <a:pt x="67" y="63"/>
                        </a:lnTo>
                        <a:lnTo>
                          <a:pt x="63" y="54"/>
                        </a:lnTo>
                        <a:lnTo>
                          <a:pt x="67" y="54"/>
                        </a:lnTo>
                        <a:lnTo>
                          <a:pt x="72" y="59"/>
                        </a:lnTo>
                        <a:lnTo>
                          <a:pt x="76" y="41"/>
                        </a:lnTo>
                        <a:lnTo>
                          <a:pt x="85" y="36"/>
                        </a:lnTo>
                        <a:lnTo>
                          <a:pt x="81" y="27"/>
                        </a:lnTo>
                        <a:lnTo>
                          <a:pt x="76" y="32"/>
                        </a:lnTo>
                        <a:lnTo>
                          <a:pt x="67" y="23"/>
                        </a:lnTo>
                        <a:lnTo>
                          <a:pt x="63" y="9"/>
                        </a:lnTo>
                        <a:lnTo>
                          <a:pt x="54" y="14"/>
                        </a:lnTo>
                        <a:lnTo>
                          <a:pt x="54" y="14"/>
                        </a:lnTo>
                        <a:lnTo>
                          <a:pt x="49" y="18"/>
                        </a:lnTo>
                        <a:lnTo>
                          <a:pt x="45" y="18"/>
                        </a:lnTo>
                        <a:lnTo>
                          <a:pt x="36" y="5"/>
                        </a:lnTo>
                        <a:lnTo>
                          <a:pt x="32" y="5"/>
                        </a:lnTo>
                        <a:lnTo>
                          <a:pt x="27" y="0"/>
                        </a:lnTo>
                        <a:lnTo>
                          <a:pt x="23" y="9"/>
                        </a:lnTo>
                        <a:lnTo>
                          <a:pt x="27" y="14"/>
                        </a:lnTo>
                        <a:lnTo>
                          <a:pt x="36" y="18"/>
                        </a:lnTo>
                        <a:lnTo>
                          <a:pt x="32" y="23"/>
                        </a:lnTo>
                        <a:lnTo>
                          <a:pt x="27" y="18"/>
                        </a:lnTo>
                        <a:lnTo>
                          <a:pt x="18" y="23"/>
                        </a:lnTo>
                        <a:lnTo>
                          <a:pt x="9" y="18"/>
                        </a:lnTo>
                        <a:lnTo>
                          <a:pt x="5" y="2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12" name="Freeform 109"/>
                  <p:cNvSpPr>
                    <a:spLocks/>
                  </p:cNvSpPr>
                  <p:nvPr/>
                </p:nvSpPr>
                <p:spPr bwMode="gray">
                  <a:xfrm>
                    <a:off x="3402" y="2382"/>
                    <a:ext cx="9" cy="8"/>
                  </a:xfrm>
                  <a:custGeom>
                    <a:avLst/>
                    <a:gdLst>
                      <a:gd name="T0" fmla="*/ 4 w 9"/>
                      <a:gd name="T1" fmla="*/ 0 h 8"/>
                      <a:gd name="T2" fmla="*/ 0 w 9"/>
                      <a:gd name="T3" fmla="*/ 8 h 8"/>
                      <a:gd name="T4" fmla="*/ 4 w 9"/>
                      <a:gd name="T5" fmla="*/ 8 h 8"/>
                      <a:gd name="T6" fmla="*/ 9 w 9"/>
                      <a:gd name="T7" fmla="*/ 0 h 8"/>
                      <a:gd name="T8" fmla="*/ 4 w 9"/>
                      <a:gd name="T9" fmla="*/ 0 h 8"/>
                    </a:gdLst>
                    <a:ahLst/>
                    <a:cxnLst>
                      <a:cxn ang="0">
                        <a:pos x="T0" y="T1"/>
                      </a:cxn>
                      <a:cxn ang="0">
                        <a:pos x="T2" y="T3"/>
                      </a:cxn>
                      <a:cxn ang="0">
                        <a:pos x="T4" y="T5"/>
                      </a:cxn>
                      <a:cxn ang="0">
                        <a:pos x="T6" y="T7"/>
                      </a:cxn>
                      <a:cxn ang="0">
                        <a:pos x="T8" y="T9"/>
                      </a:cxn>
                    </a:cxnLst>
                    <a:rect l="0" t="0" r="r" b="b"/>
                    <a:pathLst>
                      <a:path w="9" h="8">
                        <a:moveTo>
                          <a:pt x="4" y="0"/>
                        </a:moveTo>
                        <a:lnTo>
                          <a:pt x="0" y="8"/>
                        </a:lnTo>
                        <a:lnTo>
                          <a:pt x="4" y="8"/>
                        </a:lnTo>
                        <a:lnTo>
                          <a:pt x="9" y="0"/>
                        </a:lnTo>
                        <a:lnTo>
                          <a:pt x="4"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13" name="Freeform 110"/>
                  <p:cNvSpPr>
                    <a:spLocks/>
                  </p:cNvSpPr>
                  <p:nvPr/>
                </p:nvSpPr>
                <p:spPr bwMode="gray">
                  <a:xfrm>
                    <a:off x="3942" y="2382"/>
                    <a:ext cx="72" cy="93"/>
                  </a:xfrm>
                  <a:custGeom>
                    <a:avLst/>
                    <a:gdLst>
                      <a:gd name="T0" fmla="*/ 23 w 72"/>
                      <a:gd name="T1" fmla="*/ 76 h 93"/>
                      <a:gd name="T2" fmla="*/ 27 w 72"/>
                      <a:gd name="T3" fmla="*/ 71 h 93"/>
                      <a:gd name="T4" fmla="*/ 31 w 72"/>
                      <a:gd name="T5" fmla="*/ 76 h 93"/>
                      <a:gd name="T6" fmla="*/ 36 w 72"/>
                      <a:gd name="T7" fmla="*/ 71 h 93"/>
                      <a:gd name="T8" fmla="*/ 40 w 72"/>
                      <a:gd name="T9" fmla="*/ 67 h 93"/>
                      <a:gd name="T10" fmla="*/ 45 w 72"/>
                      <a:gd name="T11" fmla="*/ 71 h 93"/>
                      <a:gd name="T12" fmla="*/ 45 w 72"/>
                      <a:gd name="T13" fmla="*/ 67 h 93"/>
                      <a:gd name="T14" fmla="*/ 49 w 72"/>
                      <a:gd name="T15" fmla="*/ 67 h 93"/>
                      <a:gd name="T16" fmla="*/ 54 w 72"/>
                      <a:gd name="T17" fmla="*/ 80 h 93"/>
                      <a:gd name="T18" fmla="*/ 58 w 72"/>
                      <a:gd name="T19" fmla="*/ 89 h 93"/>
                      <a:gd name="T20" fmla="*/ 63 w 72"/>
                      <a:gd name="T21" fmla="*/ 93 h 93"/>
                      <a:gd name="T22" fmla="*/ 72 w 72"/>
                      <a:gd name="T23" fmla="*/ 89 h 93"/>
                      <a:gd name="T24" fmla="*/ 67 w 72"/>
                      <a:gd name="T25" fmla="*/ 80 h 93"/>
                      <a:gd name="T26" fmla="*/ 67 w 72"/>
                      <a:gd name="T27" fmla="*/ 71 h 93"/>
                      <a:gd name="T28" fmla="*/ 63 w 72"/>
                      <a:gd name="T29" fmla="*/ 44 h 93"/>
                      <a:gd name="T30" fmla="*/ 58 w 72"/>
                      <a:gd name="T31" fmla="*/ 44 h 93"/>
                      <a:gd name="T32" fmla="*/ 58 w 72"/>
                      <a:gd name="T33" fmla="*/ 53 h 93"/>
                      <a:gd name="T34" fmla="*/ 49 w 72"/>
                      <a:gd name="T35" fmla="*/ 53 h 93"/>
                      <a:gd name="T36" fmla="*/ 54 w 72"/>
                      <a:gd name="T37" fmla="*/ 44 h 93"/>
                      <a:gd name="T38" fmla="*/ 67 w 72"/>
                      <a:gd name="T39" fmla="*/ 35 h 93"/>
                      <a:gd name="T40" fmla="*/ 67 w 72"/>
                      <a:gd name="T41" fmla="*/ 22 h 93"/>
                      <a:gd name="T42" fmla="*/ 31 w 72"/>
                      <a:gd name="T43" fmla="*/ 17 h 93"/>
                      <a:gd name="T44" fmla="*/ 27 w 72"/>
                      <a:gd name="T45" fmla="*/ 13 h 93"/>
                      <a:gd name="T46" fmla="*/ 9 w 72"/>
                      <a:gd name="T47" fmla="*/ 0 h 93"/>
                      <a:gd name="T48" fmla="*/ 5 w 72"/>
                      <a:gd name="T49" fmla="*/ 4 h 93"/>
                      <a:gd name="T50" fmla="*/ 0 w 72"/>
                      <a:gd name="T51" fmla="*/ 17 h 93"/>
                      <a:gd name="T52" fmla="*/ 14 w 72"/>
                      <a:gd name="T53" fmla="*/ 22 h 93"/>
                      <a:gd name="T54" fmla="*/ 9 w 72"/>
                      <a:gd name="T55" fmla="*/ 26 h 93"/>
                      <a:gd name="T56" fmla="*/ 5 w 72"/>
                      <a:gd name="T57" fmla="*/ 31 h 93"/>
                      <a:gd name="T58" fmla="*/ 9 w 72"/>
                      <a:gd name="T59" fmla="*/ 35 h 93"/>
                      <a:gd name="T60" fmla="*/ 9 w 72"/>
                      <a:gd name="T61" fmla="*/ 44 h 93"/>
                      <a:gd name="T62" fmla="*/ 23 w 72"/>
                      <a:gd name="T63" fmla="*/ 7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93">
                        <a:moveTo>
                          <a:pt x="23" y="76"/>
                        </a:moveTo>
                        <a:lnTo>
                          <a:pt x="27" y="71"/>
                        </a:lnTo>
                        <a:lnTo>
                          <a:pt x="31" y="76"/>
                        </a:lnTo>
                        <a:lnTo>
                          <a:pt x="36" y="71"/>
                        </a:lnTo>
                        <a:lnTo>
                          <a:pt x="40" y="67"/>
                        </a:lnTo>
                        <a:lnTo>
                          <a:pt x="45" y="71"/>
                        </a:lnTo>
                        <a:lnTo>
                          <a:pt x="45" y="67"/>
                        </a:lnTo>
                        <a:lnTo>
                          <a:pt x="49" y="67"/>
                        </a:lnTo>
                        <a:lnTo>
                          <a:pt x="54" y="80"/>
                        </a:lnTo>
                        <a:lnTo>
                          <a:pt x="58" y="89"/>
                        </a:lnTo>
                        <a:lnTo>
                          <a:pt x="63" y="93"/>
                        </a:lnTo>
                        <a:lnTo>
                          <a:pt x="72" y="89"/>
                        </a:lnTo>
                        <a:lnTo>
                          <a:pt x="67" y="80"/>
                        </a:lnTo>
                        <a:lnTo>
                          <a:pt x="67" y="71"/>
                        </a:lnTo>
                        <a:lnTo>
                          <a:pt x="63" y="44"/>
                        </a:lnTo>
                        <a:lnTo>
                          <a:pt x="58" y="44"/>
                        </a:lnTo>
                        <a:lnTo>
                          <a:pt x="58" y="53"/>
                        </a:lnTo>
                        <a:lnTo>
                          <a:pt x="49" y="53"/>
                        </a:lnTo>
                        <a:lnTo>
                          <a:pt x="54" y="44"/>
                        </a:lnTo>
                        <a:lnTo>
                          <a:pt x="67" y="35"/>
                        </a:lnTo>
                        <a:lnTo>
                          <a:pt x="67" y="22"/>
                        </a:lnTo>
                        <a:lnTo>
                          <a:pt x="31" y="17"/>
                        </a:lnTo>
                        <a:lnTo>
                          <a:pt x="27" y="13"/>
                        </a:lnTo>
                        <a:lnTo>
                          <a:pt x="9" y="0"/>
                        </a:lnTo>
                        <a:lnTo>
                          <a:pt x="5" y="4"/>
                        </a:lnTo>
                        <a:lnTo>
                          <a:pt x="0" y="17"/>
                        </a:lnTo>
                        <a:lnTo>
                          <a:pt x="14" y="22"/>
                        </a:lnTo>
                        <a:lnTo>
                          <a:pt x="9" y="26"/>
                        </a:lnTo>
                        <a:lnTo>
                          <a:pt x="5" y="31"/>
                        </a:lnTo>
                        <a:lnTo>
                          <a:pt x="9" y="35"/>
                        </a:lnTo>
                        <a:lnTo>
                          <a:pt x="9" y="44"/>
                        </a:lnTo>
                        <a:lnTo>
                          <a:pt x="23" y="7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14" name="Freeform 111"/>
                  <p:cNvSpPr>
                    <a:spLocks/>
                  </p:cNvSpPr>
                  <p:nvPr/>
                </p:nvSpPr>
                <p:spPr bwMode="gray">
                  <a:xfrm>
                    <a:off x="3303" y="2122"/>
                    <a:ext cx="50" cy="50"/>
                  </a:xfrm>
                  <a:custGeom>
                    <a:avLst/>
                    <a:gdLst>
                      <a:gd name="T0" fmla="*/ 0 w 50"/>
                      <a:gd name="T1" fmla="*/ 0 h 50"/>
                      <a:gd name="T2" fmla="*/ 5 w 50"/>
                      <a:gd name="T3" fmla="*/ 18 h 50"/>
                      <a:gd name="T4" fmla="*/ 14 w 50"/>
                      <a:gd name="T5" fmla="*/ 23 h 50"/>
                      <a:gd name="T6" fmla="*/ 18 w 50"/>
                      <a:gd name="T7" fmla="*/ 32 h 50"/>
                      <a:gd name="T8" fmla="*/ 23 w 50"/>
                      <a:gd name="T9" fmla="*/ 32 h 50"/>
                      <a:gd name="T10" fmla="*/ 32 w 50"/>
                      <a:gd name="T11" fmla="*/ 36 h 50"/>
                      <a:gd name="T12" fmla="*/ 36 w 50"/>
                      <a:gd name="T13" fmla="*/ 36 h 50"/>
                      <a:gd name="T14" fmla="*/ 41 w 50"/>
                      <a:gd name="T15" fmla="*/ 36 h 50"/>
                      <a:gd name="T16" fmla="*/ 41 w 50"/>
                      <a:gd name="T17" fmla="*/ 50 h 50"/>
                      <a:gd name="T18" fmla="*/ 45 w 50"/>
                      <a:gd name="T19" fmla="*/ 50 h 50"/>
                      <a:gd name="T20" fmla="*/ 45 w 50"/>
                      <a:gd name="T21" fmla="*/ 45 h 50"/>
                      <a:gd name="T22" fmla="*/ 45 w 50"/>
                      <a:gd name="T23" fmla="*/ 41 h 50"/>
                      <a:gd name="T24" fmla="*/ 50 w 50"/>
                      <a:gd name="T25" fmla="*/ 41 h 50"/>
                      <a:gd name="T26" fmla="*/ 50 w 50"/>
                      <a:gd name="T27" fmla="*/ 36 h 50"/>
                      <a:gd name="T28" fmla="*/ 45 w 50"/>
                      <a:gd name="T29" fmla="*/ 36 h 50"/>
                      <a:gd name="T30" fmla="*/ 45 w 50"/>
                      <a:gd name="T31" fmla="*/ 32 h 50"/>
                      <a:gd name="T32" fmla="*/ 36 w 50"/>
                      <a:gd name="T33" fmla="*/ 27 h 50"/>
                      <a:gd name="T34" fmla="*/ 41 w 50"/>
                      <a:gd name="T35" fmla="*/ 23 h 50"/>
                      <a:gd name="T36" fmla="*/ 27 w 50"/>
                      <a:gd name="T37" fmla="*/ 14 h 50"/>
                      <a:gd name="T38" fmla="*/ 32 w 50"/>
                      <a:gd name="T39" fmla="*/ 14 h 50"/>
                      <a:gd name="T40" fmla="*/ 32 w 50"/>
                      <a:gd name="T41" fmla="*/ 9 h 50"/>
                      <a:gd name="T42" fmla="*/ 32 w 50"/>
                      <a:gd name="T43" fmla="*/ 5 h 50"/>
                      <a:gd name="T44" fmla="*/ 27 w 50"/>
                      <a:gd name="T45" fmla="*/ 9 h 50"/>
                      <a:gd name="T46" fmla="*/ 23 w 50"/>
                      <a:gd name="T47" fmla="*/ 5 h 50"/>
                      <a:gd name="T48" fmla="*/ 27 w 50"/>
                      <a:gd name="T49" fmla="*/ 5 h 50"/>
                      <a:gd name="T50" fmla="*/ 23 w 50"/>
                      <a:gd name="T51" fmla="*/ 5 h 50"/>
                      <a:gd name="T52" fmla="*/ 14 w 50"/>
                      <a:gd name="T53" fmla="*/ 0 h 50"/>
                      <a:gd name="T54" fmla="*/ 9 w 50"/>
                      <a:gd name="T55" fmla="*/ 5 h 50"/>
                      <a:gd name="T56" fmla="*/ 0 w 50"/>
                      <a:gd name="T5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50">
                        <a:moveTo>
                          <a:pt x="0" y="0"/>
                        </a:moveTo>
                        <a:lnTo>
                          <a:pt x="5" y="18"/>
                        </a:lnTo>
                        <a:lnTo>
                          <a:pt x="14" y="23"/>
                        </a:lnTo>
                        <a:lnTo>
                          <a:pt x="18" y="32"/>
                        </a:lnTo>
                        <a:lnTo>
                          <a:pt x="23" y="32"/>
                        </a:lnTo>
                        <a:lnTo>
                          <a:pt x="32" y="36"/>
                        </a:lnTo>
                        <a:lnTo>
                          <a:pt x="36" y="36"/>
                        </a:lnTo>
                        <a:lnTo>
                          <a:pt x="41" y="36"/>
                        </a:lnTo>
                        <a:lnTo>
                          <a:pt x="41" y="50"/>
                        </a:lnTo>
                        <a:lnTo>
                          <a:pt x="45" y="50"/>
                        </a:lnTo>
                        <a:lnTo>
                          <a:pt x="45" y="45"/>
                        </a:lnTo>
                        <a:lnTo>
                          <a:pt x="45" y="41"/>
                        </a:lnTo>
                        <a:lnTo>
                          <a:pt x="50" y="41"/>
                        </a:lnTo>
                        <a:lnTo>
                          <a:pt x="50" y="36"/>
                        </a:lnTo>
                        <a:lnTo>
                          <a:pt x="45" y="36"/>
                        </a:lnTo>
                        <a:lnTo>
                          <a:pt x="45" y="32"/>
                        </a:lnTo>
                        <a:lnTo>
                          <a:pt x="36" y="27"/>
                        </a:lnTo>
                        <a:lnTo>
                          <a:pt x="41" y="23"/>
                        </a:lnTo>
                        <a:lnTo>
                          <a:pt x="27" y="14"/>
                        </a:lnTo>
                        <a:lnTo>
                          <a:pt x="32" y="14"/>
                        </a:lnTo>
                        <a:lnTo>
                          <a:pt x="32" y="9"/>
                        </a:lnTo>
                        <a:lnTo>
                          <a:pt x="32" y="5"/>
                        </a:lnTo>
                        <a:lnTo>
                          <a:pt x="27" y="9"/>
                        </a:lnTo>
                        <a:lnTo>
                          <a:pt x="23" y="5"/>
                        </a:lnTo>
                        <a:lnTo>
                          <a:pt x="27" y="5"/>
                        </a:lnTo>
                        <a:lnTo>
                          <a:pt x="23" y="5"/>
                        </a:lnTo>
                        <a:lnTo>
                          <a:pt x="14" y="0"/>
                        </a:lnTo>
                        <a:lnTo>
                          <a:pt x="9" y="5"/>
                        </a:lnTo>
                        <a:lnTo>
                          <a:pt x="0"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15" name="Freeform 112"/>
                  <p:cNvSpPr>
                    <a:spLocks/>
                  </p:cNvSpPr>
                  <p:nvPr/>
                </p:nvSpPr>
                <p:spPr bwMode="gray">
                  <a:xfrm>
                    <a:off x="3956" y="2355"/>
                    <a:ext cx="40" cy="27"/>
                  </a:xfrm>
                  <a:custGeom>
                    <a:avLst/>
                    <a:gdLst>
                      <a:gd name="T0" fmla="*/ 0 w 40"/>
                      <a:gd name="T1" fmla="*/ 22 h 27"/>
                      <a:gd name="T2" fmla="*/ 0 w 40"/>
                      <a:gd name="T3" fmla="*/ 27 h 27"/>
                      <a:gd name="T4" fmla="*/ 4 w 40"/>
                      <a:gd name="T5" fmla="*/ 27 h 27"/>
                      <a:gd name="T6" fmla="*/ 17 w 40"/>
                      <a:gd name="T7" fmla="*/ 27 h 27"/>
                      <a:gd name="T8" fmla="*/ 22 w 40"/>
                      <a:gd name="T9" fmla="*/ 22 h 27"/>
                      <a:gd name="T10" fmla="*/ 40 w 40"/>
                      <a:gd name="T11" fmla="*/ 22 h 27"/>
                      <a:gd name="T12" fmla="*/ 40 w 40"/>
                      <a:gd name="T13" fmla="*/ 4 h 27"/>
                      <a:gd name="T14" fmla="*/ 35 w 40"/>
                      <a:gd name="T15" fmla="*/ 4 h 27"/>
                      <a:gd name="T16" fmla="*/ 26 w 40"/>
                      <a:gd name="T17" fmla="*/ 0 h 27"/>
                      <a:gd name="T18" fmla="*/ 13 w 40"/>
                      <a:gd name="T19" fmla="*/ 9 h 27"/>
                      <a:gd name="T20" fmla="*/ 0 w 40"/>
                      <a:gd name="T21"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7">
                        <a:moveTo>
                          <a:pt x="0" y="22"/>
                        </a:moveTo>
                        <a:lnTo>
                          <a:pt x="0" y="27"/>
                        </a:lnTo>
                        <a:lnTo>
                          <a:pt x="4" y="27"/>
                        </a:lnTo>
                        <a:lnTo>
                          <a:pt x="17" y="27"/>
                        </a:lnTo>
                        <a:lnTo>
                          <a:pt x="22" y="22"/>
                        </a:lnTo>
                        <a:lnTo>
                          <a:pt x="40" y="22"/>
                        </a:lnTo>
                        <a:lnTo>
                          <a:pt x="40" y="4"/>
                        </a:lnTo>
                        <a:lnTo>
                          <a:pt x="35" y="4"/>
                        </a:lnTo>
                        <a:lnTo>
                          <a:pt x="26" y="0"/>
                        </a:lnTo>
                        <a:lnTo>
                          <a:pt x="13" y="9"/>
                        </a:lnTo>
                        <a:lnTo>
                          <a:pt x="0" y="2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16" name="Freeform 113"/>
                  <p:cNvSpPr>
                    <a:spLocks noEditPoints="1"/>
                  </p:cNvSpPr>
                  <p:nvPr/>
                </p:nvSpPr>
                <p:spPr bwMode="gray">
                  <a:xfrm>
                    <a:off x="4934" y="2895"/>
                    <a:ext cx="71" cy="50"/>
                  </a:xfrm>
                  <a:custGeom>
                    <a:avLst/>
                    <a:gdLst>
                      <a:gd name="T0" fmla="*/ 4 w 71"/>
                      <a:gd name="T1" fmla="*/ 5 h 50"/>
                      <a:gd name="T2" fmla="*/ 0 w 71"/>
                      <a:gd name="T3" fmla="*/ 9 h 50"/>
                      <a:gd name="T4" fmla="*/ 4 w 71"/>
                      <a:gd name="T5" fmla="*/ 14 h 50"/>
                      <a:gd name="T6" fmla="*/ 9 w 71"/>
                      <a:gd name="T7" fmla="*/ 18 h 50"/>
                      <a:gd name="T8" fmla="*/ 13 w 71"/>
                      <a:gd name="T9" fmla="*/ 14 h 50"/>
                      <a:gd name="T10" fmla="*/ 9 w 71"/>
                      <a:gd name="T11" fmla="*/ 14 h 50"/>
                      <a:gd name="T12" fmla="*/ 4 w 71"/>
                      <a:gd name="T13" fmla="*/ 5 h 50"/>
                      <a:gd name="T14" fmla="*/ 18 w 71"/>
                      <a:gd name="T15" fmla="*/ 0 h 50"/>
                      <a:gd name="T16" fmla="*/ 13 w 71"/>
                      <a:gd name="T17" fmla="*/ 0 h 50"/>
                      <a:gd name="T18" fmla="*/ 18 w 71"/>
                      <a:gd name="T19" fmla="*/ 9 h 50"/>
                      <a:gd name="T20" fmla="*/ 31 w 71"/>
                      <a:gd name="T21" fmla="*/ 14 h 50"/>
                      <a:gd name="T22" fmla="*/ 36 w 71"/>
                      <a:gd name="T23" fmla="*/ 18 h 50"/>
                      <a:gd name="T24" fmla="*/ 31 w 71"/>
                      <a:gd name="T25" fmla="*/ 9 h 50"/>
                      <a:gd name="T26" fmla="*/ 18 w 71"/>
                      <a:gd name="T27" fmla="*/ 0 h 50"/>
                      <a:gd name="T28" fmla="*/ 31 w 71"/>
                      <a:gd name="T29" fmla="*/ 23 h 50"/>
                      <a:gd name="T30" fmla="*/ 27 w 71"/>
                      <a:gd name="T31" fmla="*/ 27 h 50"/>
                      <a:gd name="T32" fmla="*/ 40 w 71"/>
                      <a:gd name="T33" fmla="*/ 36 h 50"/>
                      <a:gd name="T34" fmla="*/ 45 w 71"/>
                      <a:gd name="T35" fmla="*/ 36 h 50"/>
                      <a:gd name="T36" fmla="*/ 49 w 71"/>
                      <a:gd name="T37" fmla="*/ 32 h 50"/>
                      <a:gd name="T38" fmla="*/ 40 w 71"/>
                      <a:gd name="T39" fmla="*/ 27 h 50"/>
                      <a:gd name="T40" fmla="*/ 31 w 71"/>
                      <a:gd name="T41" fmla="*/ 23 h 50"/>
                      <a:gd name="T42" fmla="*/ 49 w 71"/>
                      <a:gd name="T43" fmla="*/ 14 h 50"/>
                      <a:gd name="T44" fmla="*/ 53 w 71"/>
                      <a:gd name="T45" fmla="*/ 32 h 50"/>
                      <a:gd name="T46" fmla="*/ 58 w 71"/>
                      <a:gd name="T47" fmla="*/ 32 h 50"/>
                      <a:gd name="T48" fmla="*/ 58 w 71"/>
                      <a:gd name="T49" fmla="*/ 27 h 50"/>
                      <a:gd name="T50" fmla="*/ 58 w 71"/>
                      <a:gd name="T51" fmla="*/ 27 h 50"/>
                      <a:gd name="T52" fmla="*/ 49 w 71"/>
                      <a:gd name="T53" fmla="*/ 14 h 50"/>
                      <a:gd name="T54" fmla="*/ 53 w 71"/>
                      <a:gd name="T55" fmla="*/ 36 h 50"/>
                      <a:gd name="T56" fmla="*/ 53 w 71"/>
                      <a:gd name="T57" fmla="*/ 41 h 50"/>
                      <a:gd name="T58" fmla="*/ 67 w 71"/>
                      <a:gd name="T59" fmla="*/ 50 h 50"/>
                      <a:gd name="T60" fmla="*/ 71 w 71"/>
                      <a:gd name="T61" fmla="*/ 50 h 50"/>
                      <a:gd name="T62" fmla="*/ 67 w 71"/>
                      <a:gd name="T63" fmla="*/ 41 h 50"/>
                      <a:gd name="T64" fmla="*/ 53 w 71"/>
                      <a:gd name="T65"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 h="50">
                        <a:moveTo>
                          <a:pt x="4" y="5"/>
                        </a:moveTo>
                        <a:lnTo>
                          <a:pt x="0" y="9"/>
                        </a:lnTo>
                        <a:lnTo>
                          <a:pt x="4" y="14"/>
                        </a:lnTo>
                        <a:lnTo>
                          <a:pt x="9" y="18"/>
                        </a:lnTo>
                        <a:lnTo>
                          <a:pt x="13" y="14"/>
                        </a:lnTo>
                        <a:lnTo>
                          <a:pt x="9" y="14"/>
                        </a:lnTo>
                        <a:lnTo>
                          <a:pt x="4" y="5"/>
                        </a:lnTo>
                        <a:close/>
                        <a:moveTo>
                          <a:pt x="18" y="0"/>
                        </a:moveTo>
                        <a:lnTo>
                          <a:pt x="13" y="0"/>
                        </a:lnTo>
                        <a:lnTo>
                          <a:pt x="18" y="9"/>
                        </a:lnTo>
                        <a:lnTo>
                          <a:pt x="31" y="14"/>
                        </a:lnTo>
                        <a:lnTo>
                          <a:pt x="36" y="18"/>
                        </a:lnTo>
                        <a:lnTo>
                          <a:pt x="31" y="9"/>
                        </a:lnTo>
                        <a:lnTo>
                          <a:pt x="18" y="0"/>
                        </a:lnTo>
                        <a:close/>
                        <a:moveTo>
                          <a:pt x="31" y="23"/>
                        </a:moveTo>
                        <a:lnTo>
                          <a:pt x="27" y="27"/>
                        </a:lnTo>
                        <a:lnTo>
                          <a:pt x="40" y="36"/>
                        </a:lnTo>
                        <a:lnTo>
                          <a:pt x="45" y="36"/>
                        </a:lnTo>
                        <a:lnTo>
                          <a:pt x="49" y="32"/>
                        </a:lnTo>
                        <a:lnTo>
                          <a:pt x="40" y="27"/>
                        </a:lnTo>
                        <a:lnTo>
                          <a:pt x="31" y="23"/>
                        </a:lnTo>
                        <a:close/>
                        <a:moveTo>
                          <a:pt x="49" y="14"/>
                        </a:moveTo>
                        <a:lnTo>
                          <a:pt x="53" y="32"/>
                        </a:lnTo>
                        <a:lnTo>
                          <a:pt x="58" y="32"/>
                        </a:lnTo>
                        <a:lnTo>
                          <a:pt x="58" y="27"/>
                        </a:lnTo>
                        <a:lnTo>
                          <a:pt x="58" y="27"/>
                        </a:lnTo>
                        <a:lnTo>
                          <a:pt x="49" y="14"/>
                        </a:lnTo>
                        <a:close/>
                        <a:moveTo>
                          <a:pt x="53" y="36"/>
                        </a:moveTo>
                        <a:lnTo>
                          <a:pt x="53" y="41"/>
                        </a:lnTo>
                        <a:lnTo>
                          <a:pt x="67" y="50"/>
                        </a:lnTo>
                        <a:lnTo>
                          <a:pt x="71" y="50"/>
                        </a:lnTo>
                        <a:lnTo>
                          <a:pt x="67" y="41"/>
                        </a:lnTo>
                        <a:lnTo>
                          <a:pt x="53" y="3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17" name="Freeform 114"/>
                  <p:cNvSpPr>
                    <a:spLocks/>
                  </p:cNvSpPr>
                  <p:nvPr/>
                </p:nvSpPr>
                <p:spPr bwMode="gray">
                  <a:xfrm>
                    <a:off x="4313" y="2703"/>
                    <a:ext cx="22" cy="18"/>
                  </a:xfrm>
                  <a:custGeom>
                    <a:avLst/>
                    <a:gdLst>
                      <a:gd name="T0" fmla="*/ 0 w 22"/>
                      <a:gd name="T1" fmla="*/ 9 h 18"/>
                      <a:gd name="T2" fmla="*/ 4 w 22"/>
                      <a:gd name="T3" fmla="*/ 14 h 18"/>
                      <a:gd name="T4" fmla="*/ 13 w 22"/>
                      <a:gd name="T5" fmla="*/ 18 h 18"/>
                      <a:gd name="T6" fmla="*/ 13 w 22"/>
                      <a:gd name="T7" fmla="*/ 9 h 18"/>
                      <a:gd name="T8" fmla="*/ 18 w 22"/>
                      <a:gd name="T9" fmla="*/ 14 h 18"/>
                      <a:gd name="T10" fmla="*/ 22 w 22"/>
                      <a:gd name="T11" fmla="*/ 0 h 18"/>
                      <a:gd name="T12" fmla="*/ 18 w 22"/>
                      <a:gd name="T13" fmla="*/ 5 h 18"/>
                      <a:gd name="T14" fmla="*/ 18 w 22"/>
                      <a:gd name="T15" fmla="*/ 0 h 18"/>
                      <a:gd name="T16" fmla="*/ 0 w 22"/>
                      <a:gd name="T1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8">
                        <a:moveTo>
                          <a:pt x="0" y="9"/>
                        </a:moveTo>
                        <a:lnTo>
                          <a:pt x="4" y="14"/>
                        </a:lnTo>
                        <a:lnTo>
                          <a:pt x="13" y="18"/>
                        </a:lnTo>
                        <a:lnTo>
                          <a:pt x="13" y="9"/>
                        </a:lnTo>
                        <a:lnTo>
                          <a:pt x="18" y="14"/>
                        </a:lnTo>
                        <a:lnTo>
                          <a:pt x="22" y="0"/>
                        </a:lnTo>
                        <a:lnTo>
                          <a:pt x="18" y="5"/>
                        </a:lnTo>
                        <a:lnTo>
                          <a:pt x="18" y="0"/>
                        </a:lnTo>
                        <a:lnTo>
                          <a:pt x="0"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18" name="Freeform 115"/>
                  <p:cNvSpPr>
                    <a:spLocks/>
                  </p:cNvSpPr>
                  <p:nvPr/>
                </p:nvSpPr>
                <p:spPr bwMode="gray">
                  <a:xfrm>
                    <a:off x="4005" y="2350"/>
                    <a:ext cx="125" cy="286"/>
                  </a:xfrm>
                  <a:custGeom>
                    <a:avLst/>
                    <a:gdLst>
                      <a:gd name="T0" fmla="*/ 0 w 125"/>
                      <a:gd name="T1" fmla="*/ 125 h 286"/>
                      <a:gd name="T2" fmla="*/ 9 w 125"/>
                      <a:gd name="T3" fmla="*/ 121 h 286"/>
                      <a:gd name="T4" fmla="*/ 4 w 125"/>
                      <a:gd name="T5" fmla="*/ 112 h 286"/>
                      <a:gd name="T6" fmla="*/ 9 w 125"/>
                      <a:gd name="T7" fmla="*/ 108 h 286"/>
                      <a:gd name="T8" fmla="*/ 9 w 125"/>
                      <a:gd name="T9" fmla="*/ 94 h 286"/>
                      <a:gd name="T10" fmla="*/ 13 w 125"/>
                      <a:gd name="T11" fmla="*/ 94 h 286"/>
                      <a:gd name="T12" fmla="*/ 13 w 125"/>
                      <a:gd name="T13" fmla="*/ 72 h 286"/>
                      <a:gd name="T14" fmla="*/ 22 w 125"/>
                      <a:gd name="T15" fmla="*/ 67 h 286"/>
                      <a:gd name="T16" fmla="*/ 31 w 125"/>
                      <a:gd name="T17" fmla="*/ 54 h 286"/>
                      <a:gd name="T18" fmla="*/ 31 w 125"/>
                      <a:gd name="T19" fmla="*/ 45 h 286"/>
                      <a:gd name="T20" fmla="*/ 44 w 125"/>
                      <a:gd name="T21" fmla="*/ 23 h 286"/>
                      <a:gd name="T22" fmla="*/ 58 w 125"/>
                      <a:gd name="T23" fmla="*/ 18 h 286"/>
                      <a:gd name="T24" fmla="*/ 62 w 125"/>
                      <a:gd name="T25" fmla="*/ 18 h 286"/>
                      <a:gd name="T26" fmla="*/ 62 w 125"/>
                      <a:gd name="T27" fmla="*/ 9 h 286"/>
                      <a:gd name="T28" fmla="*/ 76 w 125"/>
                      <a:gd name="T29" fmla="*/ 0 h 286"/>
                      <a:gd name="T30" fmla="*/ 85 w 125"/>
                      <a:gd name="T31" fmla="*/ 9 h 286"/>
                      <a:gd name="T32" fmla="*/ 85 w 125"/>
                      <a:gd name="T33" fmla="*/ 40 h 286"/>
                      <a:gd name="T34" fmla="*/ 71 w 125"/>
                      <a:gd name="T35" fmla="*/ 54 h 286"/>
                      <a:gd name="T36" fmla="*/ 76 w 125"/>
                      <a:gd name="T37" fmla="*/ 76 h 286"/>
                      <a:gd name="T38" fmla="*/ 89 w 125"/>
                      <a:gd name="T39" fmla="*/ 67 h 286"/>
                      <a:gd name="T40" fmla="*/ 89 w 125"/>
                      <a:gd name="T41" fmla="*/ 81 h 286"/>
                      <a:gd name="T42" fmla="*/ 102 w 125"/>
                      <a:gd name="T43" fmla="*/ 90 h 286"/>
                      <a:gd name="T44" fmla="*/ 89 w 125"/>
                      <a:gd name="T45" fmla="*/ 103 h 286"/>
                      <a:gd name="T46" fmla="*/ 111 w 125"/>
                      <a:gd name="T47" fmla="*/ 112 h 286"/>
                      <a:gd name="T48" fmla="*/ 120 w 125"/>
                      <a:gd name="T49" fmla="*/ 108 h 286"/>
                      <a:gd name="T50" fmla="*/ 125 w 125"/>
                      <a:gd name="T51" fmla="*/ 108 h 286"/>
                      <a:gd name="T52" fmla="*/ 125 w 125"/>
                      <a:gd name="T53" fmla="*/ 112 h 286"/>
                      <a:gd name="T54" fmla="*/ 120 w 125"/>
                      <a:gd name="T55" fmla="*/ 116 h 286"/>
                      <a:gd name="T56" fmla="*/ 111 w 125"/>
                      <a:gd name="T57" fmla="*/ 130 h 286"/>
                      <a:gd name="T58" fmla="*/ 102 w 125"/>
                      <a:gd name="T59" fmla="*/ 130 h 286"/>
                      <a:gd name="T60" fmla="*/ 89 w 125"/>
                      <a:gd name="T61" fmla="*/ 139 h 286"/>
                      <a:gd name="T62" fmla="*/ 80 w 125"/>
                      <a:gd name="T63" fmla="*/ 143 h 286"/>
                      <a:gd name="T64" fmla="*/ 71 w 125"/>
                      <a:gd name="T65" fmla="*/ 161 h 286"/>
                      <a:gd name="T66" fmla="*/ 76 w 125"/>
                      <a:gd name="T67" fmla="*/ 166 h 286"/>
                      <a:gd name="T68" fmla="*/ 76 w 125"/>
                      <a:gd name="T69" fmla="*/ 179 h 286"/>
                      <a:gd name="T70" fmla="*/ 85 w 125"/>
                      <a:gd name="T71" fmla="*/ 188 h 286"/>
                      <a:gd name="T72" fmla="*/ 89 w 125"/>
                      <a:gd name="T73" fmla="*/ 201 h 286"/>
                      <a:gd name="T74" fmla="*/ 80 w 125"/>
                      <a:gd name="T75" fmla="*/ 210 h 286"/>
                      <a:gd name="T76" fmla="*/ 85 w 125"/>
                      <a:gd name="T77" fmla="*/ 215 h 286"/>
                      <a:gd name="T78" fmla="*/ 102 w 125"/>
                      <a:gd name="T79" fmla="*/ 233 h 286"/>
                      <a:gd name="T80" fmla="*/ 98 w 125"/>
                      <a:gd name="T81" fmla="*/ 251 h 286"/>
                      <a:gd name="T82" fmla="*/ 102 w 125"/>
                      <a:gd name="T83" fmla="*/ 264 h 286"/>
                      <a:gd name="T84" fmla="*/ 98 w 125"/>
                      <a:gd name="T85" fmla="*/ 273 h 286"/>
                      <a:gd name="T86" fmla="*/ 94 w 125"/>
                      <a:gd name="T87" fmla="*/ 277 h 286"/>
                      <a:gd name="T88" fmla="*/ 89 w 125"/>
                      <a:gd name="T89" fmla="*/ 286 h 286"/>
                      <a:gd name="T90" fmla="*/ 85 w 125"/>
                      <a:gd name="T91" fmla="*/ 282 h 286"/>
                      <a:gd name="T92" fmla="*/ 94 w 125"/>
                      <a:gd name="T93" fmla="*/ 264 h 286"/>
                      <a:gd name="T94" fmla="*/ 89 w 125"/>
                      <a:gd name="T95" fmla="*/ 255 h 286"/>
                      <a:gd name="T96" fmla="*/ 89 w 125"/>
                      <a:gd name="T97" fmla="*/ 242 h 286"/>
                      <a:gd name="T98" fmla="*/ 80 w 125"/>
                      <a:gd name="T99" fmla="*/ 228 h 286"/>
                      <a:gd name="T100" fmla="*/ 76 w 125"/>
                      <a:gd name="T101" fmla="*/ 215 h 286"/>
                      <a:gd name="T102" fmla="*/ 76 w 125"/>
                      <a:gd name="T103" fmla="*/ 197 h 286"/>
                      <a:gd name="T104" fmla="*/ 62 w 125"/>
                      <a:gd name="T105" fmla="*/ 183 h 286"/>
                      <a:gd name="T106" fmla="*/ 53 w 125"/>
                      <a:gd name="T107" fmla="*/ 188 h 286"/>
                      <a:gd name="T108" fmla="*/ 44 w 125"/>
                      <a:gd name="T109" fmla="*/ 201 h 286"/>
                      <a:gd name="T110" fmla="*/ 22 w 125"/>
                      <a:gd name="T111" fmla="*/ 197 h 286"/>
                      <a:gd name="T112" fmla="*/ 27 w 125"/>
                      <a:gd name="T113" fmla="*/ 183 h 286"/>
                      <a:gd name="T114" fmla="*/ 31 w 125"/>
                      <a:gd name="T115" fmla="*/ 175 h 286"/>
                      <a:gd name="T116" fmla="*/ 22 w 125"/>
                      <a:gd name="T117" fmla="*/ 139 h 286"/>
                      <a:gd name="T118" fmla="*/ 13 w 125"/>
                      <a:gd name="T119" fmla="*/ 134 h 286"/>
                      <a:gd name="T120" fmla="*/ 9 w 125"/>
                      <a:gd name="T121" fmla="*/ 139 h 286"/>
                      <a:gd name="T122" fmla="*/ 0 w 125"/>
                      <a:gd name="T123" fmla="*/ 125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5" h="286">
                        <a:moveTo>
                          <a:pt x="0" y="125"/>
                        </a:moveTo>
                        <a:lnTo>
                          <a:pt x="9" y="121"/>
                        </a:lnTo>
                        <a:lnTo>
                          <a:pt x="4" y="112"/>
                        </a:lnTo>
                        <a:lnTo>
                          <a:pt x="9" y="108"/>
                        </a:lnTo>
                        <a:lnTo>
                          <a:pt x="9" y="94"/>
                        </a:lnTo>
                        <a:lnTo>
                          <a:pt x="13" y="94"/>
                        </a:lnTo>
                        <a:lnTo>
                          <a:pt x="13" y="72"/>
                        </a:lnTo>
                        <a:lnTo>
                          <a:pt x="22" y="67"/>
                        </a:lnTo>
                        <a:lnTo>
                          <a:pt x="31" y="54"/>
                        </a:lnTo>
                        <a:lnTo>
                          <a:pt x="31" y="45"/>
                        </a:lnTo>
                        <a:lnTo>
                          <a:pt x="44" y="23"/>
                        </a:lnTo>
                        <a:lnTo>
                          <a:pt x="58" y="18"/>
                        </a:lnTo>
                        <a:lnTo>
                          <a:pt x="62" y="18"/>
                        </a:lnTo>
                        <a:lnTo>
                          <a:pt x="62" y="9"/>
                        </a:lnTo>
                        <a:lnTo>
                          <a:pt x="76" y="0"/>
                        </a:lnTo>
                        <a:lnTo>
                          <a:pt x="85" y="9"/>
                        </a:lnTo>
                        <a:lnTo>
                          <a:pt x="85" y="40"/>
                        </a:lnTo>
                        <a:lnTo>
                          <a:pt x="71" y="54"/>
                        </a:lnTo>
                        <a:lnTo>
                          <a:pt x="76" y="76"/>
                        </a:lnTo>
                        <a:lnTo>
                          <a:pt x="89" y="67"/>
                        </a:lnTo>
                        <a:lnTo>
                          <a:pt x="89" y="81"/>
                        </a:lnTo>
                        <a:lnTo>
                          <a:pt x="102" y="90"/>
                        </a:lnTo>
                        <a:lnTo>
                          <a:pt x="89" y="103"/>
                        </a:lnTo>
                        <a:lnTo>
                          <a:pt x="111" y="112"/>
                        </a:lnTo>
                        <a:lnTo>
                          <a:pt x="120" y="108"/>
                        </a:lnTo>
                        <a:lnTo>
                          <a:pt x="125" y="108"/>
                        </a:lnTo>
                        <a:lnTo>
                          <a:pt x="125" y="112"/>
                        </a:lnTo>
                        <a:lnTo>
                          <a:pt x="120" y="116"/>
                        </a:lnTo>
                        <a:lnTo>
                          <a:pt x="111" y="130"/>
                        </a:lnTo>
                        <a:lnTo>
                          <a:pt x="102" y="130"/>
                        </a:lnTo>
                        <a:lnTo>
                          <a:pt x="89" y="139"/>
                        </a:lnTo>
                        <a:lnTo>
                          <a:pt x="80" y="143"/>
                        </a:lnTo>
                        <a:lnTo>
                          <a:pt x="71" y="161"/>
                        </a:lnTo>
                        <a:lnTo>
                          <a:pt x="76" y="166"/>
                        </a:lnTo>
                        <a:lnTo>
                          <a:pt x="76" y="179"/>
                        </a:lnTo>
                        <a:lnTo>
                          <a:pt x="85" y="188"/>
                        </a:lnTo>
                        <a:lnTo>
                          <a:pt x="89" y="201"/>
                        </a:lnTo>
                        <a:lnTo>
                          <a:pt x="80" y="210"/>
                        </a:lnTo>
                        <a:lnTo>
                          <a:pt x="85" y="215"/>
                        </a:lnTo>
                        <a:lnTo>
                          <a:pt x="102" y="233"/>
                        </a:lnTo>
                        <a:lnTo>
                          <a:pt x="98" y="251"/>
                        </a:lnTo>
                        <a:lnTo>
                          <a:pt x="102" y="264"/>
                        </a:lnTo>
                        <a:lnTo>
                          <a:pt x="98" y="273"/>
                        </a:lnTo>
                        <a:lnTo>
                          <a:pt x="94" y="277"/>
                        </a:lnTo>
                        <a:lnTo>
                          <a:pt x="89" y="286"/>
                        </a:lnTo>
                        <a:lnTo>
                          <a:pt x="85" y="282"/>
                        </a:lnTo>
                        <a:lnTo>
                          <a:pt x="94" y="264"/>
                        </a:lnTo>
                        <a:lnTo>
                          <a:pt x="89" y="255"/>
                        </a:lnTo>
                        <a:lnTo>
                          <a:pt x="89" y="242"/>
                        </a:lnTo>
                        <a:lnTo>
                          <a:pt x="80" y="228"/>
                        </a:lnTo>
                        <a:lnTo>
                          <a:pt x="76" y="215"/>
                        </a:lnTo>
                        <a:lnTo>
                          <a:pt x="76" y="197"/>
                        </a:lnTo>
                        <a:lnTo>
                          <a:pt x="62" y="183"/>
                        </a:lnTo>
                        <a:lnTo>
                          <a:pt x="53" y="188"/>
                        </a:lnTo>
                        <a:lnTo>
                          <a:pt x="44" y="201"/>
                        </a:lnTo>
                        <a:lnTo>
                          <a:pt x="22" y="197"/>
                        </a:lnTo>
                        <a:lnTo>
                          <a:pt x="27" y="183"/>
                        </a:lnTo>
                        <a:lnTo>
                          <a:pt x="31" y="175"/>
                        </a:lnTo>
                        <a:lnTo>
                          <a:pt x="22" y="139"/>
                        </a:lnTo>
                        <a:lnTo>
                          <a:pt x="13" y="134"/>
                        </a:lnTo>
                        <a:lnTo>
                          <a:pt x="9" y="139"/>
                        </a:lnTo>
                        <a:lnTo>
                          <a:pt x="0" y="12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19" name="Freeform 116"/>
                  <p:cNvSpPr>
                    <a:spLocks/>
                  </p:cNvSpPr>
                  <p:nvPr/>
                </p:nvSpPr>
                <p:spPr bwMode="gray">
                  <a:xfrm>
                    <a:off x="4148" y="2565"/>
                    <a:ext cx="71" cy="71"/>
                  </a:xfrm>
                  <a:custGeom>
                    <a:avLst/>
                    <a:gdLst>
                      <a:gd name="T0" fmla="*/ 9 w 71"/>
                      <a:gd name="T1" fmla="*/ 49 h 71"/>
                      <a:gd name="T2" fmla="*/ 9 w 71"/>
                      <a:gd name="T3" fmla="*/ 62 h 71"/>
                      <a:gd name="T4" fmla="*/ 18 w 71"/>
                      <a:gd name="T5" fmla="*/ 58 h 71"/>
                      <a:gd name="T6" fmla="*/ 18 w 71"/>
                      <a:gd name="T7" fmla="*/ 62 h 71"/>
                      <a:gd name="T8" fmla="*/ 13 w 71"/>
                      <a:gd name="T9" fmla="*/ 67 h 71"/>
                      <a:gd name="T10" fmla="*/ 18 w 71"/>
                      <a:gd name="T11" fmla="*/ 71 h 71"/>
                      <a:gd name="T12" fmla="*/ 22 w 71"/>
                      <a:gd name="T13" fmla="*/ 67 h 71"/>
                      <a:gd name="T14" fmla="*/ 31 w 71"/>
                      <a:gd name="T15" fmla="*/ 67 h 71"/>
                      <a:gd name="T16" fmla="*/ 40 w 71"/>
                      <a:gd name="T17" fmla="*/ 53 h 71"/>
                      <a:gd name="T18" fmla="*/ 53 w 71"/>
                      <a:gd name="T19" fmla="*/ 53 h 71"/>
                      <a:gd name="T20" fmla="*/ 53 w 71"/>
                      <a:gd name="T21" fmla="*/ 44 h 71"/>
                      <a:gd name="T22" fmla="*/ 62 w 71"/>
                      <a:gd name="T23" fmla="*/ 44 h 71"/>
                      <a:gd name="T24" fmla="*/ 71 w 71"/>
                      <a:gd name="T25" fmla="*/ 36 h 71"/>
                      <a:gd name="T26" fmla="*/ 71 w 71"/>
                      <a:gd name="T27" fmla="*/ 9 h 71"/>
                      <a:gd name="T28" fmla="*/ 67 w 71"/>
                      <a:gd name="T29" fmla="*/ 4 h 71"/>
                      <a:gd name="T30" fmla="*/ 58 w 71"/>
                      <a:gd name="T31" fmla="*/ 0 h 71"/>
                      <a:gd name="T32" fmla="*/ 53 w 71"/>
                      <a:gd name="T33" fmla="*/ 0 h 71"/>
                      <a:gd name="T34" fmla="*/ 49 w 71"/>
                      <a:gd name="T35" fmla="*/ 9 h 71"/>
                      <a:gd name="T36" fmla="*/ 40 w 71"/>
                      <a:gd name="T37" fmla="*/ 9 h 71"/>
                      <a:gd name="T38" fmla="*/ 35 w 71"/>
                      <a:gd name="T39" fmla="*/ 4 h 71"/>
                      <a:gd name="T40" fmla="*/ 9 w 71"/>
                      <a:gd name="T41" fmla="*/ 9 h 71"/>
                      <a:gd name="T42" fmla="*/ 0 w 71"/>
                      <a:gd name="T43" fmla="*/ 22 h 71"/>
                      <a:gd name="T44" fmla="*/ 9 w 71"/>
                      <a:gd name="T45" fmla="*/ 40 h 71"/>
                      <a:gd name="T46" fmla="*/ 9 w 71"/>
                      <a:gd name="T47" fmla="*/ 4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71">
                        <a:moveTo>
                          <a:pt x="9" y="49"/>
                        </a:moveTo>
                        <a:lnTo>
                          <a:pt x="9" y="62"/>
                        </a:lnTo>
                        <a:lnTo>
                          <a:pt x="18" y="58"/>
                        </a:lnTo>
                        <a:lnTo>
                          <a:pt x="18" y="62"/>
                        </a:lnTo>
                        <a:lnTo>
                          <a:pt x="13" y="67"/>
                        </a:lnTo>
                        <a:lnTo>
                          <a:pt x="18" y="71"/>
                        </a:lnTo>
                        <a:lnTo>
                          <a:pt x="22" y="67"/>
                        </a:lnTo>
                        <a:lnTo>
                          <a:pt x="31" y="67"/>
                        </a:lnTo>
                        <a:lnTo>
                          <a:pt x="40" y="53"/>
                        </a:lnTo>
                        <a:lnTo>
                          <a:pt x="53" y="53"/>
                        </a:lnTo>
                        <a:lnTo>
                          <a:pt x="53" y="44"/>
                        </a:lnTo>
                        <a:lnTo>
                          <a:pt x="62" y="44"/>
                        </a:lnTo>
                        <a:lnTo>
                          <a:pt x="71" y="36"/>
                        </a:lnTo>
                        <a:lnTo>
                          <a:pt x="71" y="9"/>
                        </a:lnTo>
                        <a:lnTo>
                          <a:pt x="67" y="4"/>
                        </a:lnTo>
                        <a:lnTo>
                          <a:pt x="58" y="0"/>
                        </a:lnTo>
                        <a:lnTo>
                          <a:pt x="53" y="0"/>
                        </a:lnTo>
                        <a:lnTo>
                          <a:pt x="49" y="9"/>
                        </a:lnTo>
                        <a:lnTo>
                          <a:pt x="40" y="9"/>
                        </a:lnTo>
                        <a:lnTo>
                          <a:pt x="35" y="4"/>
                        </a:lnTo>
                        <a:lnTo>
                          <a:pt x="9" y="9"/>
                        </a:lnTo>
                        <a:lnTo>
                          <a:pt x="0" y="22"/>
                        </a:lnTo>
                        <a:lnTo>
                          <a:pt x="9" y="40"/>
                        </a:lnTo>
                        <a:lnTo>
                          <a:pt x="9" y="4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20" name="Freeform 117"/>
                  <p:cNvSpPr>
                    <a:spLocks/>
                  </p:cNvSpPr>
                  <p:nvPr/>
                </p:nvSpPr>
                <p:spPr bwMode="gray">
                  <a:xfrm>
                    <a:off x="3822" y="2641"/>
                    <a:ext cx="35" cy="53"/>
                  </a:xfrm>
                  <a:custGeom>
                    <a:avLst/>
                    <a:gdLst>
                      <a:gd name="T0" fmla="*/ 0 w 35"/>
                      <a:gd name="T1" fmla="*/ 40 h 53"/>
                      <a:gd name="T2" fmla="*/ 9 w 35"/>
                      <a:gd name="T3" fmla="*/ 53 h 53"/>
                      <a:gd name="T4" fmla="*/ 22 w 35"/>
                      <a:gd name="T5" fmla="*/ 53 h 53"/>
                      <a:gd name="T6" fmla="*/ 35 w 35"/>
                      <a:gd name="T7" fmla="*/ 44 h 53"/>
                      <a:gd name="T8" fmla="*/ 35 w 35"/>
                      <a:gd name="T9" fmla="*/ 31 h 53"/>
                      <a:gd name="T10" fmla="*/ 22 w 35"/>
                      <a:gd name="T11" fmla="*/ 4 h 53"/>
                      <a:gd name="T12" fmla="*/ 9 w 35"/>
                      <a:gd name="T13" fmla="*/ 0 h 53"/>
                      <a:gd name="T14" fmla="*/ 4 w 35"/>
                      <a:gd name="T15" fmla="*/ 4 h 53"/>
                      <a:gd name="T16" fmla="*/ 9 w 35"/>
                      <a:gd name="T17" fmla="*/ 9 h 53"/>
                      <a:gd name="T18" fmla="*/ 4 w 35"/>
                      <a:gd name="T19" fmla="*/ 13 h 53"/>
                      <a:gd name="T20" fmla="*/ 4 w 35"/>
                      <a:gd name="T21" fmla="*/ 22 h 53"/>
                      <a:gd name="T22" fmla="*/ 0 w 35"/>
                      <a:gd name="T23" fmla="*/ 22 h 53"/>
                      <a:gd name="T24" fmla="*/ 4 w 35"/>
                      <a:gd name="T25" fmla="*/ 35 h 53"/>
                      <a:gd name="T26" fmla="*/ 0 w 35"/>
                      <a:gd name="T27" fmla="*/ 4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53">
                        <a:moveTo>
                          <a:pt x="0" y="40"/>
                        </a:moveTo>
                        <a:lnTo>
                          <a:pt x="9" y="53"/>
                        </a:lnTo>
                        <a:lnTo>
                          <a:pt x="22" y="53"/>
                        </a:lnTo>
                        <a:lnTo>
                          <a:pt x="35" y="44"/>
                        </a:lnTo>
                        <a:lnTo>
                          <a:pt x="35" y="31"/>
                        </a:lnTo>
                        <a:lnTo>
                          <a:pt x="22" y="4"/>
                        </a:lnTo>
                        <a:lnTo>
                          <a:pt x="9" y="0"/>
                        </a:lnTo>
                        <a:lnTo>
                          <a:pt x="4" y="4"/>
                        </a:lnTo>
                        <a:lnTo>
                          <a:pt x="9" y="9"/>
                        </a:lnTo>
                        <a:lnTo>
                          <a:pt x="4" y="13"/>
                        </a:lnTo>
                        <a:lnTo>
                          <a:pt x="4" y="22"/>
                        </a:lnTo>
                        <a:lnTo>
                          <a:pt x="0" y="22"/>
                        </a:lnTo>
                        <a:lnTo>
                          <a:pt x="4" y="35"/>
                        </a:lnTo>
                        <a:lnTo>
                          <a:pt x="0" y="4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21" name="Freeform 118"/>
                  <p:cNvSpPr>
                    <a:spLocks noEditPoints="1"/>
                  </p:cNvSpPr>
                  <p:nvPr/>
                </p:nvSpPr>
                <p:spPr bwMode="gray">
                  <a:xfrm>
                    <a:off x="3737" y="1850"/>
                    <a:ext cx="875" cy="661"/>
                  </a:xfrm>
                  <a:custGeom>
                    <a:avLst/>
                    <a:gdLst>
                      <a:gd name="T0" fmla="*/ 18 w 875"/>
                      <a:gd name="T1" fmla="*/ 339 h 661"/>
                      <a:gd name="T2" fmla="*/ 13 w 875"/>
                      <a:gd name="T3" fmla="*/ 353 h 661"/>
                      <a:gd name="T4" fmla="*/ 71 w 875"/>
                      <a:gd name="T5" fmla="*/ 366 h 661"/>
                      <a:gd name="T6" fmla="*/ 71 w 875"/>
                      <a:gd name="T7" fmla="*/ 433 h 661"/>
                      <a:gd name="T8" fmla="*/ 120 w 875"/>
                      <a:gd name="T9" fmla="*/ 473 h 661"/>
                      <a:gd name="T10" fmla="*/ 210 w 875"/>
                      <a:gd name="T11" fmla="*/ 514 h 661"/>
                      <a:gd name="T12" fmla="*/ 219 w 875"/>
                      <a:gd name="T13" fmla="*/ 527 h 661"/>
                      <a:gd name="T14" fmla="*/ 259 w 875"/>
                      <a:gd name="T15" fmla="*/ 509 h 661"/>
                      <a:gd name="T16" fmla="*/ 303 w 875"/>
                      <a:gd name="T17" fmla="*/ 500 h 661"/>
                      <a:gd name="T18" fmla="*/ 344 w 875"/>
                      <a:gd name="T19" fmla="*/ 500 h 661"/>
                      <a:gd name="T20" fmla="*/ 344 w 875"/>
                      <a:gd name="T21" fmla="*/ 576 h 661"/>
                      <a:gd name="T22" fmla="*/ 357 w 875"/>
                      <a:gd name="T23" fmla="*/ 603 h 661"/>
                      <a:gd name="T24" fmla="*/ 393 w 875"/>
                      <a:gd name="T25" fmla="*/ 612 h 661"/>
                      <a:gd name="T26" fmla="*/ 406 w 875"/>
                      <a:gd name="T27" fmla="*/ 599 h 661"/>
                      <a:gd name="T28" fmla="*/ 455 w 875"/>
                      <a:gd name="T29" fmla="*/ 585 h 661"/>
                      <a:gd name="T30" fmla="*/ 487 w 875"/>
                      <a:gd name="T31" fmla="*/ 608 h 661"/>
                      <a:gd name="T32" fmla="*/ 513 w 875"/>
                      <a:gd name="T33" fmla="*/ 621 h 661"/>
                      <a:gd name="T34" fmla="*/ 522 w 875"/>
                      <a:gd name="T35" fmla="*/ 612 h 661"/>
                      <a:gd name="T36" fmla="*/ 567 w 875"/>
                      <a:gd name="T37" fmla="*/ 594 h 661"/>
                      <a:gd name="T38" fmla="*/ 589 w 875"/>
                      <a:gd name="T39" fmla="*/ 585 h 661"/>
                      <a:gd name="T40" fmla="*/ 612 w 875"/>
                      <a:gd name="T41" fmla="*/ 585 h 661"/>
                      <a:gd name="T42" fmla="*/ 638 w 875"/>
                      <a:gd name="T43" fmla="*/ 567 h 661"/>
                      <a:gd name="T44" fmla="*/ 665 w 875"/>
                      <a:gd name="T45" fmla="*/ 532 h 661"/>
                      <a:gd name="T46" fmla="*/ 683 w 875"/>
                      <a:gd name="T47" fmla="*/ 482 h 661"/>
                      <a:gd name="T48" fmla="*/ 688 w 875"/>
                      <a:gd name="T49" fmla="*/ 451 h 661"/>
                      <a:gd name="T50" fmla="*/ 674 w 875"/>
                      <a:gd name="T51" fmla="*/ 424 h 661"/>
                      <a:gd name="T52" fmla="*/ 656 w 875"/>
                      <a:gd name="T53" fmla="*/ 375 h 661"/>
                      <a:gd name="T54" fmla="*/ 701 w 875"/>
                      <a:gd name="T55" fmla="*/ 344 h 661"/>
                      <a:gd name="T56" fmla="*/ 643 w 875"/>
                      <a:gd name="T57" fmla="*/ 339 h 661"/>
                      <a:gd name="T58" fmla="*/ 656 w 875"/>
                      <a:gd name="T59" fmla="*/ 299 h 661"/>
                      <a:gd name="T60" fmla="*/ 692 w 875"/>
                      <a:gd name="T61" fmla="*/ 286 h 661"/>
                      <a:gd name="T62" fmla="*/ 674 w 875"/>
                      <a:gd name="T63" fmla="*/ 317 h 661"/>
                      <a:gd name="T64" fmla="*/ 719 w 875"/>
                      <a:gd name="T65" fmla="*/ 295 h 661"/>
                      <a:gd name="T66" fmla="*/ 764 w 875"/>
                      <a:gd name="T67" fmla="*/ 259 h 661"/>
                      <a:gd name="T68" fmla="*/ 804 w 875"/>
                      <a:gd name="T69" fmla="*/ 232 h 661"/>
                      <a:gd name="T70" fmla="*/ 822 w 875"/>
                      <a:gd name="T71" fmla="*/ 223 h 661"/>
                      <a:gd name="T72" fmla="*/ 875 w 875"/>
                      <a:gd name="T73" fmla="*/ 143 h 661"/>
                      <a:gd name="T74" fmla="*/ 817 w 875"/>
                      <a:gd name="T75" fmla="*/ 134 h 661"/>
                      <a:gd name="T76" fmla="*/ 781 w 875"/>
                      <a:gd name="T77" fmla="*/ 98 h 661"/>
                      <a:gd name="T78" fmla="*/ 714 w 875"/>
                      <a:gd name="T79" fmla="*/ 4 h 661"/>
                      <a:gd name="T80" fmla="*/ 661 w 875"/>
                      <a:gd name="T81" fmla="*/ 27 h 661"/>
                      <a:gd name="T82" fmla="*/ 652 w 875"/>
                      <a:gd name="T83" fmla="*/ 85 h 661"/>
                      <a:gd name="T84" fmla="*/ 607 w 875"/>
                      <a:gd name="T85" fmla="*/ 111 h 661"/>
                      <a:gd name="T86" fmla="*/ 621 w 875"/>
                      <a:gd name="T87" fmla="*/ 138 h 661"/>
                      <a:gd name="T88" fmla="*/ 656 w 875"/>
                      <a:gd name="T89" fmla="*/ 156 h 661"/>
                      <a:gd name="T90" fmla="*/ 585 w 875"/>
                      <a:gd name="T91" fmla="*/ 179 h 661"/>
                      <a:gd name="T92" fmla="*/ 545 w 875"/>
                      <a:gd name="T93" fmla="*/ 187 h 661"/>
                      <a:gd name="T94" fmla="*/ 522 w 875"/>
                      <a:gd name="T95" fmla="*/ 241 h 661"/>
                      <a:gd name="T96" fmla="*/ 415 w 875"/>
                      <a:gd name="T97" fmla="*/ 250 h 661"/>
                      <a:gd name="T98" fmla="*/ 286 w 875"/>
                      <a:gd name="T99" fmla="*/ 192 h 661"/>
                      <a:gd name="T100" fmla="*/ 210 w 875"/>
                      <a:gd name="T101" fmla="*/ 120 h 661"/>
                      <a:gd name="T102" fmla="*/ 183 w 875"/>
                      <a:gd name="T103" fmla="*/ 120 h 661"/>
                      <a:gd name="T104" fmla="*/ 134 w 875"/>
                      <a:gd name="T105" fmla="*/ 152 h 661"/>
                      <a:gd name="T106" fmla="*/ 89 w 875"/>
                      <a:gd name="T107" fmla="*/ 201 h 661"/>
                      <a:gd name="T108" fmla="*/ 94 w 875"/>
                      <a:gd name="T109" fmla="*/ 259 h 661"/>
                      <a:gd name="T110" fmla="*/ 35 w 875"/>
                      <a:gd name="T111" fmla="*/ 290 h 661"/>
                      <a:gd name="T112" fmla="*/ 0 w 875"/>
                      <a:gd name="T113" fmla="*/ 295 h 661"/>
                      <a:gd name="T114" fmla="*/ 504 w 875"/>
                      <a:gd name="T115" fmla="*/ 648 h 661"/>
                      <a:gd name="T116" fmla="*/ 531 w 875"/>
                      <a:gd name="T117" fmla="*/ 652 h 661"/>
                      <a:gd name="T118" fmla="*/ 527 w 875"/>
                      <a:gd name="T119" fmla="*/ 63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5" h="661">
                        <a:moveTo>
                          <a:pt x="0" y="304"/>
                        </a:moveTo>
                        <a:lnTo>
                          <a:pt x="0" y="322"/>
                        </a:lnTo>
                        <a:lnTo>
                          <a:pt x="18" y="326"/>
                        </a:lnTo>
                        <a:lnTo>
                          <a:pt x="18" y="339"/>
                        </a:lnTo>
                        <a:lnTo>
                          <a:pt x="22" y="339"/>
                        </a:lnTo>
                        <a:lnTo>
                          <a:pt x="22" y="344"/>
                        </a:lnTo>
                        <a:lnTo>
                          <a:pt x="18" y="348"/>
                        </a:lnTo>
                        <a:lnTo>
                          <a:pt x="13" y="353"/>
                        </a:lnTo>
                        <a:lnTo>
                          <a:pt x="31" y="353"/>
                        </a:lnTo>
                        <a:lnTo>
                          <a:pt x="40" y="366"/>
                        </a:lnTo>
                        <a:lnTo>
                          <a:pt x="53" y="362"/>
                        </a:lnTo>
                        <a:lnTo>
                          <a:pt x="71" y="366"/>
                        </a:lnTo>
                        <a:lnTo>
                          <a:pt x="71" y="384"/>
                        </a:lnTo>
                        <a:lnTo>
                          <a:pt x="80" y="397"/>
                        </a:lnTo>
                        <a:lnTo>
                          <a:pt x="80" y="411"/>
                        </a:lnTo>
                        <a:lnTo>
                          <a:pt x="71" y="433"/>
                        </a:lnTo>
                        <a:lnTo>
                          <a:pt x="80" y="460"/>
                        </a:lnTo>
                        <a:lnTo>
                          <a:pt x="89" y="456"/>
                        </a:lnTo>
                        <a:lnTo>
                          <a:pt x="102" y="469"/>
                        </a:lnTo>
                        <a:lnTo>
                          <a:pt x="120" y="473"/>
                        </a:lnTo>
                        <a:lnTo>
                          <a:pt x="138" y="491"/>
                        </a:lnTo>
                        <a:lnTo>
                          <a:pt x="147" y="491"/>
                        </a:lnTo>
                        <a:lnTo>
                          <a:pt x="169" y="509"/>
                        </a:lnTo>
                        <a:lnTo>
                          <a:pt x="210" y="514"/>
                        </a:lnTo>
                        <a:lnTo>
                          <a:pt x="219" y="505"/>
                        </a:lnTo>
                        <a:lnTo>
                          <a:pt x="219" y="509"/>
                        </a:lnTo>
                        <a:lnTo>
                          <a:pt x="214" y="518"/>
                        </a:lnTo>
                        <a:lnTo>
                          <a:pt x="219" y="527"/>
                        </a:lnTo>
                        <a:lnTo>
                          <a:pt x="232" y="514"/>
                        </a:lnTo>
                        <a:lnTo>
                          <a:pt x="245" y="505"/>
                        </a:lnTo>
                        <a:lnTo>
                          <a:pt x="254" y="509"/>
                        </a:lnTo>
                        <a:lnTo>
                          <a:pt x="259" y="509"/>
                        </a:lnTo>
                        <a:lnTo>
                          <a:pt x="272" y="505"/>
                        </a:lnTo>
                        <a:lnTo>
                          <a:pt x="290" y="491"/>
                        </a:lnTo>
                        <a:lnTo>
                          <a:pt x="303" y="491"/>
                        </a:lnTo>
                        <a:lnTo>
                          <a:pt x="303" y="500"/>
                        </a:lnTo>
                        <a:lnTo>
                          <a:pt x="317" y="496"/>
                        </a:lnTo>
                        <a:lnTo>
                          <a:pt x="330" y="500"/>
                        </a:lnTo>
                        <a:lnTo>
                          <a:pt x="330" y="509"/>
                        </a:lnTo>
                        <a:lnTo>
                          <a:pt x="344" y="500"/>
                        </a:lnTo>
                        <a:lnTo>
                          <a:pt x="353" y="509"/>
                        </a:lnTo>
                        <a:lnTo>
                          <a:pt x="353" y="540"/>
                        </a:lnTo>
                        <a:lnTo>
                          <a:pt x="339" y="554"/>
                        </a:lnTo>
                        <a:lnTo>
                          <a:pt x="344" y="576"/>
                        </a:lnTo>
                        <a:lnTo>
                          <a:pt x="357" y="567"/>
                        </a:lnTo>
                        <a:lnTo>
                          <a:pt x="357" y="581"/>
                        </a:lnTo>
                        <a:lnTo>
                          <a:pt x="370" y="590"/>
                        </a:lnTo>
                        <a:lnTo>
                          <a:pt x="357" y="603"/>
                        </a:lnTo>
                        <a:lnTo>
                          <a:pt x="379" y="612"/>
                        </a:lnTo>
                        <a:lnTo>
                          <a:pt x="388" y="608"/>
                        </a:lnTo>
                        <a:lnTo>
                          <a:pt x="393" y="608"/>
                        </a:lnTo>
                        <a:lnTo>
                          <a:pt x="393" y="612"/>
                        </a:lnTo>
                        <a:lnTo>
                          <a:pt x="393" y="621"/>
                        </a:lnTo>
                        <a:lnTo>
                          <a:pt x="402" y="621"/>
                        </a:lnTo>
                        <a:lnTo>
                          <a:pt x="402" y="599"/>
                        </a:lnTo>
                        <a:lnTo>
                          <a:pt x="406" y="599"/>
                        </a:lnTo>
                        <a:lnTo>
                          <a:pt x="411" y="594"/>
                        </a:lnTo>
                        <a:lnTo>
                          <a:pt x="433" y="594"/>
                        </a:lnTo>
                        <a:lnTo>
                          <a:pt x="442" y="590"/>
                        </a:lnTo>
                        <a:lnTo>
                          <a:pt x="455" y="585"/>
                        </a:lnTo>
                        <a:lnTo>
                          <a:pt x="473" y="594"/>
                        </a:lnTo>
                        <a:lnTo>
                          <a:pt x="469" y="603"/>
                        </a:lnTo>
                        <a:lnTo>
                          <a:pt x="487" y="603"/>
                        </a:lnTo>
                        <a:lnTo>
                          <a:pt x="487" y="608"/>
                        </a:lnTo>
                        <a:lnTo>
                          <a:pt x="496" y="608"/>
                        </a:lnTo>
                        <a:lnTo>
                          <a:pt x="500" y="612"/>
                        </a:lnTo>
                        <a:lnTo>
                          <a:pt x="518" y="608"/>
                        </a:lnTo>
                        <a:lnTo>
                          <a:pt x="513" y="621"/>
                        </a:lnTo>
                        <a:lnTo>
                          <a:pt x="518" y="630"/>
                        </a:lnTo>
                        <a:lnTo>
                          <a:pt x="531" y="625"/>
                        </a:lnTo>
                        <a:lnTo>
                          <a:pt x="522" y="621"/>
                        </a:lnTo>
                        <a:lnTo>
                          <a:pt x="522" y="612"/>
                        </a:lnTo>
                        <a:lnTo>
                          <a:pt x="531" y="616"/>
                        </a:lnTo>
                        <a:lnTo>
                          <a:pt x="545" y="603"/>
                        </a:lnTo>
                        <a:lnTo>
                          <a:pt x="554" y="608"/>
                        </a:lnTo>
                        <a:lnTo>
                          <a:pt x="567" y="594"/>
                        </a:lnTo>
                        <a:lnTo>
                          <a:pt x="571" y="585"/>
                        </a:lnTo>
                        <a:lnTo>
                          <a:pt x="571" y="599"/>
                        </a:lnTo>
                        <a:lnTo>
                          <a:pt x="580" y="594"/>
                        </a:lnTo>
                        <a:lnTo>
                          <a:pt x="589" y="585"/>
                        </a:lnTo>
                        <a:lnTo>
                          <a:pt x="589" y="590"/>
                        </a:lnTo>
                        <a:lnTo>
                          <a:pt x="594" y="585"/>
                        </a:lnTo>
                        <a:lnTo>
                          <a:pt x="603" y="590"/>
                        </a:lnTo>
                        <a:lnTo>
                          <a:pt x="612" y="585"/>
                        </a:lnTo>
                        <a:lnTo>
                          <a:pt x="616" y="576"/>
                        </a:lnTo>
                        <a:lnTo>
                          <a:pt x="625" y="576"/>
                        </a:lnTo>
                        <a:lnTo>
                          <a:pt x="634" y="563"/>
                        </a:lnTo>
                        <a:lnTo>
                          <a:pt x="638" y="567"/>
                        </a:lnTo>
                        <a:lnTo>
                          <a:pt x="643" y="558"/>
                        </a:lnTo>
                        <a:lnTo>
                          <a:pt x="661" y="545"/>
                        </a:lnTo>
                        <a:lnTo>
                          <a:pt x="656" y="523"/>
                        </a:lnTo>
                        <a:lnTo>
                          <a:pt x="665" y="532"/>
                        </a:lnTo>
                        <a:lnTo>
                          <a:pt x="674" y="518"/>
                        </a:lnTo>
                        <a:lnTo>
                          <a:pt x="674" y="509"/>
                        </a:lnTo>
                        <a:lnTo>
                          <a:pt x="683" y="505"/>
                        </a:lnTo>
                        <a:lnTo>
                          <a:pt x="683" y="482"/>
                        </a:lnTo>
                        <a:lnTo>
                          <a:pt x="692" y="473"/>
                        </a:lnTo>
                        <a:lnTo>
                          <a:pt x="665" y="469"/>
                        </a:lnTo>
                        <a:lnTo>
                          <a:pt x="674" y="465"/>
                        </a:lnTo>
                        <a:lnTo>
                          <a:pt x="688" y="451"/>
                        </a:lnTo>
                        <a:lnTo>
                          <a:pt x="670" y="438"/>
                        </a:lnTo>
                        <a:lnTo>
                          <a:pt x="683" y="442"/>
                        </a:lnTo>
                        <a:lnTo>
                          <a:pt x="688" y="433"/>
                        </a:lnTo>
                        <a:lnTo>
                          <a:pt x="674" y="424"/>
                        </a:lnTo>
                        <a:lnTo>
                          <a:pt x="674" y="406"/>
                        </a:lnTo>
                        <a:lnTo>
                          <a:pt x="670" y="389"/>
                        </a:lnTo>
                        <a:lnTo>
                          <a:pt x="652" y="389"/>
                        </a:lnTo>
                        <a:lnTo>
                          <a:pt x="656" y="375"/>
                        </a:lnTo>
                        <a:lnTo>
                          <a:pt x="670" y="371"/>
                        </a:lnTo>
                        <a:lnTo>
                          <a:pt x="674" y="362"/>
                        </a:lnTo>
                        <a:lnTo>
                          <a:pt x="692" y="357"/>
                        </a:lnTo>
                        <a:lnTo>
                          <a:pt x="701" y="344"/>
                        </a:lnTo>
                        <a:lnTo>
                          <a:pt x="670" y="335"/>
                        </a:lnTo>
                        <a:lnTo>
                          <a:pt x="652" y="348"/>
                        </a:lnTo>
                        <a:lnTo>
                          <a:pt x="638" y="339"/>
                        </a:lnTo>
                        <a:lnTo>
                          <a:pt x="643" y="339"/>
                        </a:lnTo>
                        <a:lnTo>
                          <a:pt x="625" y="322"/>
                        </a:lnTo>
                        <a:lnTo>
                          <a:pt x="634" y="317"/>
                        </a:lnTo>
                        <a:lnTo>
                          <a:pt x="652" y="313"/>
                        </a:lnTo>
                        <a:lnTo>
                          <a:pt x="656" y="299"/>
                        </a:lnTo>
                        <a:lnTo>
                          <a:pt x="674" y="281"/>
                        </a:lnTo>
                        <a:lnTo>
                          <a:pt x="674" y="277"/>
                        </a:lnTo>
                        <a:lnTo>
                          <a:pt x="683" y="277"/>
                        </a:lnTo>
                        <a:lnTo>
                          <a:pt x="692" y="286"/>
                        </a:lnTo>
                        <a:lnTo>
                          <a:pt x="683" y="295"/>
                        </a:lnTo>
                        <a:lnTo>
                          <a:pt x="674" y="304"/>
                        </a:lnTo>
                        <a:lnTo>
                          <a:pt x="688" y="304"/>
                        </a:lnTo>
                        <a:lnTo>
                          <a:pt x="674" y="317"/>
                        </a:lnTo>
                        <a:lnTo>
                          <a:pt x="688" y="317"/>
                        </a:lnTo>
                        <a:lnTo>
                          <a:pt x="701" y="304"/>
                        </a:lnTo>
                        <a:lnTo>
                          <a:pt x="719" y="299"/>
                        </a:lnTo>
                        <a:lnTo>
                          <a:pt x="719" y="295"/>
                        </a:lnTo>
                        <a:lnTo>
                          <a:pt x="741" y="281"/>
                        </a:lnTo>
                        <a:lnTo>
                          <a:pt x="746" y="281"/>
                        </a:lnTo>
                        <a:lnTo>
                          <a:pt x="759" y="263"/>
                        </a:lnTo>
                        <a:lnTo>
                          <a:pt x="764" y="259"/>
                        </a:lnTo>
                        <a:lnTo>
                          <a:pt x="781" y="268"/>
                        </a:lnTo>
                        <a:lnTo>
                          <a:pt x="781" y="254"/>
                        </a:lnTo>
                        <a:lnTo>
                          <a:pt x="795" y="241"/>
                        </a:lnTo>
                        <a:lnTo>
                          <a:pt x="804" y="232"/>
                        </a:lnTo>
                        <a:lnTo>
                          <a:pt x="813" y="246"/>
                        </a:lnTo>
                        <a:lnTo>
                          <a:pt x="808" y="237"/>
                        </a:lnTo>
                        <a:lnTo>
                          <a:pt x="817" y="228"/>
                        </a:lnTo>
                        <a:lnTo>
                          <a:pt x="822" y="223"/>
                        </a:lnTo>
                        <a:lnTo>
                          <a:pt x="817" y="201"/>
                        </a:lnTo>
                        <a:lnTo>
                          <a:pt x="826" y="192"/>
                        </a:lnTo>
                        <a:lnTo>
                          <a:pt x="844" y="192"/>
                        </a:lnTo>
                        <a:lnTo>
                          <a:pt x="875" y="143"/>
                        </a:lnTo>
                        <a:lnTo>
                          <a:pt x="871" y="129"/>
                        </a:lnTo>
                        <a:lnTo>
                          <a:pt x="862" y="125"/>
                        </a:lnTo>
                        <a:lnTo>
                          <a:pt x="839" y="143"/>
                        </a:lnTo>
                        <a:lnTo>
                          <a:pt x="817" y="134"/>
                        </a:lnTo>
                        <a:lnTo>
                          <a:pt x="813" y="116"/>
                        </a:lnTo>
                        <a:lnTo>
                          <a:pt x="795" y="103"/>
                        </a:lnTo>
                        <a:lnTo>
                          <a:pt x="786" y="103"/>
                        </a:lnTo>
                        <a:lnTo>
                          <a:pt x="781" y="98"/>
                        </a:lnTo>
                        <a:lnTo>
                          <a:pt x="768" y="98"/>
                        </a:lnTo>
                        <a:lnTo>
                          <a:pt x="764" y="76"/>
                        </a:lnTo>
                        <a:lnTo>
                          <a:pt x="741" y="18"/>
                        </a:lnTo>
                        <a:lnTo>
                          <a:pt x="714" y="4"/>
                        </a:lnTo>
                        <a:lnTo>
                          <a:pt x="701" y="0"/>
                        </a:lnTo>
                        <a:lnTo>
                          <a:pt x="674" y="4"/>
                        </a:lnTo>
                        <a:lnTo>
                          <a:pt x="661" y="22"/>
                        </a:lnTo>
                        <a:lnTo>
                          <a:pt x="661" y="27"/>
                        </a:lnTo>
                        <a:lnTo>
                          <a:pt x="670" y="27"/>
                        </a:lnTo>
                        <a:lnTo>
                          <a:pt x="670" y="40"/>
                        </a:lnTo>
                        <a:lnTo>
                          <a:pt x="643" y="76"/>
                        </a:lnTo>
                        <a:lnTo>
                          <a:pt x="652" y="85"/>
                        </a:lnTo>
                        <a:lnTo>
                          <a:pt x="638" y="89"/>
                        </a:lnTo>
                        <a:lnTo>
                          <a:pt x="625" y="103"/>
                        </a:lnTo>
                        <a:lnTo>
                          <a:pt x="612" y="94"/>
                        </a:lnTo>
                        <a:lnTo>
                          <a:pt x="607" y="111"/>
                        </a:lnTo>
                        <a:lnTo>
                          <a:pt x="594" y="129"/>
                        </a:lnTo>
                        <a:lnTo>
                          <a:pt x="598" y="138"/>
                        </a:lnTo>
                        <a:lnTo>
                          <a:pt x="612" y="134"/>
                        </a:lnTo>
                        <a:lnTo>
                          <a:pt x="621" y="138"/>
                        </a:lnTo>
                        <a:lnTo>
                          <a:pt x="638" y="129"/>
                        </a:lnTo>
                        <a:lnTo>
                          <a:pt x="647" y="147"/>
                        </a:lnTo>
                        <a:lnTo>
                          <a:pt x="661" y="147"/>
                        </a:lnTo>
                        <a:lnTo>
                          <a:pt x="656" y="156"/>
                        </a:lnTo>
                        <a:lnTo>
                          <a:pt x="643" y="165"/>
                        </a:lnTo>
                        <a:lnTo>
                          <a:pt x="621" y="161"/>
                        </a:lnTo>
                        <a:lnTo>
                          <a:pt x="598" y="183"/>
                        </a:lnTo>
                        <a:lnTo>
                          <a:pt x="585" y="179"/>
                        </a:lnTo>
                        <a:lnTo>
                          <a:pt x="571" y="196"/>
                        </a:lnTo>
                        <a:lnTo>
                          <a:pt x="563" y="196"/>
                        </a:lnTo>
                        <a:lnTo>
                          <a:pt x="554" y="187"/>
                        </a:lnTo>
                        <a:lnTo>
                          <a:pt x="545" y="187"/>
                        </a:lnTo>
                        <a:lnTo>
                          <a:pt x="536" y="201"/>
                        </a:lnTo>
                        <a:lnTo>
                          <a:pt x="549" y="219"/>
                        </a:lnTo>
                        <a:lnTo>
                          <a:pt x="531" y="228"/>
                        </a:lnTo>
                        <a:lnTo>
                          <a:pt x="522" y="241"/>
                        </a:lnTo>
                        <a:lnTo>
                          <a:pt x="496" y="241"/>
                        </a:lnTo>
                        <a:lnTo>
                          <a:pt x="464" y="250"/>
                        </a:lnTo>
                        <a:lnTo>
                          <a:pt x="455" y="263"/>
                        </a:lnTo>
                        <a:lnTo>
                          <a:pt x="415" y="250"/>
                        </a:lnTo>
                        <a:lnTo>
                          <a:pt x="406" y="241"/>
                        </a:lnTo>
                        <a:lnTo>
                          <a:pt x="326" y="237"/>
                        </a:lnTo>
                        <a:lnTo>
                          <a:pt x="308" y="205"/>
                        </a:lnTo>
                        <a:lnTo>
                          <a:pt x="286" y="192"/>
                        </a:lnTo>
                        <a:lnTo>
                          <a:pt x="250" y="187"/>
                        </a:lnTo>
                        <a:lnTo>
                          <a:pt x="250" y="147"/>
                        </a:lnTo>
                        <a:lnTo>
                          <a:pt x="228" y="129"/>
                        </a:lnTo>
                        <a:lnTo>
                          <a:pt x="210" y="120"/>
                        </a:lnTo>
                        <a:lnTo>
                          <a:pt x="205" y="107"/>
                        </a:lnTo>
                        <a:lnTo>
                          <a:pt x="196" y="107"/>
                        </a:lnTo>
                        <a:lnTo>
                          <a:pt x="192" y="107"/>
                        </a:lnTo>
                        <a:lnTo>
                          <a:pt x="183" y="120"/>
                        </a:lnTo>
                        <a:lnTo>
                          <a:pt x="174" y="129"/>
                        </a:lnTo>
                        <a:lnTo>
                          <a:pt x="174" y="147"/>
                        </a:lnTo>
                        <a:lnTo>
                          <a:pt x="161" y="156"/>
                        </a:lnTo>
                        <a:lnTo>
                          <a:pt x="134" y="152"/>
                        </a:lnTo>
                        <a:lnTo>
                          <a:pt x="120" y="183"/>
                        </a:lnTo>
                        <a:lnTo>
                          <a:pt x="125" y="192"/>
                        </a:lnTo>
                        <a:lnTo>
                          <a:pt x="89" y="192"/>
                        </a:lnTo>
                        <a:lnTo>
                          <a:pt x="89" y="201"/>
                        </a:lnTo>
                        <a:lnTo>
                          <a:pt x="98" y="205"/>
                        </a:lnTo>
                        <a:lnTo>
                          <a:pt x="102" y="228"/>
                        </a:lnTo>
                        <a:lnTo>
                          <a:pt x="94" y="254"/>
                        </a:lnTo>
                        <a:lnTo>
                          <a:pt x="94" y="259"/>
                        </a:lnTo>
                        <a:lnTo>
                          <a:pt x="80" y="263"/>
                        </a:lnTo>
                        <a:lnTo>
                          <a:pt x="62" y="277"/>
                        </a:lnTo>
                        <a:lnTo>
                          <a:pt x="44" y="277"/>
                        </a:lnTo>
                        <a:lnTo>
                          <a:pt x="35" y="290"/>
                        </a:lnTo>
                        <a:lnTo>
                          <a:pt x="27" y="281"/>
                        </a:lnTo>
                        <a:lnTo>
                          <a:pt x="18" y="281"/>
                        </a:lnTo>
                        <a:lnTo>
                          <a:pt x="13" y="290"/>
                        </a:lnTo>
                        <a:lnTo>
                          <a:pt x="0" y="295"/>
                        </a:lnTo>
                        <a:lnTo>
                          <a:pt x="0" y="304"/>
                        </a:lnTo>
                        <a:close/>
                        <a:moveTo>
                          <a:pt x="504" y="639"/>
                        </a:moveTo>
                        <a:lnTo>
                          <a:pt x="509" y="643"/>
                        </a:lnTo>
                        <a:lnTo>
                          <a:pt x="504" y="648"/>
                        </a:lnTo>
                        <a:lnTo>
                          <a:pt x="504" y="657"/>
                        </a:lnTo>
                        <a:lnTo>
                          <a:pt x="513" y="661"/>
                        </a:lnTo>
                        <a:lnTo>
                          <a:pt x="518" y="657"/>
                        </a:lnTo>
                        <a:lnTo>
                          <a:pt x="531" y="652"/>
                        </a:lnTo>
                        <a:lnTo>
                          <a:pt x="531" y="652"/>
                        </a:lnTo>
                        <a:lnTo>
                          <a:pt x="536" y="639"/>
                        </a:lnTo>
                        <a:lnTo>
                          <a:pt x="531" y="634"/>
                        </a:lnTo>
                        <a:lnTo>
                          <a:pt x="527" y="634"/>
                        </a:lnTo>
                        <a:lnTo>
                          <a:pt x="518" y="639"/>
                        </a:lnTo>
                        <a:lnTo>
                          <a:pt x="513" y="634"/>
                        </a:lnTo>
                        <a:lnTo>
                          <a:pt x="504" y="63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22" name="Freeform 119"/>
                  <p:cNvSpPr>
                    <a:spLocks/>
                  </p:cNvSpPr>
                  <p:nvPr/>
                </p:nvSpPr>
                <p:spPr bwMode="gray">
                  <a:xfrm>
                    <a:off x="4398" y="2399"/>
                    <a:ext cx="27" cy="59"/>
                  </a:xfrm>
                  <a:custGeom>
                    <a:avLst/>
                    <a:gdLst>
                      <a:gd name="T0" fmla="*/ 22 w 27"/>
                      <a:gd name="T1" fmla="*/ 0 h 59"/>
                      <a:gd name="T2" fmla="*/ 13 w 27"/>
                      <a:gd name="T3" fmla="*/ 5 h 59"/>
                      <a:gd name="T4" fmla="*/ 13 w 27"/>
                      <a:gd name="T5" fmla="*/ 14 h 59"/>
                      <a:gd name="T6" fmla="*/ 9 w 27"/>
                      <a:gd name="T7" fmla="*/ 14 h 59"/>
                      <a:gd name="T8" fmla="*/ 0 w 27"/>
                      <a:gd name="T9" fmla="*/ 32 h 59"/>
                      <a:gd name="T10" fmla="*/ 4 w 27"/>
                      <a:gd name="T11" fmla="*/ 45 h 59"/>
                      <a:gd name="T12" fmla="*/ 9 w 27"/>
                      <a:gd name="T13" fmla="*/ 45 h 59"/>
                      <a:gd name="T14" fmla="*/ 13 w 27"/>
                      <a:gd name="T15" fmla="*/ 59 h 59"/>
                      <a:gd name="T16" fmla="*/ 18 w 27"/>
                      <a:gd name="T17" fmla="*/ 59 h 59"/>
                      <a:gd name="T18" fmla="*/ 18 w 27"/>
                      <a:gd name="T19" fmla="*/ 45 h 59"/>
                      <a:gd name="T20" fmla="*/ 22 w 27"/>
                      <a:gd name="T21" fmla="*/ 36 h 59"/>
                      <a:gd name="T22" fmla="*/ 22 w 27"/>
                      <a:gd name="T23" fmla="*/ 18 h 59"/>
                      <a:gd name="T24" fmla="*/ 27 w 27"/>
                      <a:gd name="T25" fmla="*/ 14 h 59"/>
                      <a:gd name="T26" fmla="*/ 27 w 27"/>
                      <a:gd name="T27" fmla="*/ 5 h 59"/>
                      <a:gd name="T28" fmla="*/ 22 w 27"/>
                      <a:gd name="T2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59">
                        <a:moveTo>
                          <a:pt x="22" y="0"/>
                        </a:moveTo>
                        <a:lnTo>
                          <a:pt x="13" y="5"/>
                        </a:lnTo>
                        <a:lnTo>
                          <a:pt x="13" y="14"/>
                        </a:lnTo>
                        <a:lnTo>
                          <a:pt x="9" y="14"/>
                        </a:lnTo>
                        <a:lnTo>
                          <a:pt x="0" y="32"/>
                        </a:lnTo>
                        <a:lnTo>
                          <a:pt x="4" y="45"/>
                        </a:lnTo>
                        <a:lnTo>
                          <a:pt x="9" y="45"/>
                        </a:lnTo>
                        <a:lnTo>
                          <a:pt x="13" y="59"/>
                        </a:lnTo>
                        <a:lnTo>
                          <a:pt x="18" y="59"/>
                        </a:lnTo>
                        <a:lnTo>
                          <a:pt x="18" y="45"/>
                        </a:lnTo>
                        <a:lnTo>
                          <a:pt x="22" y="36"/>
                        </a:lnTo>
                        <a:lnTo>
                          <a:pt x="22" y="18"/>
                        </a:lnTo>
                        <a:lnTo>
                          <a:pt x="27" y="14"/>
                        </a:lnTo>
                        <a:lnTo>
                          <a:pt x="27" y="5"/>
                        </a:lnTo>
                        <a:lnTo>
                          <a:pt x="22"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23" name="Freeform 120"/>
                  <p:cNvSpPr>
                    <a:spLocks/>
                  </p:cNvSpPr>
                  <p:nvPr/>
                </p:nvSpPr>
                <p:spPr bwMode="gray">
                  <a:xfrm>
                    <a:off x="3254" y="2078"/>
                    <a:ext cx="103" cy="49"/>
                  </a:xfrm>
                  <a:custGeom>
                    <a:avLst/>
                    <a:gdLst>
                      <a:gd name="T0" fmla="*/ 0 w 103"/>
                      <a:gd name="T1" fmla="*/ 0 h 49"/>
                      <a:gd name="T2" fmla="*/ 18 w 103"/>
                      <a:gd name="T3" fmla="*/ 9 h 49"/>
                      <a:gd name="T4" fmla="*/ 23 w 103"/>
                      <a:gd name="T5" fmla="*/ 18 h 49"/>
                      <a:gd name="T6" fmla="*/ 23 w 103"/>
                      <a:gd name="T7" fmla="*/ 31 h 49"/>
                      <a:gd name="T8" fmla="*/ 18 w 103"/>
                      <a:gd name="T9" fmla="*/ 35 h 49"/>
                      <a:gd name="T10" fmla="*/ 40 w 103"/>
                      <a:gd name="T11" fmla="*/ 40 h 49"/>
                      <a:gd name="T12" fmla="*/ 49 w 103"/>
                      <a:gd name="T13" fmla="*/ 44 h 49"/>
                      <a:gd name="T14" fmla="*/ 58 w 103"/>
                      <a:gd name="T15" fmla="*/ 49 h 49"/>
                      <a:gd name="T16" fmla="*/ 63 w 103"/>
                      <a:gd name="T17" fmla="*/ 44 h 49"/>
                      <a:gd name="T18" fmla="*/ 72 w 103"/>
                      <a:gd name="T19" fmla="*/ 49 h 49"/>
                      <a:gd name="T20" fmla="*/ 76 w 103"/>
                      <a:gd name="T21" fmla="*/ 44 h 49"/>
                      <a:gd name="T22" fmla="*/ 85 w 103"/>
                      <a:gd name="T23" fmla="*/ 49 h 49"/>
                      <a:gd name="T24" fmla="*/ 94 w 103"/>
                      <a:gd name="T25" fmla="*/ 44 h 49"/>
                      <a:gd name="T26" fmla="*/ 99 w 103"/>
                      <a:gd name="T27" fmla="*/ 49 h 49"/>
                      <a:gd name="T28" fmla="*/ 103 w 103"/>
                      <a:gd name="T29" fmla="*/ 44 h 49"/>
                      <a:gd name="T30" fmla="*/ 94 w 103"/>
                      <a:gd name="T31" fmla="*/ 40 h 49"/>
                      <a:gd name="T32" fmla="*/ 90 w 103"/>
                      <a:gd name="T33" fmla="*/ 35 h 49"/>
                      <a:gd name="T34" fmla="*/ 94 w 103"/>
                      <a:gd name="T35" fmla="*/ 26 h 49"/>
                      <a:gd name="T36" fmla="*/ 94 w 103"/>
                      <a:gd name="T37" fmla="*/ 26 h 49"/>
                      <a:gd name="T38" fmla="*/ 85 w 103"/>
                      <a:gd name="T39" fmla="*/ 22 h 49"/>
                      <a:gd name="T40" fmla="*/ 90 w 103"/>
                      <a:gd name="T41" fmla="*/ 18 h 49"/>
                      <a:gd name="T42" fmla="*/ 76 w 103"/>
                      <a:gd name="T43" fmla="*/ 18 h 49"/>
                      <a:gd name="T44" fmla="*/ 76 w 103"/>
                      <a:gd name="T45" fmla="*/ 13 h 49"/>
                      <a:gd name="T46" fmla="*/ 67 w 103"/>
                      <a:gd name="T47" fmla="*/ 13 h 49"/>
                      <a:gd name="T48" fmla="*/ 67 w 103"/>
                      <a:gd name="T49" fmla="*/ 18 h 49"/>
                      <a:gd name="T50" fmla="*/ 63 w 103"/>
                      <a:gd name="T51" fmla="*/ 13 h 49"/>
                      <a:gd name="T52" fmla="*/ 58 w 103"/>
                      <a:gd name="T53" fmla="*/ 18 h 49"/>
                      <a:gd name="T54" fmla="*/ 54 w 103"/>
                      <a:gd name="T55" fmla="*/ 9 h 49"/>
                      <a:gd name="T56" fmla="*/ 49 w 103"/>
                      <a:gd name="T57" fmla="*/ 13 h 49"/>
                      <a:gd name="T58" fmla="*/ 45 w 103"/>
                      <a:gd name="T59" fmla="*/ 4 h 49"/>
                      <a:gd name="T60" fmla="*/ 27 w 103"/>
                      <a:gd name="T61" fmla="*/ 4 h 49"/>
                      <a:gd name="T62" fmla="*/ 18 w 103"/>
                      <a:gd name="T63" fmla="*/ 0 h 49"/>
                      <a:gd name="T64" fmla="*/ 5 w 103"/>
                      <a:gd name="T65" fmla="*/ 0 h 49"/>
                      <a:gd name="T66" fmla="*/ 0 w 103"/>
                      <a:gd name="T6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49">
                        <a:moveTo>
                          <a:pt x="0" y="0"/>
                        </a:moveTo>
                        <a:lnTo>
                          <a:pt x="18" y="9"/>
                        </a:lnTo>
                        <a:lnTo>
                          <a:pt x="23" y="18"/>
                        </a:lnTo>
                        <a:lnTo>
                          <a:pt x="23" y="31"/>
                        </a:lnTo>
                        <a:lnTo>
                          <a:pt x="18" y="35"/>
                        </a:lnTo>
                        <a:lnTo>
                          <a:pt x="40" y="40"/>
                        </a:lnTo>
                        <a:lnTo>
                          <a:pt x="49" y="44"/>
                        </a:lnTo>
                        <a:lnTo>
                          <a:pt x="58" y="49"/>
                        </a:lnTo>
                        <a:lnTo>
                          <a:pt x="63" y="44"/>
                        </a:lnTo>
                        <a:lnTo>
                          <a:pt x="72" y="49"/>
                        </a:lnTo>
                        <a:lnTo>
                          <a:pt x="76" y="44"/>
                        </a:lnTo>
                        <a:lnTo>
                          <a:pt x="85" y="49"/>
                        </a:lnTo>
                        <a:lnTo>
                          <a:pt x="94" y="44"/>
                        </a:lnTo>
                        <a:lnTo>
                          <a:pt x="99" y="49"/>
                        </a:lnTo>
                        <a:lnTo>
                          <a:pt x="103" y="44"/>
                        </a:lnTo>
                        <a:lnTo>
                          <a:pt x="94" y="40"/>
                        </a:lnTo>
                        <a:lnTo>
                          <a:pt x="90" y="35"/>
                        </a:lnTo>
                        <a:lnTo>
                          <a:pt x="94" y="26"/>
                        </a:lnTo>
                        <a:lnTo>
                          <a:pt x="94" y="26"/>
                        </a:lnTo>
                        <a:lnTo>
                          <a:pt x="85" y="22"/>
                        </a:lnTo>
                        <a:lnTo>
                          <a:pt x="90" y="18"/>
                        </a:lnTo>
                        <a:lnTo>
                          <a:pt x="76" y="18"/>
                        </a:lnTo>
                        <a:lnTo>
                          <a:pt x="76" y="13"/>
                        </a:lnTo>
                        <a:lnTo>
                          <a:pt x="67" y="13"/>
                        </a:lnTo>
                        <a:lnTo>
                          <a:pt x="67" y="18"/>
                        </a:lnTo>
                        <a:lnTo>
                          <a:pt x="63" y="13"/>
                        </a:lnTo>
                        <a:lnTo>
                          <a:pt x="58" y="18"/>
                        </a:lnTo>
                        <a:lnTo>
                          <a:pt x="54" y="9"/>
                        </a:lnTo>
                        <a:lnTo>
                          <a:pt x="49" y="13"/>
                        </a:lnTo>
                        <a:lnTo>
                          <a:pt x="45" y="4"/>
                        </a:lnTo>
                        <a:lnTo>
                          <a:pt x="27" y="4"/>
                        </a:lnTo>
                        <a:lnTo>
                          <a:pt x="18" y="0"/>
                        </a:lnTo>
                        <a:lnTo>
                          <a:pt x="5" y="0"/>
                        </a:lnTo>
                        <a:lnTo>
                          <a:pt x="0"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24" name="Freeform 121"/>
                  <p:cNvSpPr>
                    <a:spLocks/>
                  </p:cNvSpPr>
                  <p:nvPr/>
                </p:nvSpPr>
                <p:spPr bwMode="gray">
                  <a:xfrm>
                    <a:off x="4755" y="2583"/>
                    <a:ext cx="1" cy="9"/>
                  </a:xfrm>
                  <a:custGeom>
                    <a:avLst/>
                    <a:gdLst>
                      <a:gd name="T0" fmla="*/ 0 h 9"/>
                      <a:gd name="T1" fmla="*/ 4 h 9"/>
                      <a:gd name="T2" fmla="*/ 9 h 9"/>
                      <a:gd name="T3" fmla="*/ 0 h 9"/>
                      <a:gd name="T4" fmla="*/ 0 h 9"/>
                    </a:gdLst>
                    <a:ahLst/>
                    <a:cxnLst>
                      <a:cxn ang="0">
                        <a:pos x="0" y="T0"/>
                      </a:cxn>
                      <a:cxn ang="0">
                        <a:pos x="0" y="T1"/>
                      </a:cxn>
                      <a:cxn ang="0">
                        <a:pos x="0" y="T2"/>
                      </a:cxn>
                      <a:cxn ang="0">
                        <a:pos x="0" y="T3"/>
                      </a:cxn>
                      <a:cxn ang="0">
                        <a:pos x="0" y="T4"/>
                      </a:cxn>
                    </a:cxnLst>
                    <a:rect l="0" t="0" r="r" b="b"/>
                    <a:pathLst>
                      <a:path h="9">
                        <a:moveTo>
                          <a:pt x="0" y="0"/>
                        </a:moveTo>
                        <a:lnTo>
                          <a:pt x="0" y="4"/>
                        </a:lnTo>
                        <a:lnTo>
                          <a:pt x="0" y="9"/>
                        </a:lnTo>
                        <a:lnTo>
                          <a:pt x="0" y="0"/>
                        </a:lnTo>
                        <a:lnTo>
                          <a:pt x="0"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25" name="Freeform 122"/>
                  <p:cNvSpPr>
                    <a:spLocks/>
                  </p:cNvSpPr>
                  <p:nvPr/>
                </p:nvSpPr>
                <p:spPr bwMode="gray">
                  <a:xfrm>
                    <a:off x="4308" y="2444"/>
                    <a:ext cx="9" cy="9"/>
                  </a:xfrm>
                  <a:custGeom>
                    <a:avLst/>
                    <a:gdLst>
                      <a:gd name="T0" fmla="*/ 0 w 9"/>
                      <a:gd name="T1" fmla="*/ 5 h 9"/>
                      <a:gd name="T2" fmla="*/ 9 w 9"/>
                      <a:gd name="T3" fmla="*/ 0 h 9"/>
                      <a:gd name="T4" fmla="*/ 5 w 9"/>
                      <a:gd name="T5" fmla="*/ 9 h 9"/>
                      <a:gd name="T6" fmla="*/ 0 w 9"/>
                      <a:gd name="T7" fmla="*/ 5 h 9"/>
                    </a:gdLst>
                    <a:ahLst/>
                    <a:cxnLst>
                      <a:cxn ang="0">
                        <a:pos x="T0" y="T1"/>
                      </a:cxn>
                      <a:cxn ang="0">
                        <a:pos x="T2" y="T3"/>
                      </a:cxn>
                      <a:cxn ang="0">
                        <a:pos x="T4" y="T5"/>
                      </a:cxn>
                      <a:cxn ang="0">
                        <a:pos x="T6" y="T7"/>
                      </a:cxn>
                    </a:cxnLst>
                    <a:rect l="0" t="0" r="r" b="b"/>
                    <a:pathLst>
                      <a:path w="9" h="9">
                        <a:moveTo>
                          <a:pt x="0" y="5"/>
                        </a:moveTo>
                        <a:lnTo>
                          <a:pt x="9" y="0"/>
                        </a:lnTo>
                        <a:lnTo>
                          <a:pt x="5" y="9"/>
                        </a:lnTo>
                        <a:lnTo>
                          <a:pt x="0" y="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26" name="Freeform 123"/>
                  <p:cNvSpPr>
                    <a:spLocks/>
                  </p:cNvSpPr>
                  <p:nvPr/>
                </p:nvSpPr>
                <p:spPr bwMode="gray">
                  <a:xfrm>
                    <a:off x="3661" y="2212"/>
                    <a:ext cx="406" cy="456"/>
                  </a:xfrm>
                  <a:custGeom>
                    <a:avLst/>
                    <a:gdLst>
                      <a:gd name="T0" fmla="*/ 22 w 406"/>
                      <a:gd name="T1" fmla="*/ 223 h 456"/>
                      <a:gd name="T2" fmla="*/ 9 w 406"/>
                      <a:gd name="T3" fmla="*/ 237 h 456"/>
                      <a:gd name="T4" fmla="*/ 53 w 406"/>
                      <a:gd name="T5" fmla="*/ 259 h 456"/>
                      <a:gd name="T6" fmla="*/ 67 w 406"/>
                      <a:gd name="T7" fmla="*/ 237 h 456"/>
                      <a:gd name="T8" fmla="*/ 67 w 406"/>
                      <a:gd name="T9" fmla="*/ 272 h 456"/>
                      <a:gd name="T10" fmla="*/ 89 w 406"/>
                      <a:gd name="T11" fmla="*/ 357 h 456"/>
                      <a:gd name="T12" fmla="*/ 111 w 406"/>
                      <a:gd name="T13" fmla="*/ 429 h 456"/>
                      <a:gd name="T14" fmla="*/ 147 w 406"/>
                      <a:gd name="T15" fmla="*/ 451 h 456"/>
                      <a:gd name="T16" fmla="*/ 161 w 406"/>
                      <a:gd name="T17" fmla="*/ 438 h 456"/>
                      <a:gd name="T18" fmla="*/ 170 w 406"/>
                      <a:gd name="T19" fmla="*/ 420 h 456"/>
                      <a:gd name="T20" fmla="*/ 174 w 406"/>
                      <a:gd name="T21" fmla="*/ 344 h 456"/>
                      <a:gd name="T22" fmla="*/ 201 w 406"/>
                      <a:gd name="T23" fmla="*/ 326 h 456"/>
                      <a:gd name="T24" fmla="*/ 237 w 406"/>
                      <a:gd name="T25" fmla="*/ 281 h 456"/>
                      <a:gd name="T26" fmla="*/ 254 w 406"/>
                      <a:gd name="T27" fmla="*/ 277 h 456"/>
                      <a:gd name="T28" fmla="*/ 277 w 406"/>
                      <a:gd name="T29" fmla="*/ 250 h 456"/>
                      <a:gd name="T30" fmla="*/ 304 w 406"/>
                      <a:gd name="T31" fmla="*/ 246 h 456"/>
                      <a:gd name="T32" fmla="*/ 286 w 406"/>
                      <a:gd name="T33" fmla="*/ 201 h 456"/>
                      <a:gd name="T34" fmla="*/ 281 w 406"/>
                      <a:gd name="T35" fmla="*/ 187 h 456"/>
                      <a:gd name="T36" fmla="*/ 308 w 406"/>
                      <a:gd name="T37" fmla="*/ 183 h 456"/>
                      <a:gd name="T38" fmla="*/ 348 w 406"/>
                      <a:gd name="T39" fmla="*/ 205 h 456"/>
                      <a:gd name="T40" fmla="*/ 339 w 406"/>
                      <a:gd name="T41" fmla="*/ 223 h 456"/>
                      <a:gd name="T42" fmla="*/ 348 w 406"/>
                      <a:gd name="T43" fmla="*/ 241 h 456"/>
                      <a:gd name="T44" fmla="*/ 353 w 406"/>
                      <a:gd name="T45" fmla="*/ 232 h 456"/>
                      <a:gd name="T46" fmla="*/ 366 w 406"/>
                      <a:gd name="T47" fmla="*/ 205 h 456"/>
                      <a:gd name="T48" fmla="*/ 388 w 406"/>
                      <a:gd name="T49" fmla="*/ 161 h 456"/>
                      <a:gd name="T50" fmla="*/ 406 w 406"/>
                      <a:gd name="T51" fmla="*/ 147 h 456"/>
                      <a:gd name="T52" fmla="*/ 379 w 406"/>
                      <a:gd name="T53" fmla="*/ 138 h 456"/>
                      <a:gd name="T54" fmla="*/ 348 w 406"/>
                      <a:gd name="T55" fmla="*/ 143 h 456"/>
                      <a:gd name="T56" fmla="*/ 317 w 406"/>
                      <a:gd name="T57" fmla="*/ 165 h 456"/>
                      <a:gd name="T58" fmla="*/ 295 w 406"/>
                      <a:gd name="T59" fmla="*/ 170 h 456"/>
                      <a:gd name="T60" fmla="*/ 295 w 406"/>
                      <a:gd name="T61" fmla="*/ 147 h 456"/>
                      <a:gd name="T62" fmla="*/ 286 w 406"/>
                      <a:gd name="T63" fmla="*/ 170 h 456"/>
                      <a:gd name="T64" fmla="*/ 245 w 406"/>
                      <a:gd name="T65" fmla="*/ 165 h 456"/>
                      <a:gd name="T66" fmla="*/ 219 w 406"/>
                      <a:gd name="T67" fmla="*/ 161 h 456"/>
                      <a:gd name="T68" fmla="*/ 178 w 406"/>
                      <a:gd name="T69" fmla="*/ 134 h 456"/>
                      <a:gd name="T70" fmla="*/ 178 w 406"/>
                      <a:gd name="T71" fmla="*/ 107 h 456"/>
                      <a:gd name="T72" fmla="*/ 147 w 406"/>
                      <a:gd name="T73" fmla="*/ 71 h 456"/>
                      <a:gd name="T74" fmla="*/ 147 w 406"/>
                      <a:gd name="T75" fmla="*/ 22 h 456"/>
                      <a:gd name="T76" fmla="*/ 125 w 406"/>
                      <a:gd name="T77" fmla="*/ 31 h 456"/>
                      <a:gd name="T78" fmla="*/ 76 w 406"/>
                      <a:gd name="T79" fmla="*/ 44 h 456"/>
                      <a:gd name="T80" fmla="*/ 94 w 406"/>
                      <a:gd name="T81" fmla="*/ 85 h 456"/>
                      <a:gd name="T82" fmla="*/ 58 w 406"/>
                      <a:gd name="T83" fmla="*/ 134 h 456"/>
                      <a:gd name="T84" fmla="*/ 27 w 406"/>
                      <a:gd name="T85" fmla="*/ 147 h 456"/>
                      <a:gd name="T86" fmla="*/ 27 w 406"/>
                      <a:gd name="T87" fmla="*/ 170 h 456"/>
                      <a:gd name="T88" fmla="*/ 44 w 406"/>
                      <a:gd name="T89" fmla="*/ 205 h 456"/>
                      <a:gd name="T90" fmla="*/ 0 w 406"/>
                      <a:gd name="T91" fmla="*/ 219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6" h="456">
                        <a:moveTo>
                          <a:pt x="0" y="219"/>
                        </a:moveTo>
                        <a:lnTo>
                          <a:pt x="13" y="232"/>
                        </a:lnTo>
                        <a:lnTo>
                          <a:pt x="22" y="223"/>
                        </a:lnTo>
                        <a:lnTo>
                          <a:pt x="36" y="223"/>
                        </a:lnTo>
                        <a:lnTo>
                          <a:pt x="27" y="237"/>
                        </a:lnTo>
                        <a:lnTo>
                          <a:pt x="9" y="237"/>
                        </a:lnTo>
                        <a:lnTo>
                          <a:pt x="22" y="259"/>
                        </a:lnTo>
                        <a:lnTo>
                          <a:pt x="40" y="268"/>
                        </a:lnTo>
                        <a:lnTo>
                          <a:pt x="53" y="259"/>
                        </a:lnTo>
                        <a:lnTo>
                          <a:pt x="58" y="241"/>
                        </a:lnTo>
                        <a:lnTo>
                          <a:pt x="58" y="237"/>
                        </a:lnTo>
                        <a:lnTo>
                          <a:pt x="67" y="237"/>
                        </a:lnTo>
                        <a:lnTo>
                          <a:pt x="62" y="254"/>
                        </a:lnTo>
                        <a:lnTo>
                          <a:pt x="67" y="259"/>
                        </a:lnTo>
                        <a:lnTo>
                          <a:pt x="67" y="272"/>
                        </a:lnTo>
                        <a:lnTo>
                          <a:pt x="67" y="304"/>
                        </a:lnTo>
                        <a:lnTo>
                          <a:pt x="71" y="317"/>
                        </a:lnTo>
                        <a:lnTo>
                          <a:pt x="89" y="357"/>
                        </a:lnTo>
                        <a:lnTo>
                          <a:pt x="94" y="380"/>
                        </a:lnTo>
                        <a:lnTo>
                          <a:pt x="111" y="406"/>
                        </a:lnTo>
                        <a:lnTo>
                          <a:pt x="111" y="429"/>
                        </a:lnTo>
                        <a:lnTo>
                          <a:pt x="116" y="438"/>
                        </a:lnTo>
                        <a:lnTo>
                          <a:pt x="134" y="456"/>
                        </a:lnTo>
                        <a:lnTo>
                          <a:pt x="147" y="451"/>
                        </a:lnTo>
                        <a:lnTo>
                          <a:pt x="147" y="438"/>
                        </a:lnTo>
                        <a:lnTo>
                          <a:pt x="161" y="442"/>
                        </a:lnTo>
                        <a:lnTo>
                          <a:pt x="161" y="438"/>
                        </a:lnTo>
                        <a:lnTo>
                          <a:pt x="156" y="438"/>
                        </a:lnTo>
                        <a:lnTo>
                          <a:pt x="161" y="420"/>
                        </a:lnTo>
                        <a:lnTo>
                          <a:pt x="170" y="420"/>
                        </a:lnTo>
                        <a:lnTo>
                          <a:pt x="170" y="397"/>
                        </a:lnTo>
                        <a:lnTo>
                          <a:pt x="174" y="380"/>
                        </a:lnTo>
                        <a:lnTo>
                          <a:pt x="174" y="344"/>
                        </a:lnTo>
                        <a:lnTo>
                          <a:pt x="174" y="339"/>
                        </a:lnTo>
                        <a:lnTo>
                          <a:pt x="187" y="335"/>
                        </a:lnTo>
                        <a:lnTo>
                          <a:pt x="201" y="326"/>
                        </a:lnTo>
                        <a:lnTo>
                          <a:pt x="201" y="317"/>
                        </a:lnTo>
                        <a:lnTo>
                          <a:pt x="237" y="290"/>
                        </a:lnTo>
                        <a:lnTo>
                          <a:pt x="237" y="281"/>
                        </a:lnTo>
                        <a:lnTo>
                          <a:pt x="241" y="277"/>
                        </a:lnTo>
                        <a:lnTo>
                          <a:pt x="245" y="281"/>
                        </a:lnTo>
                        <a:lnTo>
                          <a:pt x="254" y="277"/>
                        </a:lnTo>
                        <a:lnTo>
                          <a:pt x="268" y="263"/>
                        </a:lnTo>
                        <a:lnTo>
                          <a:pt x="263" y="259"/>
                        </a:lnTo>
                        <a:lnTo>
                          <a:pt x="277" y="250"/>
                        </a:lnTo>
                        <a:lnTo>
                          <a:pt x="281" y="237"/>
                        </a:lnTo>
                        <a:lnTo>
                          <a:pt x="286" y="250"/>
                        </a:lnTo>
                        <a:lnTo>
                          <a:pt x="304" y="246"/>
                        </a:lnTo>
                        <a:lnTo>
                          <a:pt x="290" y="214"/>
                        </a:lnTo>
                        <a:lnTo>
                          <a:pt x="290" y="205"/>
                        </a:lnTo>
                        <a:lnTo>
                          <a:pt x="286" y="201"/>
                        </a:lnTo>
                        <a:lnTo>
                          <a:pt x="290" y="196"/>
                        </a:lnTo>
                        <a:lnTo>
                          <a:pt x="295" y="192"/>
                        </a:lnTo>
                        <a:lnTo>
                          <a:pt x="281" y="187"/>
                        </a:lnTo>
                        <a:lnTo>
                          <a:pt x="286" y="174"/>
                        </a:lnTo>
                        <a:lnTo>
                          <a:pt x="290" y="170"/>
                        </a:lnTo>
                        <a:lnTo>
                          <a:pt x="308" y="183"/>
                        </a:lnTo>
                        <a:lnTo>
                          <a:pt x="312" y="187"/>
                        </a:lnTo>
                        <a:lnTo>
                          <a:pt x="348" y="192"/>
                        </a:lnTo>
                        <a:lnTo>
                          <a:pt x="348" y="205"/>
                        </a:lnTo>
                        <a:lnTo>
                          <a:pt x="335" y="214"/>
                        </a:lnTo>
                        <a:lnTo>
                          <a:pt x="330" y="223"/>
                        </a:lnTo>
                        <a:lnTo>
                          <a:pt x="339" y="223"/>
                        </a:lnTo>
                        <a:lnTo>
                          <a:pt x="339" y="214"/>
                        </a:lnTo>
                        <a:lnTo>
                          <a:pt x="344" y="214"/>
                        </a:lnTo>
                        <a:lnTo>
                          <a:pt x="348" y="241"/>
                        </a:lnTo>
                        <a:lnTo>
                          <a:pt x="348" y="250"/>
                        </a:lnTo>
                        <a:lnTo>
                          <a:pt x="353" y="246"/>
                        </a:lnTo>
                        <a:lnTo>
                          <a:pt x="353" y="232"/>
                        </a:lnTo>
                        <a:lnTo>
                          <a:pt x="357" y="232"/>
                        </a:lnTo>
                        <a:lnTo>
                          <a:pt x="357" y="210"/>
                        </a:lnTo>
                        <a:lnTo>
                          <a:pt x="366" y="205"/>
                        </a:lnTo>
                        <a:lnTo>
                          <a:pt x="375" y="192"/>
                        </a:lnTo>
                        <a:lnTo>
                          <a:pt x="375" y="183"/>
                        </a:lnTo>
                        <a:lnTo>
                          <a:pt x="388" y="161"/>
                        </a:lnTo>
                        <a:lnTo>
                          <a:pt x="402" y="156"/>
                        </a:lnTo>
                        <a:lnTo>
                          <a:pt x="406" y="156"/>
                        </a:lnTo>
                        <a:lnTo>
                          <a:pt x="406" y="147"/>
                        </a:lnTo>
                        <a:lnTo>
                          <a:pt x="406" y="138"/>
                        </a:lnTo>
                        <a:lnTo>
                          <a:pt x="393" y="134"/>
                        </a:lnTo>
                        <a:lnTo>
                          <a:pt x="379" y="138"/>
                        </a:lnTo>
                        <a:lnTo>
                          <a:pt x="379" y="129"/>
                        </a:lnTo>
                        <a:lnTo>
                          <a:pt x="366" y="129"/>
                        </a:lnTo>
                        <a:lnTo>
                          <a:pt x="348" y="143"/>
                        </a:lnTo>
                        <a:lnTo>
                          <a:pt x="335" y="147"/>
                        </a:lnTo>
                        <a:lnTo>
                          <a:pt x="335" y="165"/>
                        </a:lnTo>
                        <a:lnTo>
                          <a:pt x="317" y="165"/>
                        </a:lnTo>
                        <a:lnTo>
                          <a:pt x="312" y="170"/>
                        </a:lnTo>
                        <a:lnTo>
                          <a:pt x="299" y="170"/>
                        </a:lnTo>
                        <a:lnTo>
                          <a:pt x="295" y="170"/>
                        </a:lnTo>
                        <a:lnTo>
                          <a:pt x="295" y="165"/>
                        </a:lnTo>
                        <a:lnTo>
                          <a:pt x="290" y="156"/>
                        </a:lnTo>
                        <a:lnTo>
                          <a:pt x="295" y="147"/>
                        </a:lnTo>
                        <a:lnTo>
                          <a:pt x="295" y="143"/>
                        </a:lnTo>
                        <a:lnTo>
                          <a:pt x="286" y="152"/>
                        </a:lnTo>
                        <a:lnTo>
                          <a:pt x="286" y="170"/>
                        </a:lnTo>
                        <a:lnTo>
                          <a:pt x="277" y="174"/>
                        </a:lnTo>
                        <a:lnTo>
                          <a:pt x="245" y="170"/>
                        </a:lnTo>
                        <a:lnTo>
                          <a:pt x="245" y="165"/>
                        </a:lnTo>
                        <a:lnTo>
                          <a:pt x="237" y="165"/>
                        </a:lnTo>
                        <a:lnTo>
                          <a:pt x="228" y="156"/>
                        </a:lnTo>
                        <a:lnTo>
                          <a:pt x="219" y="161"/>
                        </a:lnTo>
                        <a:lnTo>
                          <a:pt x="205" y="156"/>
                        </a:lnTo>
                        <a:lnTo>
                          <a:pt x="178" y="143"/>
                        </a:lnTo>
                        <a:lnTo>
                          <a:pt x="178" y="134"/>
                        </a:lnTo>
                        <a:lnTo>
                          <a:pt x="170" y="134"/>
                        </a:lnTo>
                        <a:lnTo>
                          <a:pt x="170" y="116"/>
                        </a:lnTo>
                        <a:lnTo>
                          <a:pt x="178" y="107"/>
                        </a:lnTo>
                        <a:lnTo>
                          <a:pt x="165" y="94"/>
                        </a:lnTo>
                        <a:lnTo>
                          <a:pt x="156" y="98"/>
                        </a:lnTo>
                        <a:lnTo>
                          <a:pt x="147" y="71"/>
                        </a:lnTo>
                        <a:lnTo>
                          <a:pt x="156" y="49"/>
                        </a:lnTo>
                        <a:lnTo>
                          <a:pt x="156" y="35"/>
                        </a:lnTo>
                        <a:lnTo>
                          <a:pt x="147" y="22"/>
                        </a:lnTo>
                        <a:lnTo>
                          <a:pt x="147" y="4"/>
                        </a:lnTo>
                        <a:lnTo>
                          <a:pt x="129" y="0"/>
                        </a:lnTo>
                        <a:lnTo>
                          <a:pt x="125" y="31"/>
                        </a:lnTo>
                        <a:lnTo>
                          <a:pt x="111" y="27"/>
                        </a:lnTo>
                        <a:lnTo>
                          <a:pt x="80" y="27"/>
                        </a:lnTo>
                        <a:lnTo>
                          <a:pt x="76" y="44"/>
                        </a:lnTo>
                        <a:lnTo>
                          <a:pt x="80" y="58"/>
                        </a:lnTo>
                        <a:lnTo>
                          <a:pt x="103" y="71"/>
                        </a:lnTo>
                        <a:lnTo>
                          <a:pt x="94" y="85"/>
                        </a:lnTo>
                        <a:lnTo>
                          <a:pt x="85" y="103"/>
                        </a:lnTo>
                        <a:lnTo>
                          <a:pt x="76" y="125"/>
                        </a:lnTo>
                        <a:lnTo>
                          <a:pt x="58" y="134"/>
                        </a:lnTo>
                        <a:lnTo>
                          <a:pt x="53" y="143"/>
                        </a:lnTo>
                        <a:lnTo>
                          <a:pt x="36" y="152"/>
                        </a:lnTo>
                        <a:lnTo>
                          <a:pt x="27" y="147"/>
                        </a:lnTo>
                        <a:lnTo>
                          <a:pt x="18" y="161"/>
                        </a:lnTo>
                        <a:lnTo>
                          <a:pt x="13" y="170"/>
                        </a:lnTo>
                        <a:lnTo>
                          <a:pt x="27" y="170"/>
                        </a:lnTo>
                        <a:lnTo>
                          <a:pt x="22" y="178"/>
                        </a:lnTo>
                        <a:lnTo>
                          <a:pt x="36" y="183"/>
                        </a:lnTo>
                        <a:lnTo>
                          <a:pt x="44" y="205"/>
                        </a:lnTo>
                        <a:lnTo>
                          <a:pt x="31" y="205"/>
                        </a:lnTo>
                        <a:lnTo>
                          <a:pt x="4" y="210"/>
                        </a:lnTo>
                        <a:lnTo>
                          <a:pt x="0" y="21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27" name="Freeform 124"/>
                  <p:cNvSpPr>
                    <a:spLocks noEditPoints="1"/>
                  </p:cNvSpPr>
                  <p:nvPr/>
                </p:nvSpPr>
                <p:spPr bwMode="gray">
                  <a:xfrm>
                    <a:off x="4045" y="2699"/>
                    <a:ext cx="657" cy="246"/>
                  </a:xfrm>
                  <a:custGeom>
                    <a:avLst/>
                    <a:gdLst>
                      <a:gd name="T0" fmla="*/ 45 w 657"/>
                      <a:gd name="T1" fmla="*/ 53 h 246"/>
                      <a:gd name="T2" fmla="*/ 85 w 657"/>
                      <a:gd name="T3" fmla="*/ 125 h 246"/>
                      <a:gd name="T4" fmla="*/ 147 w 657"/>
                      <a:gd name="T5" fmla="*/ 161 h 246"/>
                      <a:gd name="T6" fmla="*/ 134 w 657"/>
                      <a:gd name="T7" fmla="*/ 103 h 246"/>
                      <a:gd name="T8" fmla="*/ 116 w 657"/>
                      <a:gd name="T9" fmla="*/ 76 h 246"/>
                      <a:gd name="T10" fmla="*/ 80 w 657"/>
                      <a:gd name="T11" fmla="*/ 53 h 246"/>
                      <a:gd name="T12" fmla="*/ 18 w 657"/>
                      <a:gd name="T13" fmla="*/ 9 h 246"/>
                      <a:gd name="T14" fmla="*/ 40 w 657"/>
                      <a:gd name="T15" fmla="*/ 80 h 246"/>
                      <a:gd name="T16" fmla="*/ 54 w 657"/>
                      <a:gd name="T17" fmla="*/ 116 h 246"/>
                      <a:gd name="T18" fmla="*/ 71 w 657"/>
                      <a:gd name="T19" fmla="*/ 125 h 246"/>
                      <a:gd name="T20" fmla="*/ 76 w 657"/>
                      <a:gd name="T21" fmla="*/ 125 h 246"/>
                      <a:gd name="T22" fmla="*/ 165 w 657"/>
                      <a:gd name="T23" fmla="*/ 129 h 246"/>
                      <a:gd name="T24" fmla="*/ 152 w 657"/>
                      <a:gd name="T25" fmla="*/ 179 h 246"/>
                      <a:gd name="T26" fmla="*/ 192 w 657"/>
                      <a:gd name="T27" fmla="*/ 196 h 246"/>
                      <a:gd name="T28" fmla="*/ 277 w 657"/>
                      <a:gd name="T29" fmla="*/ 192 h 246"/>
                      <a:gd name="T30" fmla="*/ 255 w 657"/>
                      <a:gd name="T31" fmla="*/ 188 h 246"/>
                      <a:gd name="T32" fmla="*/ 196 w 657"/>
                      <a:gd name="T33" fmla="*/ 174 h 246"/>
                      <a:gd name="T34" fmla="*/ 174 w 657"/>
                      <a:gd name="T35" fmla="*/ 129 h 246"/>
                      <a:gd name="T36" fmla="*/ 183 w 657"/>
                      <a:gd name="T37" fmla="*/ 22 h 246"/>
                      <a:gd name="T38" fmla="*/ 201 w 657"/>
                      <a:gd name="T39" fmla="*/ 53 h 246"/>
                      <a:gd name="T40" fmla="*/ 214 w 657"/>
                      <a:gd name="T41" fmla="*/ 98 h 246"/>
                      <a:gd name="T42" fmla="*/ 259 w 657"/>
                      <a:gd name="T43" fmla="*/ 129 h 246"/>
                      <a:gd name="T44" fmla="*/ 304 w 657"/>
                      <a:gd name="T45" fmla="*/ 129 h 246"/>
                      <a:gd name="T46" fmla="*/ 344 w 657"/>
                      <a:gd name="T47" fmla="*/ 67 h 246"/>
                      <a:gd name="T48" fmla="*/ 304 w 657"/>
                      <a:gd name="T49" fmla="*/ 18 h 246"/>
                      <a:gd name="T50" fmla="*/ 228 w 657"/>
                      <a:gd name="T51" fmla="*/ 71 h 246"/>
                      <a:gd name="T52" fmla="*/ 290 w 657"/>
                      <a:gd name="T53" fmla="*/ 201 h 246"/>
                      <a:gd name="T54" fmla="*/ 304 w 657"/>
                      <a:gd name="T55" fmla="*/ 210 h 246"/>
                      <a:gd name="T56" fmla="*/ 344 w 657"/>
                      <a:gd name="T57" fmla="*/ 210 h 246"/>
                      <a:gd name="T58" fmla="*/ 411 w 657"/>
                      <a:gd name="T59" fmla="*/ 205 h 246"/>
                      <a:gd name="T60" fmla="*/ 353 w 657"/>
                      <a:gd name="T61" fmla="*/ 210 h 246"/>
                      <a:gd name="T62" fmla="*/ 339 w 657"/>
                      <a:gd name="T63" fmla="*/ 219 h 246"/>
                      <a:gd name="T64" fmla="*/ 366 w 657"/>
                      <a:gd name="T65" fmla="*/ 67 h 246"/>
                      <a:gd name="T66" fmla="*/ 339 w 657"/>
                      <a:gd name="T67" fmla="*/ 120 h 246"/>
                      <a:gd name="T68" fmla="*/ 362 w 657"/>
                      <a:gd name="T69" fmla="*/ 165 h 246"/>
                      <a:gd name="T70" fmla="*/ 380 w 657"/>
                      <a:gd name="T71" fmla="*/ 156 h 246"/>
                      <a:gd name="T72" fmla="*/ 397 w 657"/>
                      <a:gd name="T73" fmla="*/ 165 h 246"/>
                      <a:gd name="T74" fmla="*/ 371 w 657"/>
                      <a:gd name="T75" fmla="*/ 112 h 246"/>
                      <a:gd name="T76" fmla="*/ 380 w 657"/>
                      <a:gd name="T77" fmla="*/ 98 h 246"/>
                      <a:gd name="T78" fmla="*/ 433 w 657"/>
                      <a:gd name="T79" fmla="*/ 62 h 246"/>
                      <a:gd name="T80" fmla="*/ 433 w 657"/>
                      <a:gd name="T81" fmla="*/ 210 h 246"/>
                      <a:gd name="T82" fmla="*/ 420 w 657"/>
                      <a:gd name="T83" fmla="*/ 201 h 246"/>
                      <a:gd name="T84" fmla="*/ 402 w 657"/>
                      <a:gd name="T85" fmla="*/ 246 h 246"/>
                      <a:gd name="T86" fmla="*/ 447 w 657"/>
                      <a:gd name="T87" fmla="*/ 143 h 246"/>
                      <a:gd name="T88" fmla="*/ 482 w 657"/>
                      <a:gd name="T89" fmla="*/ 76 h 246"/>
                      <a:gd name="T90" fmla="*/ 469 w 657"/>
                      <a:gd name="T91" fmla="*/ 53 h 246"/>
                      <a:gd name="T92" fmla="*/ 464 w 657"/>
                      <a:gd name="T93" fmla="*/ 76 h 246"/>
                      <a:gd name="T94" fmla="*/ 469 w 657"/>
                      <a:gd name="T95" fmla="*/ 98 h 246"/>
                      <a:gd name="T96" fmla="*/ 505 w 657"/>
                      <a:gd name="T97" fmla="*/ 125 h 246"/>
                      <a:gd name="T98" fmla="*/ 500 w 657"/>
                      <a:gd name="T99" fmla="*/ 134 h 246"/>
                      <a:gd name="T100" fmla="*/ 509 w 657"/>
                      <a:gd name="T101" fmla="*/ 205 h 246"/>
                      <a:gd name="T102" fmla="*/ 563 w 657"/>
                      <a:gd name="T103" fmla="*/ 170 h 246"/>
                      <a:gd name="T104" fmla="*/ 563 w 657"/>
                      <a:gd name="T105" fmla="*/ 161 h 246"/>
                      <a:gd name="T106" fmla="*/ 590 w 657"/>
                      <a:gd name="T107" fmla="*/ 120 h 246"/>
                      <a:gd name="T108" fmla="*/ 554 w 657"/>
                      <a:gd name="T109" fmla="*/ 94 h 246"/>
                      <a:gd name="T110" fmla="*/ 509 w 657"/>
                      <a:gd name="T111" fmla="*/ 107 h 246"/>
                      <a:gd name="T112" fmla="*/ 536 w 657"/>
                      <a:gd name="T113" fmla="*/ 125 h 246"/>
                      <a:gd name="T114" fmla="*/ 545 w 657"/>
                      <a:gd name="T115" fmla="*/ 147 h 246"/>
                      <a:gd name="T116" fmla="*/ 625 w 657"/>
                      <a:gd name="T117" fmla="*/ 196 h 246"/>
                      <a:gd name="T118" fmla="*/ 652 w 657"/>
                      <a:gd name="T119" fmla="*/ 21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7" h="246">
                        <a:moveTo>
                          <a:pt x="0" y="4"/>
                        </a:moveTo>
                        <a:lnTo>
                          <a:pt x="0" y="9"/>
                        </a:lnTo>
                        <a:lnTo>
                          <a:pt x="4" y="18"/>
                        </a:lnTo>
                        <a:lnTo>
                          <a:pt x="22" y="31"/>
                        </a:lnTo>
                        <a:lnTo>
                          <a:pt x="36" y="53"/>
                        </a:lnTo>
                        <a:lnTo>
                          <a:pt x="45" y="53"/>
                        </a:lnTo>
                        <a:lnTo>
                          <a:pt x="54" y="58"/>
                        </a:lnTo>
                        <a:lnTo>
                          <a:pt x="49" y="62"/>
                        </a:lnTo>
                        <a:lnTo>
                          <a:pt x="58" y="85"/>
                        </a:lnTo>
                        <a:lnTo>
                          <a:pt x="62" y="85"/>
                        </a:lnTo>
                        <a:lnTo>
                          <a:pt x="85" y="112"/>
                        </a:lnTo>
                        <a:lnTo>
                          <a:pt x="85" y="125"/>
                        </a:lnTo>
                        <a:lnTo>
                          <a:pt x="107" y="156"/>
                        </a:lnTo>
                        <a:lnTo>
                          <a:pt x="121" y="161"/>
                        </a:lnTo>
                        <a:lnTo>
                          <a:pt x="134" y="179"/>
                        </a:lnTo>
                        <a:lnTo>
                          <a:pt x="129" y="165"/>
                        </a:lnTo>
                        <a:lnTo>
                          <a:pt x="147" y="174"/>
                        </a:lnTo>
                        <a:lnTo>
                          <a:pt x="147" y="161"/>
                        </a:lnTo>
                        <a:lnTo>
                          <a:pt x="152" y="174"/>
                        </a:lnTo>
                        <a:lnTo>
                          <a:pt x="156" y="134"/>
                        </a:lnTo>
                        <a:lnTo>
                          <a:pt x="147" y="120"/>
                        </a:lnTo>
                        <a:lnTo>
                          <a:pt x="138" y="116"/>
                        </a:lnTo>
                        <a:lnTo>
                          <a:pt x="138" y="120"/>
                        </a:lnTo>
                        <a:lnTo>
                          <a:pt x="134" y="103"/>
                        </a:lnTo>
                        <a:lnTo>
                          <a:pt x="116" y="98"/>
                        </a:lnTo>
                        <a:lnTo>
                          <a:pt x="121" y="94"/>
                        </a:lnTo>
                        <a:lnTo>
                          <a:pt x="121" y="89"/>
                        </a:lnTo>
                        <a:lnTo>
                          <a:pt x="125" y="85"/>
                        </a:lnTo>
                        <a:lnTo>
                          <a:pt x="125" y="80"/>
                        </a:lnTo>
                        <a:lnTo>
                          <a:pt x="116" y="76"/>
                        </a:lnTo>
                        <a:lnTo>
                          <a:pt x="112" y="80"/>
                        </a:lnTo>
                        <a:lnTo>
                          <a:pt x="116" y="71"/>
                        </a:lnTo>
                        <a:lnTo>
                          <a:pt x="103" y="62"/>
                        </a:lnTo>
                        <a:lnTo>
                          <a:pt x="98" y="62"/>
                        </a:lnTo>
                        <a:lnTo>
                          <a:pt x="98" y="53"/>
                        </a:lnTo>
                        <a:lnTo>
                          <a:pt x="80" y="53"/>
                        </a:lnTo>
                        <a:lnTo>
                          <a:pt x="71" y="45"/>
                        </a:lnTo>
                        <a:lnTo>
                          <a:pt x="67" y="49"/>
                        </a:lnTo>
                        <a:lnTo>
                          <a:pt x="67" y="40"/>
                        </a:lnTo>
                        <a:lnTo>
                          <a:pt x="36" y="4"/>
                        </a:lnTo>
                        <a:lnTo>
                          <a:pt x="27" y="4"/>
                        </a:lnTo>
                        <a:lnTo>
                          <a:pt x="18" y="9"/>
                        </a:lnTo>
                        <a:lnTo>
                          <a:pt x="4" y="0"/>
                        </a:lnTo>
                        <a:lnTo>
                          <a:pt x="0" y="4"/>
                        </a:lnTo>
                        <a:close/>
                        <a:moveTo>
                          <a:pt x="31" y="62"/>
                        </a:moveTo>
                        <a:lnTo>
                          <a:pt x="22" y="67"/>
                        </a:lnTo>
                        <a:lnTo>
                          <a:pt x="36" y="80"/>
                        </a:lnTo>
                        <a:lnTo>
                          <a:pt x="40" y="80"/>
                        </a:lnTo>
                        <a:lnTo>
                          <a:pt x="40" y="71"/>
                        </a:lnTo>
                        <a:lnTo>
                          <a:pt x="31" y="62"/>
                        </a:lnTo>
                        <a:close/>
                        <a:moveTo>
                          <a:pt x="54" y="98"/>
                        </a:moveTo>
                        <a:lnTo>
                          <a:pt x="49" y="103"/>
                        </a:lnTo>
                        <a:lnTo>
                          <a:pt x="49" y="107"/>
                        </a:lnTo>
                        <a:lnTo>
                          <a:pt x="54" y="116"/>
                        </a:lnTo>
                        <a:lnTo>
                          <a:pt x="62" y="112"/>
                        </a:lnTo>
                        <a:lnTo>
                          <a:pt x="54" y="98"/>
                        </a:lnTo>
                        <a:close/>
                        <a:moveTo>
                          <a:pt x="67" y="116"/>
                        </a:moveTo>
                        <a:lnTo>
                          <a:pt x="62" y="116"/>
                        </a:lnTo>
                        <a:lnTo>
                          <a:pt x="67" y="125"/>
                        </a:lnTo>
                        <a:lnTo>
                          <a:pt x="71" y="125"/>
                        </a:lnTo>
                        <a:lnTo>
                          <a:pt x="71" y="129"/>
                        </a:lnTo>
                        <a:lnTo>
                          <a:pt x="76" y="129"/>
                        </a:lnTo>
                        <a:lnTo>
                          <a:pt x="80" y="138"/>
                        </a:lnTo>
                        <a:lnTo>
                          <a:pt x="80" y="134"/>
                        </a:lnTo>
                        <a:lnTo>
                          <a:pt x="76" y="129"/>
                        </a:lnTo>
                        <a:lnTo>
                          <a:pt x="76" y="125"/>
                        </a:lnTo>
                        <a:lnTo>
                          <a:pt x="67" y="116"/>
                        </a:lnTo>
                        <a:close/>
                        <a:moveTo>
                          <a:pt x="147" y="107"/>
                        </a:moveTo>
                        <a:lnTo>
                          <a:pt x="147" y="116"/>
                        </a:lnTo>
                        <a:lnTo>
                          <a:pt x="152" y="116"/>
                        </a:lnTo>
                        <a:lnTo>
                          <a:pt x="156" y="129"/>
                        </a:lnTo>
                        <a:lnTo>
                          <a:pt x="165" y="129"/>
                        </a:lnTo>
                        <a:lnTo>
                          <a:pt x="165" y="129"/>
                        </a:lnTo>
                        <a:lnTo>
                          <a:pt x="165" y="120"/>
                        </a:lnTo>
                        <a:lnTo>
                          <a:pt x="161" y="120"/>
                        </a:lnTo>
                        <a:lnTo>
                          <a:pt x="152" y="107"/>
                        </a:lnTo>
                        <a:lnTo>
                          <a:pt x="147" y="107"/>
                        </a:lnTo>
                        <a:close/>
                        <a:moveTo>
                          <a:pt x="152" y="179"/>
                        </a:moveTo>
                        <a:lnTo>
                          <a:pt x="143" y="179"/>
                        </a:lnTo>
                        <a:lnTo>
                          <a:pt x="143" y="188"/>
                        </a:lnTo>
                        <a:lnTo>
                          <a:pt x="165" y="188"/>
                        </a:lnTo>
                        <a:lnTo>
                          <a:pt x="161" y="192"/>
                        </a:lnTo>
                        <a:lnTo>
                          <a:pt x="188" y="201"/>
                        </a:lnTo>
                        <a:lnTo>
                          <a:pt x="192" y="196"/>
                        </a:lnTo>
                        <a:lnTo>
                          <a:pt x="250" y="210"/>
                        </a:lnTo>
                        <a:lnTo>
                          <a:pt x="259" y="205"/>
                        </a:lnTo>
                        <a:lnTo>
                          <a:pt x="272" y="210"/>
                        </a:lnTo>
                        <a:lnTo>
                          <a:pt x="281" y="210"/>
                        </a:lnTo>
                        <a:lnTo>
                          <a:pt x="277" y="205"/>
                        </a:lnTo>
                        <a:lnTo>
                          <a:pt x="277" y="192"/>
                        </a:lnTo>
                        <a:lnTo>
                          <a:pt x="259" y="192"/>
                        </a:lnTo>
                        <a:lnTo>
                          <a:pt x="255" y="188"/>
                        </a:lnTo>
                        <a:lnTo>
                          <a:pt x="263" y="192"/>
                        </a:lnTo>
                        <a:lnTo>
                          <a:pt x="277" y="188"/>
                        </a:lnTo>
                        <a:lnTo>
                          <a:pt x="277" y="183"/>
                        </a:lnTo>
                        <a:lnTo>
                          <a:pt x="255" y="188"/>
                        </a:lnTo>
                        <a:lnTo>
                          <a:pt x="237" y="174"/>
                        </a:lnTo>
                        <a:lnTo>
                          <a:pt x="228" y="174"/>
                        </a:lnTo>
                        <a:lnTo>
                          <a:pt x="219" y="188"/>
                        </a:lnTo>
                        <a:lnTo>
                          <a:pt x="205" y="183"/>
                        </a:lnTo>
                        <a:lnTo>
                          <a:pt x="196" y="183"/>
                        </a:lnTo>
                        <a:lnTo>
                          <a:pt x="196" y="174"/>
                        </a:lnTo>
                        <a:lnTo>
                          <a:pt x="179" y="170"/>
                        </a:lnTo>
                        <a:lnTo>
                          <a:pt x="156" y="170"/>
                        </a:lnTo>
                        <a:lnTo>
                          <a:pt x="156" y="179"/>
                        </a:lnTo>
                        <a:lnTo>
                          <a:pt x="152" y="179"/>
                        </a:lnTo>
                        <a:close/>
                        <a:moveTo>
                          <a:pt x="170" y="125"/>
                        </a:moveTo>
                        <a:lnTo>
                          <a:pt x="174" y="129"/>
                        </a:lnTo>
                        <a:lnTo>
                          <a:pt x="179" y="138"/>
                        </a:lnTo>
                        <a:lnTo>
                          <a:pt x="188" y="134"/>
                        </a:lnTo>
                        <a:lnTo>
                          <a:pt x="188" y="125"/>
                        </a:lnTo>
                        <a:lnTo>
                          <a:pt x="183" y="120"/>
                        </a:lnTo>
                        <a:lnTo>
                          <a:pt x="170" y="125"/>
                        </a:lnTo>
                        <a:close/>
                        <a:moveTo>
                          <a:pt x="183" y="22"/>
                        </a:moveTo>
                        <a:lnTo>
                          <a:pt x="183" y="31"/>
                        </a:lnTo>
                        <a:lnTo>
                          <a:pt x="192" y="27"/>
                        </a:lnTo>
                        <a:lnTo>
                          <a:pt x="188" y="18"/>
                        </a:lnTo>
                        <a:lnTo>
                          <a:pt x="183" y="22"/>
                        </a:lnTo>
                        <a:close/>
                        <a:moveTo>
                          <a:pt x="205" y="53"/>
                        </a:moveTo>
                        <a:lnTo>
                          <a:pt x="201" y="53"/>
                        </a:lnTo>
                        <a:lnTo>
                          <a:pt x="196" y="71"/>
                        </a:lnTo>
                        <a:lnTo>
                          <a:pt x="196" y="80"/>
                        </a:lnTo>
                        <a:lnTo>
                          <a:pt x="201" y="85"/>
                        </a:lnTo>
                        <a:lnTo>
                          <a:pt x="201" y="94"/>
                        </a:lnTo>
                        <a:lnTo>
                          <a:pt x="205" y="107"/>
                        </a:lnTo>
                        <a:lnTo>
                          <a:pt x="214" y="98"/>
                        </a:lnTo>
                        <a:lnTo>
                          <a:pt x="214" y="103"/>
                        </a:lnTo>
                        <a:lnTo>
                          <a:pt x="214" y="112"/>
                        </a:lnTo>
                        <a:lnTo>
                          <a:pt x="214" y="134"/>
                        </a:lnTo>
                        <a:lnTo>
                          <a:pt x="241" y="129"/>
                        </a:lnTo>
                        <a:lnTo>
                          <a:pt x="241" y="138"/>
                        </a:lnTo>
                        <a:lnTo>
                          <a:pt x="259" y="129"/>
                        </a:lnTo>
                        <a:lnTo>
                          <a:pt x="277" y="138"/>
                        </a:lnTo>
                        <a:lnTo>
                          <a:pt x="281" y="147"/>
                        </a:lnTo>
                        <a:lnTo>
                          <a:pt x="295" y="134"/>
                        </a:lnTo>
                        <a:lnTo>
                          <a:pt x="299" y="143"/>
                        </a:lnTo>
                        <a:lnTo>
                          <a:pt x="304" y="138"/>
                        </a:lnTo>
                        <a:lnTo>
                          <a:pt x="304" y="129"/>
                        </a:lnTo>
                        <a:lnTo>
                          <a:pt x="304" y="116"/>
                        </a:lnTo>
                        <a:lnTo>
                          <a:pt x="304" y="112"/>
                        </a:lnTo>
                        <a:lnTo>
                          <a:pt x="322" y="94"/>
                        </a:lnTo>
                        <a:lnTo>
                          <a:pt x="322" y="85"/>
                        </a:lnTo>
                        <a:lnTo>
                          <a:pt x="326" y="71"/>
                        </a:lnTo>
                        <a:lnTo>
                          <a:pt x="344" y="67"/>
                        </a:lnTo>
                        <a:lnTo>
                          <a:pt x="322" y="53"/>
                        </a:lnTo>
                        <a:lnTo>
                          <a:pt x="326" y="49"/>
                        </a:lnTo>
                        <a:lnTo>
                          <a:pt x="322" y="36"/>
                        </a:lnTo>
                        <a:lnTo>
                          <a:pt x="326" y="27"/>
                        </a:lnTo>
                        <a:lnTo>
                          <a:pt x="322" y="18"/>
                        </a:lnTo>
                        <a:lnTo>
                          <a:pt x="304" y="18"/>
                        </a:lnTo>
                        <a:lnTo>
                          <a:pt x="295" y="22"/>
                        </a:lnTo>
                        <a:lnTo>
                          <a:pt x="281" y="49"/>
                        </a:lnTo>
                        <a:lnTo>
                          <a:pt x="277" y="62"/>
                        </a:lnTo>
                        <a:lnTo>
                          <a:pt x="255" y="62"/>
                        </a:lnTo>
                        <a:lnTo>
                          <a:pt x="246" y="71"/>
                        </a:lnTo>
                        <a:lnTo>
                          <a:pt x="228" y="71"/>
                        </a:lnTo>
                        <a:lnTo>
                          <a:pt x="210" y="58"/>
                        </a:lnTo>
                        <a:lnTo>
                          <a:pt x="205" y="53"/>
                        </a:lnTo>
                        <a:close/>
                        <a:moveTo>
                          <a:pt x="281" y="205"/>
                        </a:moveTo>
                        <a:lnTo>
                          <a:pt x="290" y="214"/>
                        </a:lnTo>
                        <a:lnTo>
                          <a:pt x="295" y="210"/>
                        </a:lnTo>
                        <a:lnTo>
                          <a:pt x="290" y="201"/>
                        </a:lnTo>
                        <a:lnTo>
                          <a:pt x="281" y="205"/>
                        </a:lnTo>
                        <a:close/>
                        <a:moveTo>
                          <a:pt x="304" y="201"/>
                        </a:moveTo>
                        <a:lnTo>
                          <a:pt x="299" y="205"/>
                        </a:lnTo>
                        <a:lnTo>
                          <a:pt x="299" y="210"/>
                        </a:lnTo>
                        <a:lnTo>
                          <a:pt x="299" y="214"/>
                        </a:lnTo>
                        <a:lnTo>
                          <a:pt x="304" y="210"/>
                        </a:lnTo>
                        <a:lnTo>
                          <a:pt x="313" y="205"/>
                        </a:lnTo>
                        <a:lnTo>
                          <a:pt x="304" y="201"/>
                        </a:lnTo>
                        <a:close/>
                        <a:moveTo>
                          <a:pt x="313" y="205"/>
                        </a:moveTo>
                        <a:lnTo>
                          <a:pt x="308" y="214"/>
                        </a:lnTo>
                        <a:lnTo>
                          <a:pt x="339" y="214"/>
                        </a:lnTo>
                        <a:lnTo>
                          <a:pt x="344" y="210"/>
                        </a:lnTo>
                        <a:lnTo>
                          <a:pt x="353" y="210"/>
                        </a:lnTo>
                        <a:lnTo>
                          <a:pt x="362" y="214"/>
                        </a:lnTo>
                        <a:lnTo>
                          <a:pt x="397" y="210"/>
                        </a:lnTo>
                        <a:lnTo>
                          <a:pt x="397" y="210"/>
                        </a:lnTo>
                        <a:lnTo>
                          <a:pt x="402" y="210"/>
                        </a:lnTo>
                        <a:lnTo>
                          <a:pt x="411" y="205"/>
                        </a:lnTo>
                        <a:lnTo>
                          <a:pt x="402" y="205"/>
                        </a:lnTo>
                        <a:lnTo>
                          <a:pt x="393" y="201"/>
                        </a:lnTo>
                        <a:lnTo>
                          <a:pt x="384" y="205"/>
                        </a:lnTo>
                        <a:lnTo>
                          <a:pt x="371" y="205"/>
                        </a:lnTo>
                        <a:lnTo>
                          <a:pt x="362" y="205"/>
                        </a:lnTo>
                        <a:lnTo>
                          <a:pt x="353" y="210"/>
                        </a:lnTo>
                        <a:lnTo>
                          <a:pt x="344" y="205"/>
                        </a:lnTo>
                        <a:lnTo>
                          <a:pt x="339" y="201"/>
                        </a:lnTo>
                        <a:lnTo>
                          <a:pt x="326" y="201"/>
                        </a:lnTo>
                        <a:lnTo>
                          <a:pt x="326" y="210"/>
                        </a:lnTo>
                        <a:lnTo>
                          <a:pt x="313" y="205"/>
                        </a:lnTo>
                        <a:close/>
                        <a:moveTo>
                          <a:pt x="339" y="219"/>
                        </a:moveTo>
                        <a:lnTo>
                          <a:pt x="362" y="237"/>
                        </a:lnTo>
                        <a:lnTo>
                          <a:pt x="371" y="232"/>
                        </a:lnTo>
                        <a:lnTo>
                          <a:pt x="357" y="219"/>
                        </a:lnTo>
                        <a:lnTo>
                          <a:pt x="348" y="219"/>
                        </a:lnTo>
                        <a:lnTo>
                          <a:pt x="339" y="219"/>
                        </a:lnTo>
                        <a:close/>
                        <a:moveTo>
                          <a:pt x="366" y="67"/>
                        </a:moveTo>
                        <a:lnTo>
                          <a:pt x="366" y="71"/>
                        </a:lnTo>
                        <a:lnTo>
                          <a:pt x="357" y="76"/>
                        </a:lnTo>
                        <a:lnTo>
                          <a:pt x="353" y="85"/>
                        </a:lnTo>
                        <a:lnTo>
                          <a:pt x="344" y="89"/>
                        </a:lnTo>
                        <a:lnTo>
                          <a:pt x="348" y="94"/>
                        </a:lnTo>
                        <a:lnTo>
                          <a:pt x="339" y="120"/>
                        </a:lnTo>
                        <a:lnTo>
                          <a:pt x="339" y="138"/>
                        </a:lnTo>
                        <a:lnTo>
                          <a:pt x="348" y="134"/>
                        </a:lnTo>
                        <a:lnTo>
                          <a:pt x="353" y="143"/>
                        </a:lnTo>
                        <a:lnTo>
                          <a:pt x="348" y="165"/>
                        </a:lnTo>
                        <a:lnTo>
                          <a:pt x="353" y="170"/>
                        </a:lnTo>
                        <a:lnTo>
                          <a:pt x="362" y="165"/>
                        </a:lnTo>
                        <a:lnTo>
                          <a:pt x="362" y="125"/>
                        </a:lnTo>
                        <a:lnTo>
                          <a:pt x="371" y="125"/>
                        </a:lnTo>
                        <a:lnTo>
                          <a:pt x="366" y="138"/>
                        </a:lnTo>
                        <a:lnTo>
                          <a:pt x="375" y="143"/>
                        </a:lnTo>
                        <a:lnTo>
                          <a:pt x="375" y="152"/>
                        </a:lnTo>
                        <a:lnTo>
                          <a:pt x="380" y="156"/>
                        </a:lnTo>
                        <a:lnTo>
                          <a:pt x="384" y="152"/>
                        </a:lnTo>
                        <a:lnTo>
                          <a:pt x="393" y="152"/>
                        </a:lnTo>
                        <a:lnTo>
                          <a:pt x="384" y="156"/>
                        </a:lnTo>
                        <a:lnTo>
                          <a:pt x="389" y="165"/>
                        </a:lnTo>
                        <a:lnTo>
                          <a:pt x="393" y="170"/>
                        </a:lnTo>
                        <a:lnTo>
                          <a:pt x="397" y="165"/>
                        </a:lnTo>
                        <a:lnTo>
                          <a:pt x="397" y="156"/>
                        </a:lnTo>
                        <a:lnTo>
                          <a:pt x="397" y="147"/>
                        </a:lnTo>
                        <a:lnTo>
                          <a:pt x="389" y="138"/>
                        </a:lnTo>
                        <a:lnTo>
                          <a:pt x="389" y="129"/>
                        </a:lnTo>
                        <a:lnTo>
                          <a:pt x="380" y="120"/>
                        </a:lnTo>
                        <a:lnTo>
                          <a:pt x="371" y="112"/>
                        </a:lnTo>
                        <a:lnTo>
                          <a:pt x="380" y="112"/>
                        </a:lnTo>
                        <a:lnTo>
                          <a:pt x="397" y="98"/>
                        </a:lnTo>
                        <a:lnTo>
                          <a:pt x="402" y="103"/>
                        </a:lnTo>
                        <a:lnTo>
                          <a:pt x="406" y="94"/>
                        </a:lnTo>
                        <a:lnTo>
                          <a:pt x="393" y="94"/>
                        </a:lnTo>
                        <a:lnTo>
                          <a:pt x="380" y="98"/>
                        </a:lnTo>
                        <a:lnTo>
                          <a:pt x="366" y="103"/>
                        </a:lnTo>
                        <a:lnTo>
                          <a:pt x="357" y="94"/>
                        </a:lnTo>
                        <a:lnTo>
                          <a:pt x="362" y="80"/>
                        </a:lnTo>
                        <a:lnTo>
                          <a:pt x="402" y="85"/>
                        </a:lnTo>
                        <a:lnTo>
                          <a:pt x="420" y="76"/>
                        </a:lnTo>
                        <a:lnTo>
                          <a:pt x="433" y="62"/>
                        </a:lnTo>
                        <a:lnTo>
                          <a:pt x="429" y="53"/>
                        </a:lnTo>
                        <a:lnTo>
                          <a:pt x="411" y="71"/>
                        </a:lnTo>
                        <a:lnTo>
                          <a:pt x="366" y="67"/>
                        </a:lnTo>
                        <a:close/>
                        <a:moveTo>
                          <a:pt x="420" y="201"/>
                        </a:moveTo>
                        <a:lnTo>
                          <a:pt x="415" y="210"/>
                        </a:lnTo>
                        <a:lnTo>
                          <a:pt x="433" y="210"/>
                        </a:lnTo>
                        <a:lnTo>
                          <a:pt x="442" y="201"/>
                        </a:lnTo>
                        <a:lnTo>
                          <a:pt x="451" y="201"/>
                        </a:lnTo>
                        <a:lnTo>
                          <a:pt x="456" y="196"/>
                        </a:lnTo>
                        <a:lnTo>
                          <a:pt x="442" y="196"/>
                        </a:lnTo>
                        <a:lnTo>
                          <a:pt x="433" y="205"/>
                        </a:lnTo>
                        <a:lnTo>
                          <a:pt x="420" y="201"/>
                        </a:lnTo>
                        <a:close/>
                        <a:moveTo>
                          <a:pt x="424" y="219"/>
                        </a:moveTo>
                        <a:lnTo>
                          <a:pt x="411" y="219"/>
                        </a:lnTo>
                        <a:lnTo>
                          <a:pt x="402" y="232"/>
                        </a:lnTo>
                        <a:lnTo>
                          <a:pt x="402" y="237"/>
                        </a:lnTo>
                        <a:lnTo>
                          <a:pt x="393" y="246"/>
                        </a:lnTo>
                        <a:lnTo>
                          <a:pt x="402" y="246"/>
                        </a:lnTo>
                        <a:lnTo>
                          <a:pt x="406" y="237"/>
                        </a:lnTo>
                        <a:lnTo>
                          <a:pt x="420" y="232"/>
                        </a:lnTo>
                        <a:lnTo>
                          <a:pt x="424" y="228"/>
                        </a:lnTo>
                        <a:lnTo>
                          <a:pt x="424" y="219"/>
                        </a:lnTo>
                        <a:close/>
                        <a:moveTo>
                          <a:pt x="438" y="129"/>
                        </a:moveTo>
                        <a:lnTo>
                          <a:pt x="447" y="143"/>
                        </a:lnTo>
                        <a:lnTo>
                          <a:pt x="456" y="134"/>
                        </a:lnTo>
                        <a:lnTo>
                          <a:pt x="451" y="129"/>
                        </a:lnTo>
                        <a:lnTo>
                          <a:pt x="438" y="129"/>
                        </a:lnTo>
                        <a:close/>
                        <a:moveTo>
                          <a:pt x="469" y="80"/>
                        </a:moveTo>
                        <a:lnTo>
                          <a:pt x="487" y="80"/>
                        </a:lnTo>
                        <a:lnTo>
                          <a:pt x="482" y="76"/>
                        </a:lnTo>
                        <a:lnTo>
                          <a:pt x="469" y="71"/>
                        </a:lnTo>
                        <a:lnTo>
                          <a:pt x="482" y="62"/>
                        </a:lnTo>
                        <a:lnTo>
                          <a:pt x="478" y="58"/>
                        </a:lnTo>
                        <a:lnTo>
                          <a:pt x="464" y="71"/>
                        </a:lnTo>
                        <a:lnTo>
                          <a:pt x="469" y="62"/>
                        </a:lnTo>
                        <a:lnTo>
                          <a:pt x="469" y="53"/>
                        </a:lnTo>
                        <a:lnTo>
                          <a:pt x="478" y="49"/>
                        </a:lnTo>
                        <a:lnTo>
                          <a:pt x="478" y="45"/>
                        </a:lnTo>
                        <a:lnTo>
                          <a:pt x="464" y="49"/>
                        </a:lnTo>
                        <a:lnTo>
                          <a:pt x="460" y="67"/>
                        </a:lnTo>
                        <a:lnTo>
                          <a:pt x="460" y="76"/>
                        </a:lnTo>
                        <a:lnTo>
                          <a:pt x="464" y="76"/>
                        </a:lnTo>
                        <a:lnTo>
                          <a:pt x="464" y="89"/>
                        </a:lnTo>
                        <a:lnTo>
                          <a:pt x="469" y="98"/>
                        </a:lnTo>
                        <a:lnTo>
                          <a:pt x="460" y="94"/>
                        </a:lnTo>
                        <a:lnTo>
                          <a:pt x="456" y="98"/>
                        </a:lnTo>
                        <a:lnTo>
                          <a:pt x="460" y="103"/>
                        </a:lnTo>
                        <a:lnTo>
                          <a:pt x="469" y="98"/>
                        </a:lnTo>
                        <a:lnTo>
                          <a:pt x="473" y="107"/>
                        </a:lnTo>
                        <a:lnTo>
                          <a:pt x="478" y="107"/>
                        </a:lnTo>
                        <a:lnTo>
                          <a:pt x="473" y="98"/>
                        </a:lnTo>
                        <a:lnTo>
                          <a:pt x="469" y="89"/>
                        </a:lnTo>
                        <a:lnTo>
                          <a:pt x="469" y="80"/>
                        </a:lnTo>
                        <a:close/>
                        <a:moveTo>
                          <a:pt x="505" y="125"/>
                        </a:moveTo>
                        <a:lnTo>
                          <a:pt x="491" y="125"/>
                        </a:lnTo>
                        <a:lnTo>
                          <a:pt x="469" y="125"/>
                        </a:lnTo>
                        <a:lnTo>
                          <a:pt x="464" y="134"/>
                        </a:lnTo>
                        <a:lnTo>
                          <a:pt x="478" y="138"/>
                        </a:lnTo>
                        <a:lnTo>
                          <a:pt x="482" y="134"/>
                        </a:lnTo>
                        <a:lnTo>
                          <a:pt x="500" y="134"/>
                        </a:lnTo>
                        <a:lnTo>
                          <a:pt x="514" y="138"/>
                        </a:lnTo>
                        <a:lnTo>
                          <a:pt x="505" y="125"/>
                        </a:lnTo>
                        <a:close/>
                        <a:moveTo>
                          <a:pt x="523" y="188"/>
                        </a:moveTo>
                        <a:lnTo>
                          <a:pt x="518" y="188"/>
                        </a:lnTo>
                        <a:lnTo>
                          <a:pt x="514" y="201"/>
                        </a:lnTo>
                        <a:lnTo>
                          <a:pt x="509" y="205"/>
                        </a:lnTo>
                        <a:lnTo>
                          <a:pt x="509" y="210"/>
                        </a:lnTo>
                        <a:lnTo>
                          <a:pt x="518" y="205"/>
                        </a:lnTo>
                        <a:lnTo>
                          <a:pt x="514" y="201"/>
                        </a:lnTo>
                        <a:lnTo>
                          <a:pt x="523" y="188"/>
                        </a:lnTo>
                        <a:close/>
                        <a:moveTo>
                          <a:pt x="563" y="161"/>
                        </a:moveTo>
                        <a:lnTo>
                          <a:pt x="563" y="170"/>
                        </a:lnTo>
                        <a:lnTo>
                          <a:pt x="558" y="174"/>
                        </a:lnTo>
                        <a:lnTo>
                          <a:pt x="554" y="188"/>
                        </a:lnTo>
                        <a:lnTo>
                          <a:pt x="563" y="188"/>
                        </a:lnTo>
                        <a:lnTo>
                          <a:pt x="567" y="179"/>
                        </a:lnTo>
                        <a:lnTo>
                          <a:pt x="567" y="165"/>
                        </a:lnTo>
                        <a:lnTo>
                          <a:pt x="563" y="161"/>
                        </a:lnTo>
                        <a:close/>
                        <a:moveTo>
                          <a:pt x="657" y="125"/>
                        </a:moveTo>
                        <a:lnTo>
                          <a:pt x="630" y="116"/>
                        </a:lnTo>
                        <a:lnTo>
                          <a:pt x="612" y="107"/>
                        </a:lnTo>
                        <a:lnTo>
                          <a:pt x="603" y="112"/>
                        </a:lnTo>
                        <a:lnTo>
                          <a:pt x="603" y="116"/>
                        </a:lnTo>
                        <a:lnTo>
                          <a:pt x="590" y="120"/>
                        </a:lnTo>
                        <a:lnTo>
                          <a:pt x="581" y="134"/>
                        </a:lnTo>
                        <a:lnTo>
                          <a:pt x="572" y="134"/>
                        </a:lnTo>
                        <a:lnTo>
                          <a:pt x="563" y="116"/>
                        </a:lnTo>
                        <a:lnTo>
                          <a:pt x="558" y="120"/>
                        </a:lnTo>
                        <a:lnTo>
                          <a:pt x="558" y="103"/>
                        </a:lnTo>
                        <a:lnTo>
                          <a:pt x="554" y="94"/>
                        </a:lnTo>
                        <a:lnTo>
                          <a:pt x="531" y="89"/>
                        </a:lnTo>
                        <a:lnTo>
                          <a:pt x="527" y="89"/>
                        </a:lnTo>
                        <a:lnTo>
                          <a:pt x="509" y="103"/>
                        </a:lnTo>
                        <a:lnTo>
                          <a:pt x="509" y="98"/>
                        </a:lnTo>
                        <a:lnTo>
                          <a:pt x="500" y="98"/>
                        </a:lnTo>
                        <a:lnTo>
                          <a:pt x="509" y="107"/>
                        </a:lnTo>
                        <a:lnTo>
                          <a:pt x="518" y="107"/>
                        </a:lnTo>
                        <a:lnTo>
                          <a:pt x="523" y="116"/>
                        </a:lnTo>
                        <a:lnTo>
                          <a:pt x="549" y="112"/>
                        </a:lnTo>
                        <a:lnTo>
                          <a:pt x="554" y="120"/>
                        </a:lnTo>
                        <a:lnTo>
                          <a:pt x="540" y="120"/>
                        </a:lnTo>
                        <a:lnTo>
                          <a:pt x="536" y="125"/>
                        </a:lnTo>
                        <a:lnTo>
                          <a:pt x="527" y="120"/>
                        </a:lnTo>
                        <a:lnTo>
                          <a:pt x="523" y="129"/>
                        </a:lnTo>
                        <a:lnTo>
                          <a:pt x="536" y="129"/>
                        </a:lnTo>
                        <a:lnTo>
                          <a:pt x="536" y="138"/>
                        </a:lnTo>
                        <a:lnTo>
                          <a:pt x="540" y="147"/>
                        </a:lnTo>
                        <a:lnTo>
                          <a:pt x="545" y="147"/>
                        </a:lnTo>
                        <a:lnTo>
                          <a:pt x="549" y="129"/>
                        </a:lnTo>
                        <a:lnTo>
                          <a:pt x="554" y="138"/>
                        </a:lnTo>
                        <a:lnTo>
                          <a:pt x="612" y="165"/>
                        </a:lnTo>
                        <a:lnTo>
                          <a:pt x="621" y="188"/>
                        </a:lnTo>
                        <a:lnTo>
                          <a:pt x="625" y="192"/>
                        </a:lnTo>
                        <a:lnTo>
                          <a:pt x="625" y="196"/>
                        </a:lnTo>
                        <a:lnTo>
                          <a:pt x="621" y="192"/>
                        </a:lnTo>
                        <a:lnTo>
                          <a:pt x="607" y="210"/>
                        </a:lnTo>
                        <a:lnTo>
                          <a:pt x="625" y="210"/>
                        </a:lnTo>
                        <a:lnTo>
                          <a:pt x="630" y="201"/>
                        </a:lnTo>
                        <a:lnTo>
                          <a:pt x="643" y="201"/>
                        </a:lnTo>
                        <a:lnTo>
                          <a:pt x="652" y="214"/>
                        </a:lnTo>
                        <a:lnTo>
                          <a:pt x="657" y="214"/>
                        </a:lnTo>
                        <a:lnTo>
                          <a:pt x="657" y="12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28" name="Freeform 125"/>
                  <p:cNvSpPr>
                    <a:spLocks/>
                  </p:cNvSpPr>
                  <p:nvPr/>
                </p:nvSpPr>
                <p:spPr bwMode="gray">
                  <a:xfrm>
                    <a:off x="3312" y="2154"/>
                    <a:ext cx="277" cy="250"/>
                  </a:xfrm>
                  <a:custGeom>
                    <a:avLst/>
                    <a:gdLst>
                      <a:gd name="T0" fmla="*/ 0 w 277"/>
                      <a:gd name="T1" fmla="*/ 9 h 250"/>
                      <a:gd name="T2" fmla="*/ 14 w 277"/>
                      <a:gd name="T3" fmla="*/ 40 h 250"/>
                      <a:gd name="T4" fmla="*/ 23 w 277"/>
                      <a:gd name="T5" fmla="*/ 71 h 250"/>
                      <a:gd name="T6" fmla="*/ 32 w 277"/>
                      <a:gd name="T7" fmla="*/ 80 h 250"/>
                      <a:gd name="T8" fmla="*/ 32 w 277"/>
                      <a:gd name="T9" fmla="*/ 120 h 250"/>
                      <a:gd name="T10" fmla="*/ 54 w 277"/>
                      <a:gd name="T11" fmla="*/ 152 h 250"/>
                      <a:gd name="T12" fmla="*/ 63 w 277"/>
                      <a:gd name="T13" fmla="*/ 165 h 250"/>
                      <a:gd name="T14" fmla="*/ 72 w 277"/>
                      <a:gd name="T15" fmla="*/ 165 h 250"/>
                      <a:gd name="T16" fmla="*/ 90 w 277"/>
                      <a:gd name="T17" fmla="*/ 165 h 250"/>
                      <a:gd name="T18" fmla="*/ 99 w 277"/>
                      <a:gd name="T19" fmla="*/ 187 h 250"/>
                      <a:gd name="T20" fmla="*/ 108 w 277"/>
                      <a:gd name="T21" fmla="*/ 201 h 250"/>
                      <a:gd name="T22" fmla="*/ 121 w 277"/>
                      <a:gd name="T23" fmla="*/ 214 h 250"/>
                      <a:gd name="T24" fmla="*/ 157 w 277"/>
                      <a:gd name="T25" fmla="*/ 228 h 250"/>
                      <a:gd name="T26" fmla="*/ 161 w 277"/>
                      <a:gd name="T27" fmla="*/ 228 h 250"/>
                      <a:gd name="T28" fmla="*/ 170 w 277"/>
                      <a:gd name="T29" fmla="*/ 219 h 250"/>
                      <a:gd name="T30" fmla="*/ 188 w 277"/>
                      <a:gd name="T31" fmla="*/ 219 h 250"/>
                      <a:gd name="T32" fmla="*/ 192 w 277"/>
                      <a:gd name="T33" fmla="*/ 241 h 250"/>
                      <a:gd name="T34" fmla="*/ 224 w 277"/>
                      <a:gd name="T35" fmla="*/ 250 h 250"/>
                      <a:gd name="T36" fmla="*/ 255 w 277"/>
                      <a:gd name="T37" fmla="*/ 245 h 250"/>
                      <a:gd name="T38" fmla="*/ 264 w 277"/>
                      <a:gd name="T39" fmla="*/ 228 h 250"/>
                      <a:gd name="T40" fmla="*/ 277 w 277"/>
                      <a:gd name="T41" fmla="*/ 214 h 250"/>
                      <a:gd name="T42" fmla="*/ 268 w 277"/>
                      <a:gd name="T43" fmla="*/ 201 h 250"/>
                      <a:gd name="T44" fmla="*/ 242 w 277"/>
                      <a:gd name="T45" fmla="*/ 178 h 250"/>
                      <a:gd name="T46" fmla="*/ 246 w 277"/>
                      <a:gd name="T47" fmla="*/ 161 h 250"/>
                      <a:gd name="T48" fmla="*/ 251 w 277"/>
                      <a:gd name="T49" fmla="*/ 143 h 250"/>
                      <a:gd name="T50" fmla="*/ 242 w 277"/>
                      <a:gd name="T51" fmla="*/ 107 h 250"/>
                      <a:gd name="T52" fmla="*/ 246 w 277"/>
                      <a:gd name="T53" fmla="*/ 71 h 250"/>
                      <a:gd name="T54" fmla="*/ 233 w 277"/>
                      <a:gd name="T55" fmla="*/ 53 h 250"/>
                      <a:gd name="T56" fmla="*/ 197 w 277"/>
                      <a:gd name="T57" fmla="*/ 31 h 250"/>
                      <a:gd name="T58" fmla="*/ 179 w 277"/>
                      <a:gd name="T59" fmla="*/ 31 h 250"/>
                      <a:gd name="T60" fmla="*/ 157 w 277"/>
                      <a:gd name="T61" fmla="*/ 40 h 250"/>
                      <a:gd name="T62" fmla="*/ 148 w 277"/>
                      <a:gd name="T63" fmla="*/ 53 h 250"/>
                      <a:gd name="T64" fmla="*/ 139 w 277"/>
                      <a:gd name="T65" fmla="*/ 49 h 250"/>
                      <a:gd name="T66" fmla="*/ 94 w 277"/>
                      <a:gd name="T67" fmla="*/ 53 h 250"/>
                      <a:gd name="T68" fmla="*/ 76 w 277"/>
                      <a:gd name="T69" fmla="*/ 40 h 250"/>
                      <a:gd name="T70" fmla="*/ 63 w 277"/>
                      <a:gd name="T71" fmla="*/ 18 h 250"/>
                      <a:gd name="T72" fmla="*/ 58 w 277"/>
                      <a:gd name="T73" fmla="*/ 0 h 250"/>
                      <a:gd name="T74" fmla="*/ 36 w 277"/>
                      <a:gd name="T75" fmla="*/ 18 h 250"/>
                      <a:gd name="T76" fmla="*/ 27 w 277"/>
                      <a:gd name="T77" fmla="*/ 1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7" h="250">
                        <a:moveTo>
                          <a:pt x="9" y="0"/>
                        </a:moveTo>
                        <a:lnTo>
                          <a:pt x="0" y="9"/>
                        </a:lnTo>
                        <a:lnTo>
                          <a:pt x="5" y="35"/>
                        </a:lnTo>
                        <a:lnTo>
                          <a:pt x="14" y="40"/>
                        </a:lnTo>
                        <a:lnTo>
                          <a:pt x="14" y="44"/>
                        </a:lnTo>
                        <a:lnTo>
                          <a:pt x="23" y="71"/>
                        </a:lnTo>
                        <a:lnTo>
                          <a:pt x="32" y="71"/>
                        </a:lnTo>
                        <a:lnTo>
                          <a:pt x="32" y="80"/>
                        </a:lnTo>
                        <a:lnTo>
                          <a:pt x="23" y="98"/>
                        </a:lnTo>
                        <a:lnTo>
                          <a:pt x="32" y="120"/>
                        </a:lnTo>
                        <a:lnTo>
                          <a:pt x="54" y="138"/>
                        </a:lnTo>
                        <a:lnTo>
                          <a:pt x="54" y="152"/>
                        </a:lnTo>
                        <a:lnTo>
                          <a:pt x="58" y="156"/>
                        </a:lnTo>
                        <a:lnTo>
                          <a:pt x="63" y="165"/>
                        </a:lnTo>
                        <a:lnTo>
                          <a:pt x="67" y="169"/>
                        </a:lnTo>
                        <a:lnTo>
                          <a:pt x="72" y="165"/>
                        </a:lnTo>
                        <a:lnTo>
                          <a:pt x="81" y="169"/>
                        </a:lnTo>
                        <a:lnTo>
                          <a:pt x="90" y="165"/>
                        </a:lnTo>
                        <a:lnTo>
                          <a:pt x="103" y="187"/>
                        </a:lnTo>
                        <a:lnTo>
                          <a:pt x="99" y="187"/>
                        </a:lnTo>
                        <a:lnTo>
                          <a:pt x="103" y="192"/>
                        </a:lnTo>
                        <a:lnTo>
                          <a:pt x="108" y="201"/>
                        </a:lnTo>
                        <a:lnTo>
                          <a:pt x="121" y="210"/>
                        </a:lnTo>
                        <a:lnTo>
                          <a:pt x="121" y="214"/>
                        </a:lnTo>
                        <a:lnTo>
                          <a:pt x="139" y="223"/>
                        </a:lnTo>
                        <a:lnTo>
                          <a:pt x="157" y="228"/>
                        </a:lnTo>
                        <a:lnTo>
                          <a:pt x="161" y="223"/>
                        </a:lnTo>
                        <a:lnTo>
                          <a:pt x="161" y="228"/>
                        </a:lnTo>
                        <a:lnTo>
                          <a:pt x="179" y="219"/>
                        </a:lnTo>
                        <a:lnTo>
                          <a:pt x="170" y="219"/>
                        </a:lnTo>
                        <a:lnTo>
                          <a:pt x="175" y="214"/>
                        </a:lnTo>
                        <a:lnTo>
                          <a:pt x="188" y="219"/>
                        </a:lnTo>
                        <a:lnTo>
                          <a:pt x="188" y="223"/>
                        </a:lnTo>
                        <a:lnTo>
                          <a:pt x="192" y="241"/>
                        </a:lnTo>
                        <a:lnTo>
                          <a:pt x="206" y="245"/>
                        </a:lnTo>
                        <a:lnTo>
                          <a:pt x="224" y="250"/>
                        </a:lnTo>
                        <a:lnTo>
                          <a:pt x="251" y="250"/>
                        </a:lnTo>
                        <a:lnTo>
                          <a:pt x="255" y="245"/>
                        </a:lnTo>
                        <a:lnTo>
                          <a:pt x="255" y="236"/>
                        </a:lnTo>
                        <a:lnTo>
                          <a:pt x="264" y="228"/>
                        </a:lnTo>
                        <a:lnTo>
                          <a:pt x="277" y="223"/>
                        </a:lnTo>
                        <a:lnTo>
                          <a:pt x="277" y="214"/>
                        </a:lnTo>
                        <a:lnTo>
                          <a:pt x="268" y="214"/>
                        </a:lnTo>
                        <a:lnTo>
                          <a:pt x="268" y="201"/>
                        </a:lnTo>
                        <a:lnTo>
                          <a:pt x="255" y="196"/>
                        </a:lnTo>
                        <a:lnTo>
                          <a:pt x="242" y="178"/>
                        </a:lnTo>
                        <a:lnTo>
                          <a:pt x="242" y="174"/>
                        </a:lnTo>
                        <a:lnTo>
                          <a:pt x="246" y="161"/>
                        </a:lnTo>
                        <a:lnTo>
                          <a:pt x="255" y="156"/>
                        </a:lnTo>
                        <a:lnTo>
                          <a:pt x="251" y="143"/>
                        </a:lnTo>
                        <a:lnTo>
                          <a:pt x="242" y="143"/>
                        </a:lnTo>
                        <a:lnTo>
                          <a:pt x="242" y="107"/>
                        </a:lnTo>
                        <a:lnTo>
                          <a:pt x="237" y="98"/>
                        </a:lnTo>
                        <a:lnTo>
                          <a:pt x="246" y="71"/>
                        </a:lnTo>
                        <a:lnTo>
                          <a:pt x="246" y="53"/>
                        </a:lnTo>
                        <a:lnTo>
                          <a:pt x="233" y="53"/>
                        </a:lnTo>
                        <a:lnTo>
                          <a:pt x="219" y="35"/>
                        </a:lnTo>
                        <a:lnTo>
                          <a:pt x="197" y="31"/>
                        </a:lnTo>
                        <a:lnTo>
                          <a:pt x="188" y="22"/>
                        </a:lnTo>
                        <a:lnTo>
                          <a:pt x="179" y="31"/>
                        </a:lnTo>
                        <a:lnTo>
                          <a:pt x="166" y="31"/>
                        </a:lnTo>
                        <a:lnTo>
                          <a:pt x="157" y="40"/>
                        </a:lnTo>
                        <a:lnTo>
                          <a:pt x="148" y="44"/>
                        </a:lnTo>
                        <a:lnTo>
                          <a:pt x="148" y="53"/>
                        </a:lnTo>
                        <a:lnTo>
                          <a:pt x="139" y="53"/>
                        </a:lnTo>
                        <a:lnTo>
                          <a:pt x="139" y="49"/>
                        </a:lnTo>
                        <a:lnTo>
                          <a:pt x="108" y="58"/>
                        </a:lnTo>
                        <a:lnTo>
                          <a:pt x="94" y="53"/>
                        </a:lnTo>
                        <a:lnTo>
                          <a:pt x="90" y="44"/>
                        </a:lnTo>
                        <a:lnTo>
                          <a:pt x="76" y="40"/>
                        </a:lnTo>
                        <a:lnTo>
                          <a:pt x="76" y="26"/>
                        </a:lnTo>
                        <a:lnTo>
                          <a:pt x="63" y="18"/>
                        </a:lnTo>
                        <a:lnTo>
                          <a:pt x="63" y="4"/>
                        </a:lnTo>
                        <a:lnTo>
                          <a:pt x="58" y="0"/>
                        </a:lnTo>
                        <a:lnTo>
                          <a:pt x="36" y="13"/>
                        </a:lnTo>
                        <a:lnTo>
                          <a:pt x="36" y="18"/>
                        </a:lnTo>
                        <a:lnTo>
                          <a:pt x="32" y="18"/>
                        </a:lnTo>
                        <a:lnTo>
                          <a:pt x="27" y="13"/>
                        </a:lnTo>
                        <a:lnTo>
                          <a:pt x="9"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29" name="Freeform 126"/>
                  <p:cNvSpPr>
                    <a:spLocks/>
                  </p:cNvSpPr>
                  <p:nvPr/>
                </p:nvSpPr>
                <p:spPr bwMode="gray">
                  <a:xfrm>
                    <a:off x="3236" y="2198"/>
                    <a:ext cx="139" cy="143"/>
                  </a:xfrm>
                  <a:custGeom>
                    <a:avLst/>
                    <a:gdLst>
                      <a:gd name="T0" fmla="*/ 0 w 139"/>
                      <a:gd name="T1" fmla="*/ 72 h 143"/>
                      <a:gd name="T2" fmla="*/ 9 w 139"/>
                      <a:gd name="T3" fmla="*/ 90 h 143"/>
                      <a:gd name="T4" fmla="*/ 32 w 139"/>
                      <a:gd name="T5" fmla="*/ 94 h 143"/>
                      <a:gd name="T6" fmla="*/ 63 w 139"/>
                      <a:gd name="T7" fmla="*/ 117 h 143"/>
                      <a:gd name="T8" fmla="*/ 63 w 139"/>
                      <a:gd name="T9" fmla="*/ 125 h 143"/>
                      <a:gd name="T10" fmla="*/ 72 w 139"/>
                      <a:gd name="T11" fmla="*/ 125 h 143"/>
                      <a:gd name="T12" fmla="*/ 72 w 139"/>
                      <a:gd name="T13" fmla="*/ 139 h 143"/>
                      <a:gd name="T14" fmla="*/ 85 w 139"/>
                      <a:gd name="T15" fmla="*/ 143 h 143"/>
                      <a:gd name="T16" fmla="*/ 112 w 139"/>
                      <a:gd name="T17" fmla="*/ 143 h 143"/>
                      <a:gd name="T18" fmla="*/ 121 w 139"/>
                      <a:gd name="T19" fmla="*/ 139 h 143"/>
                      <a:gd name="T20" fmla="*/ 121 w 139"/>
                      <a:gd name="T21" fmla="*/ 130 h 143"/>
                      <a:gd name="T22" fmla="*/ 134 w 139"/>
                      <a:gd name="T23" fmla="*/ 125 h 143"/>
                      <a:gd name="T24" fmla="*/ 134 w 139"/>
                      <a:gd name="T25" fmla="*/ 125 h 143"/>
                      <a:gd name="T26" fmla="*/ 139 w 139"/>
                      <a:gd name="T27" fmla="*/ 125 h 143"/>
                      <a:gd name="T28" fmla="*/ 139 w 139"/>
                      <a:gd name="T29" fmla="*/ 121 h 143"/>
                      <a:gd name="T30" fmla="*/ 134 w 139"/>
                      <a:gd name="T31" fmla="*/ 112 h 143"/>
                      <a:gd name="T32" fmla="*/ 130 w 139"/>
                      <a:gd name="T33" fmla="*/ 108 h 143"/>
                      <a:gd name="T34" fmla="*/ 130 w 139"/>
                      <a:gd name="T35" fmla="*/ 94 h 143"/>
                      <a:gd name="T36" fmla="*/ 108 w 139"/>
                      <a:gd name="T37" fmla="*/ 76 h 143"/>
                      <a:gd name="T38" fmla="*/ 99 w 139"/>
                      <a:gd name="T39" fmla="*/ 54 h 143"/>
                      <a:gd name="T40" fmla="*/ 108 w 139"/>
                      <a:gd name="T41" fmla="*/ 36 h 143"/>
                      <a:gd name="T42" fmla="*/ 108 w 139"/>
                      <a:gd name="T43" fmla="*/ 27 h 143"/>
                      <a:gd name="T44" fmla="*/ 99 w 139"/>
                      <a:gd name="T45" fmla="*/ 27 h 143"/>
                      <a:gd name="T46" fmla="*/ 90 w 139"/>
                      <a:gd name="T47" fmla="*/ 0 h 143"/>
                      <a:gd name="T48" fmla="*/ 81 w 139"/>
                      <a:gd name="T49" fmla="*/ 5 h 143"/>
                      <a:gd name="T50" fmla="*/ 63 w 139"/>
                      <a:gd name="T51" fmla="*/ 0 h 143"/>
                      <a:gd name="T52" fmla="*/ 58 w 139"/>
                      <a:gd name="T53" fmla="*/ 5 h 143"/>
                      <a:gd name="T54" fmla="*/ 54 w 139"/>
                      <a:gd name="T55" fmla="*/ 9 h 143"/>
                      <a:gd name="T56" fmla="*/ 41 w 139"/>
                      <a:gd name="T57" fmla="*/ 18 h 143"/>
                      <a:gd name="T58" fmla="*/ 36 w 139"/>
                      <a:gd name="T59" fmla="*/ 45 h 143"/>
                      <a:gd name="T60" fmla="*/ 0 w 139"/>
                      <a:gd name="T61" fmla="*/ 7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9" h="143">
                        <a:moveTo>
                          <a:pt x="0" y="72"/>
                        </a:moveTo>
                        <a:lnTo>
                          <a:pt x="9" y="90"/>
                        </a:lnTo>
                        <a:lnTo>
                          <a:pt x="32" y="94"/>
                        </a:lnTo>
                        <a:lnTo>
                          <a:pt x="63" y="117"/>
                        </a:lnTo>
                        <a:lnTo>
                          <a:pt x="63" y="125"/>
                        </a:lnTo>
                        <a:lnTo>
                          <a:pt x="72" y="125"/>
                        </a:lnTo>
                        <a:lnTo>
                          <a:pt x="72" y="139"/>
                        </a:lnTo>
                        <a:lnTo>
                          <a:pt x="85" y="143"/>
                        </a:lnTo>
                        <a:lnTo>
                          <a:pt x="112" y="143"/>
                        </a:lnTo>
                        <a:lnTo>
                          <a:pt x="121" y="139"/>
                        </a:lnTo>
                        <a:lnTo>
                          <a:pt x="121" y="130"/>
                        </a:lnTo>
                        <a:lnTo>
                          <a:pt x="134" y="125"/>
                        </a:lnTo>
                        <a:lnTo>
                          <a:pt x="134" y="125"/>
                        </a:lnTo>
                        <a:lnTo>
                          <a:pt x="139" y="125"/>
                        </a:lnTo>
                        <a:lnTo>
                          <a:pt x="139" y="121"/>
                        </a:lnTo>
                        <a:lnTo>
                          <a:pt x="134" y="112"/>
                        </a:lnTo>
                        <a:lnTo>
                          <a:pt x="130" y="108"/>
                        </a:lnTo>
                        <a:lnTo>
                          <a:pt x="130" y="94"/>
                        </a:lnTo>
                        <a:lnTo>
                          <a:pt x="108" y="76"/>
                        </a:lnTo>
                        <a:lnTo>
                          <a:pt x="99" y="54"/>
                        </a:lnTo>
                        <a:lnTo>
                          <a:pt x="108" y="36"/>
                        </a:lnTo>
                        <a:lnTo>
                          <a:pt x="108" y="27"/>
                        </a:lnTo>
                        <a:lnTo>
                          <a:pt x="99" y="27"/>
                        </a:lnTo>
                        <a:lnTo>
                          <a:pt x="90" y="0"/>
                        </a:lnTo>
                        <a:lnTo>
                          <a:pt x="81" y="5"/>
                        </a:lnTo>
                        <a:lnTo>
                          <a:pt x="63" y="0"/>
                        </a:lnTo>
                        <a:lnTo>
                          <a:pt x="58" y="5"/>
                        </a:lnTo>
                        <a:lnTo>
                          <a:pt x="54" y="9"/>
                        </a:lnTo>
                        <a:lnTo>
                          <a:pt x="41" y="18"/>
                        </a:lnTo>
                        <a:lnTo>
                          <a:pt x="36" y="45"/>
                        </a:lnTo>
                        <a:lnTo>
                          <a:pt x="0" y="7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30" name="Freeform 127"/>
                  <p:cNvSpPr>
                    <a:spLocks/>
                  </p:cNvSpPr>
                  <p:nvPr/>
                </p:nvSpPr>
                <p:spPr bwMode="gray">
                  <a:xfrm>
                    <a:off x="3174" y="2265"/>
                    <a:ext cx="22" cy="67"/>
                  </a:xfrm>
                  <a:custGeom>
                    <a:avLst/>
                    <a:gdLst>
                      <a:gd name="T0" fmla="*/ 0 w 22"/>
                      <a:gd name="T1" fmla="*/ 32 h 67"/>
                      <a:gd name="T2" fmla="*/ 4 w 22"/>
                      <a:gd name="T3" fmla="*/ 36 h 67"/>
                      <a:gd name="T4" fmla="*/ 0 w 22"/>
                      <a:gd name="T5" fmla="*/ 45 h 67"/>
                      <a:gd name="T6" fmla="*/ 9 w 22"/>
                      <a:gd name="T7" fmla="*/ 67 h 67"/>
                      <a:gd name="T8" fmla="*/ 13 w 22"/>
                      <a:gd name="T9" fmla="*/ 63 h 67"/>
                      <a:gd name="T10" fmla="*/ 18 w 22"/>
                      <a:gd name="T11" fmla="*/ 41 h 67"/>
                      <a:gd name="T12" fmla="*/ 18 w 22"/>
                      <a:gd name="T13" fmla="*/ 27 h 67"/>
                      <a:gd name="T14" fmla="*/ 13 w 22"/>
                      <a:gd name="T15" fmla="*/ 23 h 67"/>
                      <a:gd name="T16" fmla="*/ 13 w 22"/>
                      <a:gd name="T17" fmla="*/ 23 h 67"/>
                      <a:gd name="T18" fmla="*/ 22 w 22"/>
                      <a:gd name="T19" fmla="*/ 14 h 67"/>
                      <a:gd name="T20" fmla="*/ 22 w 22"/>
                      <a:gd name="T21" fmla="*/ 0 h 67"/>
                      <a:gd name="T22" fmla="*/ 13 w 22"/>
                      <a:gd name="T23" fmla="*/ 5 h 67"/>
                      <a:gd name="T24" fmla="*/ 9 w 22"/>
                      <a:gd name="T25" fmla="*/ 5 h 67"/>
                      <a:gd name="T26" fmla="*/ 4 w 22"/>
                      <a:gd name="T27" fmla="*/ 5 h 67"/>
                      <a:gd name="T28" fmla="*/ 4 w 22"/>
                      <a:gd name="T29" fmla="*/ 9 h 67"/>
                      <a:gd name="T30" fmla="*/ 0 w 22"/>
                      <a:gd name="T31"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7">
                        <a:moveTo>
                          <a:pt x="0" y="32"/>
                        </a:moveTo>
                        <a:lnTo>
                          <a:pt x="4" y="36"/>
                        </a:lnTo>
                        <a:lnTo>
                          <a:pt x="0" y="45"/>
                        </a:lnTo>
                        <a:lnTo>
                          <a:pt x="9" y="67"/>
                        </a:lnTo>
                        <a:lnTo>
                          <a:pt x="13" y="63"/>
                        </a:lnTo>
                        <a:lnTo>
                          <a:pt x="18" y="41"/>
                        </a:lnTo>
                        <a:lnTo>
                          <a:pt x="18" y="27"/>
                        </a:lnTo>
                        <a:lnTo>
                          <a:pt x="13" y="23"/>
                        </a:lnTo>
                        <a:lnTo>
                          <a:pt x="13" y="23"/>
                        </a:lnTo>
                        <a:lnTo>
                          <a:pt x="22" y="14"/>
                        </a:lnTo>
                        <a:lnTo>
                          <a:pt x="22" y="0"/>
                        </a:lnTo>
                        <a:lnTo>
                          <a:pt x="13" y="5"/>
                        </a:lnTo>
                        <a:lnTo>
                          <a:pt x="9" y="5"/>
                        </a:lnTo>
                        <a:lnTo>
                          <a:pt x="4" y="5"/>
                        </a:lnTo>
                        <a:lnTo>
                          <a:pt x="4" y="9"/>
                        </a:lnTo>
                        <a:lnTo>
                          <a:pt x="0" y="3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31" name="Freeform 128"/>
                  <p:cNvSpPr>
                    <a:spLocks noEditPoints="1"/>
                  </p:cNvSpPr>
                  <p:nvPr/>
                </p:nvSpPr>
                <p:spPr bwMode="gray">
                  <a:xfrm>
                    <a:off x="4447" y="2037"/>
                    <a:ext cx="317" cy="380"/>
                  </a:xfrm>
                  <a:custGeom>
                    <a:avLst/>
                    <a:gdLst>
                      <a:gd name="T0" fmla="*/ 0 w 317"/>
                      <a:gd name="T1" fmla="*/ 380 h 380"/>
                      <a:gd name="T2" fmla="*/ 13 w 317"/>
                      <a:gd name="T3" fmla="*/ 380 h 380"/>
                      <a:gd name="T4" fmla="*/ 9 w 317"/>
                      <a:gd name="T5" fmla="*/ 380 h 380"/>
                      <a:gd name="T6" fmla="*/ 27 w 317"/>
                      <a:gd name="T7" fmla="*/ 376 h 380"/>
                      <a:gd name="T8" fmla="*/ 27 w 317"/>
                      <a:gd name="T9" fmla="*/ 367 h 380"/>
                      <a:gd name="T10" fmla="*/ 58 w 317"/>
                      <a:gd name="T11" fmla="*/ 349 h 380"/>
                      <a:gd name="T12" fmla="*/ 71 w 317"/>
                      <a:gd name="T13" fmla="*/ 340 h 380"/>
                      <a:gd name="T14" fmla="*/ 80 w 317"/>
                      <a:gd name="T15" fmla="*/ 331 h 380"/>
                      <a:gd name="T16" fmla="*/ 76 w 317"/>
                      <a:gd name="T17" fmla="*/ 322 h 380"/>
                      <a:gd name="T18" fmla="*/ 116 w 317"/>
                      <a:gd name="T19" fmla="*/ 228 h 380"/>
                      <a:gd name="T20" fmla="*/ 107 w 317"/>
                      <a:gd name="T21" fmla="*/ 219 h 380"/>
                      <a:gd name="T22" fmla="*/ 85 w 317"/>
                      <a:gd name="T23" fmla="*/ 233 h 380"/>
                      <a:gd name="T24" fmla="*/ 98 w 317"/>
                      <a:gd name="T25" fmla="*/ 251 h 380"/>
                      <a:gd name="T26" fmla="*/ 116 w 317"/>
                      <a:gd name="T27" fmla="*/ 264 h 380"/>
                      <a:gd name="T28" fmla="*/ 174 w 317"/>
                      <a:gd name="T29" fmla="*/ 193 h 380"/>
                      <a:gd name="T30" fmla="*/ 161 w 317"/>
                      <a:gd name="T31" fmla="*/ 188 h 380"/>
                      <a:gd name="T32" fmla="*/ 116 w 317"/>
                      <a:gd name="T33" fmla="*/ 202 h 380"/>
                      <a:gd name="T34" fmla="*/ 112 w 317"/>
                      <a:gd name="T35" fmla="*/ 219 h 380"/>
                      <a:gd name="T36" fmla="*/ 129 w 317"/>
                      <a:gd name="T37" fmla="*/ 215 h 380"/>
                      <a:gd name="T38" fmla="*/ 125 w 317"/>
                      <a:gd name="T39" fmla="*/ 233 h 380"/>
                      <a:gd name="T40" fmla="*/ 143 w 317"/>
                      <a:gd name="T41" fmla="*/ 224 h 380"/>
                      <a:gd name="T42" fmla="*/ 152 w 317"/>
                      <a:gd name="T43" fmla="*/ 215 h 380"/>
                      <a:gd name="T44" fmla="*/ 134 w 317"/>
                      <a:gd name="T45" fmla="*/ 219 h 380"/>
                      <a:gd name="T46" fmla="*/ 161 w 317"/>
                      <a:gd name="T47" fmla="*/ 210 h 380"/>
                      <a:gd name="T48" fmla="*/ 170 w 317"/>
                      <a:gd name="T49" fmla="*/ 215 h 380"/>
                      <a:gd name="T50" fmla="*/ 183 w 317"/>
                      <a:gd name="T51" fmla="*/ 215 h 380"/>
                      <a:gd name="T52" fmla="*/ 214 w 317"/>
                      <a:gd name="T53" fmla="*/ 197 h 380"/>
                      <a:gd name="T54" fmla="*/ 223 w 317"/>
                      <a:gd name="T55" fmla="*/ 210 h 380"/>
                      <a:gd name="T56" fmla="*/ 232 w 317"/>
                      <a:gd name="T57" fmla="*/ 197 h 380"/>
                      <a:gd name="T58" fmla="*/ 246 w 317"/>
                      <a:gd name="T59" fmla="*/ 188 h 380"/>
                      <a:gd name="T60" fmla="*/ 250 w 317"/>
                      <a:gd name="T61" fmla="*/ 170 h 380"/>
                      <a:gd name="T62" fmla="*/ 255 w 317"/>
                      <a:gd name="T63" fmla="*/ 139 h 380"/>
                      <a:gd name="T64" fmla="*/ 259 w 317"/>
                      <a:gd name="T65" fmla="*/ 135 h 380"/>
                      <a:gd name="T66" fmla="*/ 255 w 317"/>
                      <a:gd name="T67" fmla="*/ 94 h 380"/>
                      <a:gd name="T68" fmla="*/ 250 w 317"/>
                      <a:gd name="T69" fmla="*/ 85 h 380"/>
                      <a:gd name="T70" fmla="*/ 241 w 317"/>
                      <a:gd name="T71" fmla="*/ 85 h 380"/>
                      <a:gd name="T72" fmla="*/ 228 w 317"/>
                      <a:gd name="T73" fmla="*/ 112 h 380"/>
                      <a:gd name="T74" fmla="*/ 232 w 317"/>
                      <a:gd name="T75" fmla="*/ 130 h 380"/>
                      <a:gd name="T76" fmla="*/ 192 w 317"/>
                      <a:gd name="T77" fmla="*/ 161 h 380"/>
                      <a:gd name="T78" fmla="*/ 188 w 317"/>
                      <a:gd name="T79" fmla="*/ 161 h 380"/>
                      <a:gd name="T80" fmla="*/ 179 w 317"/>
                      <a:gd name="T81" fmla="*/ 184 h 380"/>
                      <a:gd name="T82" fmla="*/ 255 w 317"/>
                      <a:gd name="T83" fmla="*/ 41 h 380"/>
                      <a:gd name="T84" fmla="*/ 241 w 317"/>
                      <a:gd name="T85" fmla="*/ 45 h 380"/>
                      <a:gd name="T86" fmla="*/ 232 w 317"/>
                      <a:gd name="T87" fmla="*/ 63 h 380"/>
                      <a:gd name="T88" fmla="*/ 241 w 317"/>
                      <a:gd name="T89" fmla="*/ 81 h 380"/>
                      <a:gd name="T90" fmla="*/ 255 w 317"/>
                      <a:gd name="T91" fmla="*/ 72 h 380"/>
                      <a:gd name="T92" fmla="*/ 250 w 317"/>
                      <a:gd name="T93" fmla="*/ 59 h 380"/>
                      <a:gd name="T94" fmla="*/ 255 w 317"/>
                      <a:gd name="T95" fmla="*/ 59 h 380"/>
                      <a:gd name="T96" fmla="*/ 286 w 317"/>
                      <a:gd name="T97" fmla="*/ 72 h 380"/>
                      <a:gd name="T98" fmla="*/ 308 w 317"/>
                      <a:gd name="T99" fmla="*/ 50 h 380"/>
                      <a:gd name="T100" fmla="*/ 308 w 317"/>
                      <a:gd name="T101" fmla="*/ 32 h 380"/>
                      <a:gd name="T102" fmla="*/ 299 w 317"/>
                      <a:gd name="T103" fmla="*/ 32 h 380"/>
                      <a:gd name="T104" fmla="*/ 255 w 317"/>
                      <a:gd name="T105" fmla="*/ 5 h 380"/>
                      <a:gd name="T106" fmla="*/ 259 w 317"/>
                      <a:gd name="T107" fmla="*/ 3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7" h="380">
                        <a:moveTo>
                          <a:pt x="9" y="380"/>
                        </a:moveTo>
                        <a:lnTo>
                          <a:pt x="4" y="376"/>
                        </a:lnTo>
                        <a:lnTo>
                          <a:pt x="0" y="380"/>
                        </a:lnTo>
                        <a:lnTo>
                          <a:pt x="4" y="380"/>
                        </a:lnTo>
                        <a:lnTo>
                          <a:pt x="9" y="380"/>
                        </a:lnTo>
                        <a:lnTo>
                          <a:pt x="13" y="380"/>
                        </a:lnTo>
                        <a:lnTo>
                          <a:pt x="18" y="376"/>
                        </a:lnTo>
                        <a:lnTo>
                          <a:pt x="9" y="376"/>
                        </a:lnTo>
                        <a:lnTo>
                          <a:pt x="9" y="380"/>
                        </a:lnTo>
                        <a:close/>
                        <a:moveTo>
                          <a:pt x="27" y="367"/>
                        </a:moveTo>
                        <a:lnTo>
                          <a:pt x="22" y="371"/>
                        </a:lnTo>
                        <a:lnTo>
                          <a:pt x="27" y="376"/>
                        </a:lnTo>
                        <a:lnTo>
                          <a:pt x="31" y="380"/>
                        </a:lnTo>
                        <a:lnTo>
                          <a:pt x="31" y="376"/>
                        </a:lnTo>
                        <a:lnTo>
                          <a:pt x="27" y="367"/>
                        </a:lnTo>
                        <a:close/>
                        <a:moveTo>
                          <a:pt x="67" y="336"/>
                        </a:moveTo>
                        <a:lnTo>
                          <a:pt x="67" y="340"/>
                        </a:lnTo>
                        <a:lnTo>
                          <a:pt x="58" y="349"/>
                        </a:lnTo>
                        <a:lnTo>
                          <a:pt x="62" y="353"/>
                        </a:lnTo>
                        <a:lnTo>
                          <a:pt x="71" y="349"/>
                        </a:lnTo>
                        <a:lnTo>
                          <a:pt x="71" y="340"/>
                        </a:lnTo>
                        <a:lnTo>
                          <a:pt x="67" y="336"/>
                        </a:lnTo>
                        <a:close/>
                        <a:moveTo>
                          <a:pt x="76" y="322"/>
                        </a:moveTo>
                        <a:lnTo>
                          <a:pt x="80" y="331"/>
                        </a:lnTo>
                        <a:lnTo>
                          <a:pt x="85" y="322"/>
                        </a:lnTo>
                        <a:lnTo>
                          <a:pt x="89" y="313"/>
                        </a:lnTo>
                        <a:lnTo>
                          <a:pt x="76" y="322"/>
                        </a:lnTo>
                        <a:close/>
                        <a:moveTo>
                          <a:pt x="116" y="242"/>
                        </a:moveTo>
                        <a:lnTo>
                          <a:pt x="121" y="237"/>
                        </a:lnTo>
                        <a:lnTo>
                          <a:pt x="116" y="228"/>
                        </a:lnTo>
                        <a:lnTo>
                          <a:pt x="112" y="233"/>
                        </a:lnTo>
                        <a:lnTo>
                          <a:pt x="116" y="224"/>
                        </a:lnTo>
                        <a:lnTo>
                          <a:pt x="107" y="219"/>
                        </a:lnTo>
                        <a:lnTo>
                          <a:pt x="103" y="219"/>
                        </a:lnTo>
                        <a:lnTo>
                          <a:pt x="89" y="224"/>
                        </a:lnTo>
                        <a:lnTo>
                          <a:pt x="85" y="233"/>
                        </a:lnTo>
                        <a:lnTo>
                          <a:pt x="94" y="242"/>
                        </a:lnTo>
                        <a:lnTo>
                          <a:pt x="89" y="251"/>
                        </a:lnTo>
                        <a:lnTo>
                          <a:pt x="98" y="251"/>
                        </a:lnTo>
                        <a:lnTo>
                          <a:pt x="94" y="264"/>
                        </a:lnTo>
                        <a:lnTo>
                          <a:pt x="107" y="273"/>
                        </a:lnTo>
                        <a:lnTo>
                          <a:pt x="116" y="264"/>
                        </a:lnTo>
                        <a:lnTo>
                          <a:pt x="112" y="255"/>
                        </a:lnTo>
                        <a:lnTo>
                          <a:pt x="116" y="242"/>
                        </a:lnTo>
                        <a:close/>
                        <a:moveTo>
                          <a:pt x="174" y="193"/>
                        </a:moveTo>
                        <a:lnTo>
                          <a:pt x="170" y="188"/>
                        </a:lnTo>
                        <a:lnTo>
                          <a:pt x="170" y="184"/>
                        </a:lnTo>
                        <a:lnTo>
                          <a:pt x="161" y="188"/>
                        </a:lnTo>
                        <a:lnTo>
                          <a:pt x="143" y="193"/>
                        </a:lnTo>
                        <a:lnTo>
                          <a:pt x="134" y="188"/>
                        </a:lnTo>
                        <a:lnTo>
                          <a:pt x="116" y="202"/>
                        </a:lnTo>
                        <a:lnTo>
                          <a:pt x="107" y="206"/>
                        </a:lnTo>
                        <a:lnTo>
                          <a:pt x="107" y="215"/>
                        </a:lnTo>
                        <a:lnTo>
                          <a:pt x="112" y="219"/>
                        </a:lnTo>
                        <a:lnTo>
                          <a:pt x="116" y="215"/>
                        </a:lnTo>
                        <a:lnTo>
                          <a:pt x="121" y="219"/>
                        </a:lnTo>
                        <a:lnTo>
                          <a:pt x="129" y="215"/>
                        </a:lnTo>
                        <a:lnTo>
                          <a:pt x="129" y="224"/>
                        </a:lnTo>
                        <a:lnTo>
                          <a:pt x="125" y="228"/>
                        </a:lnTo>
                        <a:lnTo>
                          <a:pt x="125" y="233"/>
                        </a:lnTo>
                        <a:lnTo>
                          <a:pt x="138" y="237"/>
                        </a:lnTo>
                        <a:lnTo>
                          <a:pt x="138" y="228"/>
                        </a:lnTo>
                        <a:lnTo>
                          <a:pt x="143" y="224"/>
                        </a:lnTo>
                        <a:lnTo>
                          <a:pt x="152" y="228"/>
                        </a:lnTo>
                        <a:lnTo>
                          <a:pt x="161" y="219"/>
                        </a:lnTo>
                        <a:lnTo>
                          <a:pt x="152" y="215"/>
                        </a:lnTo>
                        <a:lnTo>
                          <a:pt x="143" y="215"/>
                        </a:lnTo>
                        <a:lnTo>
                          <a:pt x="143" y="219"/>
                        </a:lnTo>
                        <a:lnTo>
                          <a:pt x="134" y="219"/>
                        </a:lnTo>
                        <a:lnTo>
                          <a:pt x="134" y="210"/>
                        </a:lnTo>
                        <a:lnTo>
                          <a:pt x="161" y="206"/>
                        </a:lnTo>
                        <a:lnTo>
                          <a:pt x="161" y="210"/>
                        </a:lnTo>
                        <a:lnTo>
                          <a:pt x="161" y="215"/>
                        </a:lnTo>
                        <a:lnTo>
                          <a:pt x="165" y="210"/>
                        </a:lnTo>
                        <a:lnTo>
                          <a:pt x="170" y="215"/>
                        </a:lnTo>
                        <a:lnTo>
                          <a:pt x="170" y="219"/>
                        </a:lnTo>
                        <a:lnTo>
                          <a:pt x="179" y="228"/>
                        </a:lnTo>
                        <a:lnTo>
                          <a:pt x="183" y="215"/>
                        </a:lnTo>
                        <a:lnTo>
                          <a:pt x="192" y="210"/>
                        </a:lnTo>
                        <a:lnTo>
                          <a:pt x="210" y="206"/>
                        </a:lnTo>
                        <a:lnTo>
                          <a:pt x="214" y="197"/>
                        </a:lnTo>
                        <a:lnTo>
                          <a:pt x="223" y="197"/>
                        </a:lnTo>
                        <a:lnTo>
                          <a:pt x="219" y="206"/>
                        </a:lnTo>
                        <a:lnTo>
                          <a:pt x="223" y="210"/>
                        </a:lnTo>
                        <a:lnTo>
                          <a:pt x="228" y="202"/>
                        </a:lnTo>
                        <a:lnTo>
                          <a:pt x="228" y="193"/>
                        </a:lnTo>
                        <a:lnTo>
                          <a:pt x="232" y="197"/>
                        </a:lnTo>
                        <a:lnTo>
                          <a:pt x="237" y="202"/>
                        </a:lnTo>
                        <a:lnTo>
                          <a:pt x="246" y="197"/>
                        </a:lnTo>
                        <a:lnTo>
                          <a:pt x="246" y="188"/>
                        </a:lnTo>
                        <a:lnTo>
                          <a:pt x="250" y="184"/>
                        </a:lnTo>
                        <a:lnTo>
                          <a:pt x="246" y="179"/>
                        </a:lnTo>
                        <a:lnTo>
                          <a:pt x="250" y="170"/>
                        </a:lnTo>
                        <a:lnTo>
                          <a:pt x="255" y="161"/>
                        </a:lnTo>
                        <a:lnTo>
                          <a:pt x="250" y="148"/>
                        </a:lnTo>
                        <a:lnTo>
                          <a:pt x="255" y="139"/>
                        </a:lnTo>
                        <a:lnTo>
                          <a:pt x="259" y="148"/>
                        </a:lnTo>
                        <a:lnTo>
                          <a:pt x="259" y="143"/>
                        </a:lnTo>
                        <a:lnTo>
                          <a:pt x="259" y="135"/>
                        </a:lnTo>
                        <a:lnTo>
                          <a:pt x="263" y="130"/>
                        </a:lnTo>
                        <a:lnTo>
                          <a:pt x="263" y="99"/>
                        </a:lnTo>
                        <a:lnTo>
                          <a:pt x="255" y="94"/>
                        </a:lnTo>
                        <a:lnTo>
                          <a:pt x="255" y="81"/>
                        </a:lnTo>
                        <a:lnTo>
                          <a:pt x="250" y="76"/>
                        </a:lnTo>
                        <a:lnTo>
                          <a:pt x="250" y="85"/>
                        </a:lnTo>
                        <a:lnTo>
                          <a:pt x="250" y="90"/>
                        </a:lnTo>
                        <a:lnTo>
                          <a:pt x="246" y="90"/>
                        </a:lnTo>
                        <a:lnTo>
                          <a:pt x="241" y="85"/>
                        </a:lnTo>
                        <a:lnTo>
                          <a:pt x="232" y="94"/>
                        </a:lnTo>
                        <a:lnTo>
                          <a:pt x="237" y="99"/>
                        </a:lnTo>
                        <a:lnTo>
                          <a:pt x="228" y="112"/>
                        </a:lnTo>
                        <a:lnTo>
                          <a:pt x="241" y="117"/>
                        </a:lnTo>
                        <a:lnTo>
                          <a:pt x="237" y="126"/>
                        </a:lnTo>
                        <a:lnTo>
                          <a:pt x="232" y="130"/>
                        </a:lnTo>
                        <a:lnTo>
                          <a:pt x="210" y="161"/>
                        </a:lnTo>
                        <a:lnTo>
                          <a:pt x="192" y="170"/>
                        </a:lnTo>
                        <a:lnTo>
                          <a:pt x="192" y="161"/>
                        </a:lnTo>
                        <a:lnTo>
                          <a:pt x="196" y="157"/>
                        </a:lnTo>
                        <a:lnTo>
                          <a:pt x="196" y="157"/>
                        </a:lnTo>
                        <a:lnTo>
                          <a:pt x="188" y="161"/>
                        </a:lnTo>
                        <a:lnTo>
                          <a:pt x="188" y="170"/>
                        </a:lnTo>
                        <a:lnTo>
                          <a:pt x="179" y="179"/>
                        </a:lnTo>
                        <a:lnTo>
                          <a:pt x="179" y="184"/>
                        </a:lnTo>
                        <a:lnTo>
                          <a:pt x="174" y="188"/>
                        </a:lnTo>
                        <a:lnTo>
                          <a:pt x="174" y="193"/>
                        </a:lnTo>
                        <a:close/>
                        <a:moveTo>
                          <a:pt x="255" y="41"/>
                        </a:moveTo>
                        <a:lnTo>
                          <a:pt x="250" y="41"/>
                        </a:lnTo>
                        <a:lnTo>
                          <a:pt x="241" y="41"/>
                        </a:lnTo>
                        <a:lnTo>
                          <a:pt x="241" y="45"/>
                        </a:lnTo>
                        <a:lnTo>
                          <a:pt x="241" y="50"/>
                        </a:lnTo>
                        <a:lnTo>
                          <a:pt x="232" y="54"/>
                        </a:lnTo>
                        <a:lnTo>
                          <a:pt x="232" y="63"/>
                        </a:lnTo>
                        <a:lnTo>
                          <a:pt x="237" y="67"/>
                        </a:lnTo>
                        <a:lnTo>
                          <a:pt x="232" y="76"/>
                        </a:lnTo>
                        <a:lnTo>
                          <a:pt x="241" y="81"/>
                        </a:lnTo>
                        <a:lnTo>
                          <a:pt x="246" y="72"/>
                        </a:lnTo>
                        <a:lnTo>
                          <a:pt x="250" y="76"/>
                        </a:lnTo>
                        <a:lnTo>
                          <a:pt x="255" y="72"/>
                        </a:lnTo>
                        <a:lnTo>
                          <a:pt x="250" y="67"/>
                        </a:lnTo>
                        <a:lnTo>
                          <a:pt x="241" y="63"/>
                        </a:lnTo>
                        <a:lnTo>
                          <a:pt x="250" y="59"/>
                        </a:lnTo>
                        <a:lnTo>
                          <a:pt x="250" y="63"/>
                        </a:lnTo>
                        <a:lnTo>
                          <a:pt x="259" y="63"/>
                        </a:lnTo>
                        <a:lnTo>
                          <a:pt x="255" y="59"/>
                        </a:lnTo>
                        <a:lnTo>
                          <a:pt x="259" y="54"/>
                        </a:lnTo>
                        <a:lnTo>
                          <a:pt x="277" y="67"/>
                        </a:lnTo>
                        <a:lnTo>
                          <a:pt x="286" y="72"/>
                        </a:lnTo>
                        <a:lnTo>
                          <a:pt x="286" y="59"/>
                        </a:lnTo>
                        <a:lnTo>
                          <a:pt x="295" y="45"/>
                        </a:lnTo>
                        <a:lnTo>
                          <a:pt x="308" y="50"/>
                        </a:lnTo>
                        <a:lnTo>
                          <a:pt x="317" y="45"/>
                        </a:lnTo>
                        <a:lnTo>
                          <a:pt x="317" y="41"/>
                        </a:lnTo>
                        <a:lnTo>
                          <a:pt x="308" y="32"/>
                        </a:lnTo>
                        <a:lnTo>
                          <a:pt x="317" y="23"/>
                        </a:lnTo>
                        <a:lnTo>
                          <a:pt x="313" y="18"/>
                        </a:lnTo>
                        <a:lnTo>
                          <a:pt x="299" y="32"/>
                        </a:lnTo>
                        <a:lnTo>
                          <a:pt x="286" y="23"/>
                        </a:lnTo>
                        <a:lnTo>
                          <a:pt x="263" y="0"/>
                        </a:lnTo>
                        <a:lnTo>
                          <a:pt x="255" y="5"/>
                        </a:lnTo>
                        <a:lnTo>
                          <a:pt x="259" y="9"/>
                        </a:lnTo>
                        <a:lnTo>
                          <a:pt x="259" y="14"/>
                        </a:lnTo>
                        <a:lnTo>
                          <a:pt x="259" y="32"/>
                        </a:lnTo>
                        <a:lnTo>
                          <a:pt x="255" y="32"/>
                        </a:lnTo>
                        <a:lnTo>
                          <a:pt x="255" y="4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32" name="Freeform 129"/>
                  <p:cNvSpPr>
                    <a:spLocks/>
                  </p:cNvSpPr>
                  <p:nvPr/>
                </p:nvSpPr>
                <p:spPr bwMode="gray">
                  <a:xfrm>
                    <a:off x="3348" y="1805"/>
                    <a:ext cx="585" cy="317"/>
                  </a:xfrm>
                  <a:custGeom>
                    <a:avLst/>
                    <a:gdLst>
                      <a:gd name="T0" fmla="*/ 9 w 585"/>
                      <a:gd name="T1" fmla="*/ 179 h 317"/>
                      <a:gd name="T2" fmla="*/ 31 w 585"/>
                      <a:gd name="T3" fmla="*/ 197 h 317"/>
                      <a:gd name="T4" fmla="*/ 36 w 585"/>
                      <a:gd name="T5" fmla="*/ 206 h 317"/>
                      <a:gd name="T6" fmla="*/ 81 w 585"/>
                      <a:gd name="T7" fmla="*/ 192 h 317"/>
                      <a:gd name="T8" fmla="*/ 76 w 585"/>
                      <a:gd name="T9" fmla="*/ 232 h 317"/>
                      <a:gd name="T10" fmla="*/ 72 w 585"/>
                      <a:gd name="T11" fmla="*/ 250 h 317"/>
                      <a:gd name="T12" fmla="*/ 67 w 585"/>
                      <a:gd name="T13" fmla="*/ 277 h 317"/>
                      <a:gd name="T14" fmla="*/ 85 w 585"/>
                      <a:gd name="T15" fmla="*/ 295 h 317"/>
                      <a:gd name="T16" fmla="*/ 112 w 585"/>
                      <a:gd name="T17" fmla="*/ 291 h 317"/>
                      <a:gd name="T18" fmla="*/ 134 w 585"/>
                      <a:gd name="T19" fmla="*/ 313 h 317"/>
                      <a:gd name="T20" fmla="*/ 183 w 585"/>
                      <a:gd name="T21" fmla="*/ 224 h 317"/>
                      <a:gd name="T22" fmla="*/ 210 w 585"/>
                      <a:gd name="T23" fmla="*/ 206 h 317"/>
                      <a:gd name="T24" fmla="*/ 223 w 585"/>
                      <a:gd name="T25" fmla="*/ 241 h 317"/>
                      <a:gd name="T26" fmla="*/ 223 w 585"/>
                      <a:gd name="T27" fmla="*/ 268 h 317"/>
                      <a:gd name="T28" fmla="*/ 273 w 585"/>
                      <a:gd name="T29" fmla="*/ 282 h 317"/>
                      <a:gd name="T30" fmla="*/ 273 w 585"/>
                      <a:gd name="T31" fmla="*/ 304 h 317"/>
                      <a:gd name="T32" fmla="*/ 322 w 585"/>
                      <a:gd name="T33" fmla="*/ 313 h 317"/>
                      <a:gd name="T34" fmla="*/ 371 w 585"/>
                      <a:gd name="T35" fmla="*/ 286 h 317"/>
                      <a:gd name="T36" fmla="*/ 393 w 585"/>
                      <a:gd name="T37" fmla="*/ 282 h 317"/>
                      <a:gd name="T38" fmla="*/ 460 w 585"/>
                      <a:gd name="T39" fmla="*/ 291 h 317"/>
                      <a:gd name="T40" fmla="*/ 474 w 585"/>
                      <a:gd name="T41" fmla="*/ 291 h 317"/>
                      <a:gd name="T42" fmla="*/ 483 w 585"/>
                      <a:gd name="T43" fmla="*/ 299 h 317"/>
                      <a:gd name="T44" fmla="*/ 478 w 585"/>
                      <a:gd name="T45" fmla="*/ 237 h 317"/>
                      <a:gd name="T46" fmla="*/ 550 w 585"/>
                      <a:gd name="T47" fmla="*/ 201 h 317"/>
                      <a:gd name="T48" fmla="*/ 581 w 585"/>
                      <a:gd name="T49" fmla="*/ 152 h 317"/>
                      <a:gd name="T50" fmla="*/ 554 w 585"/>
                      <a:gd name="T51" fmla="*/ 143 h 317"/>
                      <a:gd name="T52" fmla="*/ 523 w 585"/>
                      <a:gd name="T53" fmla="*/ 112 h 317"/>
                      <a:gd name="T54" fmla="*/ 500 w 585"/>
                      <a:gd name="T55" fmla="*/ 116 h 317"/>
                      <a:gd name="T56" fmla="*/ 483 w 585"/>
                      <a:gd name="T57" fmla="*/ 116 h 317"/>
                      <a:gd name="T58" fmla="*/ 433 w 585"/>
                      <a:gd name="T59" fmla="*/ 27 h 317"/>
                      <a:gd name="T60" fmla="*/ 402 w 585"/>
                      <a:gd name="T61" fmla="*/ 49 h 317"/>
                      <a:gd name="T62" fmla="*/ 389 w 585"/>
                      <a:gd name="T63" fmla="*/ 40 h 317"/>
                      <a:gd name="T64" fmla="*/ 357 w 585"/>
                      <a:gd name="T65" fmla="*/ 36 h 317"/>
                      <a:gd name="T66" fmla="*/ 340 w 585"/>
                      <a:gd name="T67" fmla="*/ 9 h 317"/>
                      <a:gd name="T68" fmla="*/ 308 w 585"/>
                      <a:gd name="T69" fmla="*/ 18 h 317"/>
                      <a:gd name="T70" fmla="*/ 268 w 585"/>
                      <a:gd name="T71" fmla="*/ 22 h 317"/>
                      <a:gd name="T72" fmla="*/ 237 w 585"/>
                      <a:gd name="T73" fmla="*/ 36 h 317"/>
                      <a:gd name="T74" fmla="*/ 219 w 585"/>
                      <a:gd name="T75" fmla="*/ 49 h 317"/>
                      <a:gd name="T76" fmla="*/ 210 w 585"/>
                      <a:gd name="T77" fmla="*/ 63 h 317"/>
                      <a:gd name="T78" fmla="*/ 201 w 585"/>
                      <a:gd name="T79" fmla="*/ 94 h 317"/>
                      <a:gd name="T80" fmla="*/ 215 w 585"/>
                      <a:gd name="T81" fmla="*/ 116 h 317"/>
                      <a:gd name="T82" fmla="*/ 183 w 585"/>
                      <a:gd name="T83" fmla="*/ 116 h 317"/>
                      <a:gd name="T84" fmla="*/ 156 w 585"/>
                      <a:gd name="T85" fmla="*/ 112 h 317"/>
                      <a:gd name="T86" fmla="*/ 134 w 585"/>
                      <a:gd name="T87" fmla="*/ 121 h 317"/>
                      <a:gd name="T88" fmla="*/ 116 w 585"/>
                      <a:gd name="T89" fmla="*/ 121 h 317"/>
                      <a:gd name="T90" fmla="*/ 89 w 585"/>
                      <a:gd name="T91" fmla="*/ 103 h 317"/>
                      <a:gd name="T92" fmla="*/ 72 w 585"/>
                      <a:gd name="T93" fmla="*/ 98 h 317"/>
                      <a:gd name="T94" fmla="*/ 36 w 585"/>
                      <a:gd name="T95" fmla="*/ 121 h 317"/>
                      <a:gd name="T96" fmla="*/ 18 w 585"/>
                      <a:gd name="T97" fmla="*/ 125 h 317"/>
                      <a:gd name="T98" fmla="*/ 5 w 585"/>
                      <a:gd name="T99" fmla="*/ 15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5" h="317">
                        <a:moveTo>
                          <a:pt x="5" y="156"/>
                        </a:moveTo>
                        <a:lnTo>
                          <a:pt x="0" y="170"/>
                        </a:lnTo>
                        <a:lnTo>
                          <a:pt x="9" y="174"/>
                        </a:lnTo>
                        <a:lnTo>
                          <a:pt x="9" y="179"/>
                        </a:lnTo>
                        <a:lnTo>
                          <a:pt x="13" y="188"/>
                        </a:lnTo>
                        <a:lnTo>
                          <a:pt x="13" y="179"/>
                        </a:lnTo>
                        <a:lnTo>
                          <a:pt x="22" y="183"/>
                        </a:lnTo>
                        <a:lnTo>
                          <a:pt x="31" y="197"/>
                        </a:lnTo>
                        <a:lnTo>
                          <a:pt x="36" y="201"/>
                        </a:lnTo>
                        <a:lnTo>
                          <a:pt x="31" y="201"/>
                        </a:lnTo>
                        <a:lnTo>
                          <a:pt x="27" y="206"/>
                        </a:lnTo>
                        <a:lnTo>
                          <a:pt x="36" y="206"/>
                        </a:lnTo>
                        <a:lnTo>
                          <a:pt x="36" y="206"/>
                        </a:lnTo>
                        <a:lnTo>
                          <a:pt x="49" y="201"/>
                        </a:lnTo>
                        <a:lnTo>
                          <a:pt x="67" y="192"/>
                        </a:lnTo>
                        <a:lnTo>
                          <a:pt x="81" y="192"/>
                        </a:lnTo>
                        <a:lnTo>
                          <a:pt x="103" y="201"/>
                        </a:lnTo>
                        <a:lnTo>
                          <a:pt x="98" y="224"/>
                        </a:lnTo>
                        <a:lnTo>
                          <a:pt x="98" y="232"/>
                        </a:lnTo>
                        <a:lnTo>
                          <a:pt x="76" y="232"/>
                        </a:lnTo>
                        <a:lnTo>
                          <a:pt x="67" y="232"/>
                        </a:lnTo>
                        <a:lnTo>
                          <a:pt x="67" y="241"/>
                        </a:lnTo>
                        <a:lnTo>
                          <a:pt x="72" y="241"/>
                        </a:lnTo>
                        <a:lnTo>
                          <a:pt x="72" y="250"/>
                        </a:lnTo>
                        <a:lnTo>
                          <a:pt x="54" y="250"/>
                        </a:lnTo>
                        <a:lnTo>
                          <a:pt x="54" y="255"/>
                        </a:lnTo>
                        <a:lnTo>
                          <a:pt x="63" y="255"/>
                        </a:lnTo>
                        <a:lnTo>
                          <a:pt x="67" y="277"/>
                        </a:lnTo>
                        <a:lnTo>
                          <a:pt x="76" y="277"/>
                        </a:lnTo>
                        <a:lnTo>
                          <a:pt x="81" y="286"/>
                        </a:lnTo>
                        <a:lnTo>
                          <a:pt x="89" y="286"/>
                        </a:lnTo>
                        <a:lnTo>
                          <a:pt x="85" y="295"/>
                        </a:lnTo>
                        <a:lnTo>
                          <a:pt x="89" y="304"/>
                        </a:lnTo>
                        <a:lnTo>
                          <a:pt x="89" y="299"/>
                        </a:lnTo>
                        <a:lnTo>
                          <a:pt x="98" y="295"/>
                        </a:lnTo>
                        <a:lnTo>
                          <a:pt x="112" y="291"/>
                        </a:lnTo>
                        <a:lnTo>
                          <a:pt x="121" y="299"/>
                        </a:lnTo>
                        <a:lnTo>
                          <a:pt x="125" y="308"/>
                        </a:lnTo>
                        <a:lnTo>
                          <a:pt x="130" y="313"/>
                        </a:lnTo>
                        <a:lnTo>
                          <a:pt x="134" y="313"/>
                        </a:lnTo>
                        <a:lnTo>
                          <a:pt x="134" y="241"/>
                        </a:lnTo>
                        <a:lnTo>
                          <a:pt x="174" y="228"/>
                        </a:lnTo>
                        <a:lnTo>
                          <a:pt x="174" y="219"/>
                        </a:lnTo>
                        <a:lnTo>
                          <a:pt x="183" y="224"/>
                        </a:lnTo>
                        <a:lnTo>
                          <a:pt x="183" y="210"/>
                        </a:lnTo>
                        <a:lnTo>
                          <a:pt x="192" y="215"/>
                        </a:lnTo>
                        <a:lnTo>
                          <a:pt x="197" y="206"/>
                        </a:lnTo>
                        <a:lnTo>
                          <a:pt x="210" y="206"/>
                        </a:lnTo>
                        <a:lnTo>
                          <a:pt x="219" y="206"/>
                        </a:lnTo>
                        <a:lnTo>
                          <a:pt x="210" y="224"/>
                        </a:lnTo>
                        <a:lnTo>
                          <a:pt x="215" y="237"/>
                        </a:lnTo>
                        <a:lnTo>
                          <a:pt x="223" y="241"/>
                        </a:lnTo>
                        <a:lnTo>
                          <a:pt x="215" y="246"/>
                        </a:lnTo>
                        <a:lnTo>
                          <a:pt x="215" y="255"/>
                        </a:lnTo>
                        <a:lnTo>
                          <a:pt x="215" y="255"/>
                        </a:lnTo>
                        <a:lnTo>
                          <a:pt x="223" y="268"/>
                        </a:lnTo>
                        <a:lnTo>
                          <a:pt x="255" y="268"/>
                        </a:lnTo>
                        <a:lnTo>
                          <a:pt x="259" y="264"/>
                        </a:lnTo>
                        <a:lnTo>
                          <a:pt x="268" y="273"/>
                        </a:lnTo>
                        <a:lnTo>
                          <a:pt x="273" y="282"/>
                        </a:lnTo>
                        <a:lnTo>
                          <a:pt x="277" y="282"/>
                        </a:lnTo>
                        <a:lnTo>
                          <a:pt x="277" y="295"/>
                        </a:lnTo>
                        <a:lnTo>
                          <a:pt x="273" y="295"/>
                        </a:lnTo>
                        <a:lnTo>
                          <a:pt x="273" y="304"/>
                        </a:lnTo>
                        <a:lnTo>
                          <a:pt x="286" y="304"/>
                        </a:lnTo>
                        <a:lnTo>
                          <a:pt x="286" y="313"/>
                        </a:lnTo>
                        <a:lnTo>
                          <a:pt x="317" y="317"/>
                        </a:lnTo>
                        <a:lnTo>
                          <a:pt x="322" y="313"/>
                        </a:lnTo>
                        <a:lnTo>
                          <a:pt x="340" y="295"/>
                        </a:lnTo>
                        <a:lnTo>
                          <a:pt x="353" y="291"/>
                        </a:lnTo>
                        <a:lnTo>
                          <a:pt x="357" y="286"/>
                        </a:lnTo>
                        <a:lnTo>
                          <a:pt x="371" y="286"/>
                        </a:lnTo>
                        <a:lnTo>
                          <a:pt x="384" y="295"/>
                        </a:lnTo>
                        <a:lnTo>
                          <a:pt x="389" y="295"/>
                        </a:lnTo>
                        <a:lnTo>
                          <a:pt x="389" y="282"/>
                        </a:lnTo>
                        <a:lnTo>
                          <a:pt x="393" y="282"/>
                        </a:lnTo>
                        <a:lnTo>
                          <a:pt x="407" y="286"/>
                        </a:lnTo>
                        <a:lnTo>
                          <a:pt x="411" y="291"/>
                        </a:lnTo>
                        <a:lnTo>
                          <a:pt x="429" y="286"/>
                        </a:lnTo>
                        <a:lnTo>
                          <a:pt x="460" y="291"/>
                        </a:lnTo>
                        <a:lnTo>
                          <a:pt x="469" y="286"/>
                        </a:lnTo>
                        <a:lnTo>
                          <a:pt x="474" y="286"/>
                        </a:lnTo>
                        <a:lnTo>
                          <a:pt x="469" y="291"/>
                        </a:lnTo>
                        <a:lnTo>
                          <a:pt x="474" y="291"/>
                        </a:lnTo>
                        <a:lnTo>
                          <a:pt x="474" y="295"/>
                        </a:lnTo>
                        <a:lnTo>
                          <a:pt x="483" y="295"/>
                        </a:lnTo>
                        <a:lnTo>
                          <a:pt x="483" y="299"/>
                        </a:lnTo>
                        <a:lnTo>
                          <a:pt x="483" y="299"/>
                        </a:lnTo>
                        <a:lnTo>
                          <a:pt x="491" y="273"/>
                        </a:lnTo>
                        <a:lnTo>
                          <a:pt x="487" y="250"/>
                        </a:lnTo>
                        <a:lnTo>
                          <a:pt x="478" y="246"/>
                        </a:lnTo>
                        <a:lnTo>
                          <a:pt x="478" y="237"/>
                        </a:lnTo>
                        <a:lnTo>
                          <a:pt x="514" y="237"/>
                        </a:lnTo>
                        <a:lnTo>
                          <a:pt x="509" y="228"/>
                        </a:lnTo>
                        <a:lnTo>
                          <a:pt x="523" y="197"/>
                        </a:lnTo>
                        <a:lnTo>
                          <a:pt x="550" y="201"/>
                        </a:lnTo>
                        <a:lnTo>
                          <a:pt x="563" y="192"/>
                        </a:lnTo>
                        <a:lnTo>
                          <a:pt x="563" y="174"/>
                        </a:lnTo>
                        <a:lnTo>
                          <a:pt x="572" y="165"/>
                        </a:lnTo>
                        <a:lnTo>
                          <a:pt x="581" y="152"/>
                        </a:lnTo>
                        <a:lnTo>
                          <a:pt x="585" y="152"/>
                        </a:lnTo>
                        <a:lnTo>
                          <a:pt x="585" y="148"/>
                        </a:lnTo>
                        <a:lnTo>
                          <a:pt x="563" y="143"/>
                        </a:lnTo>
                        <a:lnTo>
                          <a:pt x="554" y="143"/>
                        </a:lnTo>
                        <a:lnTo>
                          <a:pt x="550" y="130"/>
                        </a:lnTo>
                        <a:lnTo>
                          <a:pt x="545" y="134"/>
                        </a:lnTo>
                        <a:lnTo>
                          <a:pt x="532" y="116"/>
                        </a:lnTo>
                        <a:lnTo>
                          <a:pt x="523" y="112"/>
                        </a:lnTo>
                        <a:lnTo>
                          <a:pt x="518" y="112"/>
                        </a:lnTo>
                        <a:lnTo>
                          <a:pt x="514" y="116"/>
                        </a:lnTo>
                        <a:lnTo>
                          <a:pt x="509" y="121"/>
                        </a:lnTo>
                        <a:lnTo>
                          <a:pt x="500" y="116"/>
                        </a:lnTo>
                        <a:lnTo>
                          <a:pt x="500" y="107"/>
                        </a:lnTo>
                        <a:lnTo>
                          <a:pt x="491" y="107"/>
                        </a:lnTo>
                        <a:lnTo>
                          <a:pt x="487" y="112"/>
                        </a:lnTo>
                        <a:lnTo>
                          <a:pt x="483" y="116"/>
                        </a:lnTo>
                        <a:lnTo>
                          <a:pt x="451" y="63"/>
                        </a:lnTo>
                        <a:lnTo>
                          <a:pt x="433" y="40"/>
                        </a:lnTo>
                        <a:lnTo>
                          <a:pt x="438" y="31"/>
                        </a:lnTo>
                        <a:lnTo>
                          <a:pt x="433" y="27"/>
                        </a:lnTo>
                        <a:lnTo>
                          <a:pt x="424" y="31"/>
                        </a:lnTo>
                        <a:lnTo>
                          <a:pt x="416" y="36"/>
                        </a:lnTo>
                        <a:lnTo>
                          <a:pt x="411" y="40"/>
                        </a:lnTo>
                        <a:lnTo>
                          <a:pt x="402" y="49"/>
                        </a:lnTo>
                        <a:lnTo>
                          <a:pt x="393" y="45"/>
                        </a:lnTo>
                        <a:lnTo>
                          <a:pt x="384" y="49"/>
                        </a:lnTo>
                        <a:lnTo>
                          <a:pt x="384" y="45"/>
                        </a:lnTo>
                        <a:lnTo>
                          <a:pt x="389" y="40"/>
                        </a:lnTo>
                        <a:lnTo>
                          <a:pt x="375" y="36"/>
                        </a:lnTo>
                        <a:lnTo>
                          <a:pt x="371" y="40"/>
                        </a:lnTo>
                        <a:lnTo>
                          <a:pt x="371" y="31"/>
                        </a:lnTo>
                        <a:lnTo>
                          <a:pt x="357" y="36"/>
                        </a:lnTo>
                        <a:lnTo>
                          <a:pt x="353" y="31"/>
                        </a:lnTo>
                        <a:lnTo>
                          <a:pt x="353" y="22"/>
                        </a:lnTo>
                        <a:lnTo>
                          <a:pt x="349" y="9"/>
                        </a:lnTo>
                        <a:lnTo>
                          <a:pt x="340" y="9"/>
                        </a:lnTo>
                        <a:lnTo>
                          <a:pt x="322" y="5"/>
                        </a:lnTo>
                        <a:lnTo>
                          <a:pt x="317" y="9"/>
                        </a:lnTo>
                        <a:lnTo>
                          <a:pt x="313" y="0"/>
                        </a:lnTo>
                        <a:lnTo>
                          <a:pt x="308" y="18"/>
                        </a:lnTo>
                        <a:lnTo>
                          <a:pt x="304" y="13"/>
                        </a:lnTo>
                        <a:lnTo>
                          <a:pt x="299" y="18"/>
                        </a:lnTo>
                        <a:lnTo>
                          <a:pt x="277" y="22"/>
                        </a:lnTo>
                        <a:lnTo>
                          <a:pt x="268" y="22"/>
                        </a:lnTo>
                        <a:lnTo>
                          <a:pt x="264" y="27"/>
                        </a:lnTo>
                        <a:lnTo>
                          <a:pt x="264" y="22"/>
                        </a:lnTo>
                        <a:lnTo>
                          <a:pt x="246" y="31"/>
                        </a:lnTo>
                        <a:lnTo>
                          <a:pt x="237" y="36"/>
                        </a:lnTo>
                        <a:lnTo>
                          <a:pt x="215" y="36"/>
                        </a:lnTo>
                        <a:lnTo>
                          <a:pt x="210" y="40"/>
                        </a:lnTo>
                        <a:lnTo>
                          <a:pt x="206" y="49"/>
                        </a:lnTo>
                        <a:lnTo>
                          <a:pt x="219" y="49"/>
                        </a:lnTo>
                        <a:lnTo>
                          <a:pt x="210" y="54"/>
                        </a:lnTo>
                        <a:lnTo>
                          <a:pt x="219" y="54"/>
                        </a:lnTo>
                        <a:lnTo>
                          <a:pt x="223" y="63"/>
                        </a:lnTo>
                        <a:lnTo>
                          <a:pt x="210" y="63"/>
                        </a:lnTo>
                        <a:lnTo>
                          <a:pt x="201" y="67"/>
                        </a:lnTo>
                        <a:lnTo>
                          <a:pt x="206" y="76"/>
                        </a:lnTo>
                        <a:lnTo>
                          <a:pt x="192" y="85"/>
                        </a:lnTo>
                        <a:lnTo>
                          <a:pt x="201" y="94"/>
                        </a:lnTo>
                        <a:lnTo>
                          <a:pt x="206" y="103"/>
                        </a:lnTo>
                        <a:lnTo>
                          <a:pt x="215" y="103"/>
                        </a:lnTo>
                        <a:lnTo>
                          <a:pt x="215" y="112"/>
                        </a:lnTo>
                        <a:lnTo>
                          <a:pt x="215" y="116"/>
                        </a:lnTo>
                        <a:lnTo>
                          <a:pt x="201" y="121"/>
                        </a:lnTo>
                        <a:lnTo>
                          <a:pt x="192" y="112"/>
                        </a:lnTo>
                        <a:lnTo>
                          <a:pt x="183" y="125"/>
                        </a:lnTo>
                        <a:lnTo>
                          <a:pt x="183" y="116"/>
                        </a:lnTo>
                        <a:lnTo>
                          <a:pt x="179" y="112"/>
                        </a:lnTo>
                        <a:lnTo>
                          <a:pt x="174" y="107"/>
                        </a:lnTo>
                        <a:lnTo>
                          <a:pt x="165" y="107"/>
                        </a:lnTo>
                        <a:lnTo>
                          <a:pt x="156" y="112"/>
                        </a:lnTo>
                        <a:lnTo>
                          <a:pt x="152" y="107"/>
                        </a:lnTo>
                        <a:lnTo>
                          <a:pt x="143" y="107"/>
                        </a:lnTo>
                        <a:lnTo>
                          <a:pt x="139" y="116"/>
                        </a:lnTo>
                        <a:lnTo>
                          <a:pt x="134" y="121"/>
                        </a:lnTo>
                        <a:lnTo>
                          <a:pt x="125" y="116"/>
                        </a:lnTo>
                        <a:lnTo>
                          <a:pt x="121" y="116"/>
                        </a:lnTo>
                        <a:lnTo>
                          <a:pt x="121" y="121"/>
                        </a:lnTo>
                        <a:lnTo>
                          <a:pt x="116" y="121"/>
                        </a:lnTo>
                        <a:lnTo>
                          <a:pt x="112" y="116"/>
                        </a:lnTo>
                        <a:lnTo>
                          <a:pt x="107" y="103"/>
                        </a:lnTo>
                        <a:lnTo>
                          <a:pt x="94" y="98"/>
                        </a:lnTo>
                        <a:lnTo>
                          <a:pt x="89" y="103"/>
                        </a:lnTo>
                        <a:lnTo>
                          <a:pt x="85" y="94"/>
                        </a:lnTo>
                        <a:lnTo>
                          <a:pt x="76" y="98"/>
                        </a:lnTo>
                        <a:lnTo>
                          <a:pt x="72" y="103"/>
                        </a:lnTo>
                        <a:lnTo>
                          <a:pt x="72" y="98"/>
                        </a:lnTo>
                        <a:lnTo>
                          <a:pt x="67" y="94"/>
                        </a:lnTo>
                        <a:lnTo>
                          <a:pt x="63" y="103"/>
                        </a:lnTo>
                        <a:lnTo>
                          <a:pt x="45" y="116"/>
                        </a:lnTo>
                        <a:lnTo>
                          <a:pt x="36" y="121"/>
                        </a:lnTo>
                        <a:lnTo>
                          <a:pt x="31" y="116"/>
                        </a:lnTo>
                        <a:lnTo>
                          <a:pt x="36" y="134"/>
                        </a:lnTo>
                        <a:lnTo>
                          <a:pt x="31" y="139"/>
                        </a:lnTo>
                        <a:lnTo>
                          <a:pt x="18" y="125"/>
                        </a:lnTo>
                        <a:lnTo>
                          <a:pt x="13" y="125"/>
                        </a:lnTo>
                        <a:lnTo>
                          <a:pt x="13" y="139"/>
                        </a:lnTo>
                        <a:lnTo>
                          <a:pt x="9" y="139"/>
                        </a:lnTo>
                        <a:lnTo>
                          <a:pt x="5" y="152"/>
                        </a:lnTo>
                        <a:lnTo>
                          <a:pt x="5" y="15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33" name="Freeform 130"/>
                  <p:cNvSpPr>
                    <a:spLocks/>
                  </p:cNvSpPr>
                  <p:nvPr/>
                </p:nvSpPr>
                <p:spPr bwMode="gray">
                  <a:xfrm>
                    <a:off x="3183" y="2270"/>
                    <a:ext cx="62" cy="67"/>
                  </a:xfrm>
                  <a:custGeom>
                    <a:avLst/>
                    <a:gdLst>
                      <a:gd name="T0" fmla="*/ 0 w 62"/>
                      <a:gd name="T1" fmla="*/ 62 h 67"/>
                      <a:gd name="T2" fmla="*/ 0 w 62"/>
                      <a:gd name="T3" fmla="*/ 67 h 67"/>
                      <a:gd name="T4" fmla="*/ 22 w 62"/>
                      <a:gd name="T5" fmla="*/ 67 h 67"/>
                      <a:gd name="T6" fmla="*/ 27 w 62"/>
                      <a:gd name="T7" fmla="*/ 58 h 67"/>
                      <a:gd name="T8" fmla="*/ 40 w 62"/>
                      <a:gd name="T9" fmla="*/ 49 h 67"/>
                      <a:gd name="T10" fmla="*/ 36 w 62"/>
                      <a:gd name="T11" fmla="*/ 31 h 67"/>
                      <a:gd name="T12" fmla="*/ 62 w 62"/>
                      <a:gd name="T13" fmla="*/ 18 h 67"/>
                      <a:gd name="T14" fmla="*/ 53 w 62"/>
                      <a:gd name="T15" fmla="*/ 0 h 67"/>
                      <a:gd name="T16" fmla="*/ 49 w 62"/>
                      <a:gd name="T17" fmla="*/ 0 h 67"/>
                      <a:gd name="T18" fmla="*/ 44 w 62"/>
                      <a:gd name="T19" fmla="*/ 4 h 67"/>
                      <a:gd name="T20" fmla="*/ 27 w 62"/>
                      <a:gd name="T21" fmla="*/ 18 h 67"/>
                      <a:gd name="T22" fmla="*/ 13 w 62"/>
                      <a:gd name="T23" fmla="*/ 9 h 67"/>
                      <a:gd name="T24" fmla="*/ 4 w 62"/>
                      <a:gd name="T25" fmla="*/ 18 h 67"/>
                      <a:gd name="T26" fmla="*/ 4 w 62"/>
                      <a:gd name="T27" fmla="*/ 18 h 67"/>
                      <a:gd name="T28" fmla="*/ 9 w 62"/>
                      <a:gd name="T29" fmla="*/ 22 h 67"/>
                      <a:gd name="T30" fmla="*/ 9 w 62"/>
                      <a:gd name="T31" fmla="*/ 36 h 67"/>
                      <a:gd name="T32" fmla="*/ 4 w 62"/>
                      <a:gd name="T33" fmla="*/ 58 h 67"/>
                      <a:gd name="T34" fmla="*/ 0 w 62"/>
                      <a:gd name="T35" fmla="*/ 6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0" y="62"/>
                        </a:moveTo>
                        <a:lnTo>
                          <a:pt x="0" y="67"/>
                        </a:lnTo>
                        <a:lnTo>
                          <a:pt x="22" y="67"/>
                        </a:lnTo>
                        <a:lnTo>
                          <a:pt x="27" y="58"/>
                        </a:lnTo>
                        <a:lnTo>
                          <a:pt x="40" y="49"/>
                        </a:lnTo>
                        <a:lnTo>
                          <a:pt x="36" y="31"/>
                        </a:lnTo>
                        <a:lnTo>
                          <a:pt x="62" y="18"/>
                        </a:lnTo>
                        <a:lnTo>
                          <a:pt x="53" y="0"/>
                        </a:lnTo>
                        <a:lnTo>
                          <a:pt x="49" y="0"/>
                        </a:lnTo>
                        <a:lnTo>
                          <a:pt x="44" y="4"/>
                        </a:lnTo>
                        <a:lnTo>
                          <a:pt x="27" y="18"/>
                        </a:lnTo>
                        <a:lnTo>
                          <a:pt x="13" y="9"/>
                        </a:lnTo>
                        <a:lnTo>
                          <a:pt x="4" y="18"/>
                        </a:lnTo>
                        <a:lnTo>
                          <a:pt x="4" y="18"/>
                        </a:lnTo>
                        <a:lnTo>
                          <a:pt x="9" y="22"/>
                        </a:lnTo>
                        <a:lnTo>
                          <a:pt x="9" y="36"/>
                        </a:lnTo>
                        <a:lnTo>
                          <a:pt x="4" y="58"/>
                        </a:lnTo>
                        <a:lnTo>
                          <a:pt x="0" y="6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34" name="Freeform 131"/>
                  <p:cNvSpPr>
                    <a:spLocks/>
                  </p:cNvSpPr>
                  <p:nvPr/>
                </p:nvSpPr>
                <p:spPr bwMode="gray">
                  <a:xfrm>
                    <a:off x="4456" y="2082"/>
                    <a:ext cx="94" cy="107"/>
                  </a:xfrm>
                  <a:custGeom>
                    <a:avLst/>
                    <a:gdLst>
                      <a:gd name="T0" fmla="*/ 0 w 94"/>
                      <a:gd name="T1" fmla="*/ 67 h 107"/>
                      <a:gd name="T2" fmla="*/ 4 w 94"/>
                      <a:gd name="T3" fmla="*/ 67 h 107"/>
                      <a:gd name="T4" fmla="*/ 4 w 94"/>
                      <a:gd name="T5" fmla="*/ 72 h 107"/>
                      <a:gd name="T6" fmla="*/ 13 w 94"/>
                      <a:gd name="T7" fmla="*/ 72 h 107"/>
                      <a:gd name="T8" fmla="*/ 22 w 94"/>
                      <a:gd name="T9" fmla="*/ 72 h 107"/>
                      <a:gd name="T10" fmla="*/ 18 w 94"/>
                      <a:gd name="T11" fmla="*/ 85 h 107"/>
                      <a:gd name="T12" fmla="*/ 22 w 94"/>
                      <a:gd name="T13" fmla="*/ 85 h 107"/>
                      <a:gd name="T14" fmla="*/ 13 w 94"/>
                      <a:gd name="T15" fmla="*/ 90 h 107"/>
                      <a:gd name="T16" fmla="*/ 9 w 94"/>
                      <a:gd name="T17" fmla="*/ 98 h 107"/>
                      <a:gd name="T18" fmla="*/ 13 w 94"/>
                      <a:gd name="T19" fmla="*/ 103 h 107"/>
                      <a:gd name="T20" fmla="*/ 22 w 94"/>
                      <a:gd name="T21" fmla="*/ 107 h 107"/>
                      <a:gd name="T22" fmla="*/ 27 w 94"/>
                      <a:gd name="T23" fmla="*/ 103 h 107"/>
                      <a:gd name="T24" fmla="*/ 36 w 94"/>
                      <a:gd name="T25" fmla="*/ 98 h 107"/>
                      <a:gd name="T26" fmla="*/ 45 w 94"/>
                      <a:gd name="T27" fmla="*/ 98 h 107"/>
                      <a:gd name="T28" fmla="*/ 62 w 94"/>
                      <a:gd name="T29" fmla="*/ 90 h 107"/>
                      <a:gd name="T30" fmla="*/ 62 w 94"/>
                      <a:gd name="T31" fmla="*/ 85 h 107"/>
                      <a:gd name="T32" fmla="*/ 49 w 94"/>
                      <a:gd name="T33" fmla="*/ 81 h 107"/>
                      <a:gd name="T34" fmla="*/ 49 w 94"/>
                      <a:gd name="T35" fmla="*/ 76 h 107"/>
                      <a:gd name="T36" fmla="*/ 58 w 94"/>
                      <a:gd name="T37" fmla="*/ 63 h 107"/>
                      <a:gd name="T38" fmla="*/ 71 w 94"/>
                      <a:gd name="T39" fmla="*/ 58 h 107"/>
                      <a:gd name="T40" fmla="*/ 80 w 94"/>
                      <a:gd name="T41" fmla="*/ 49 h 107"/>
                      <a:gd name="T42" fmla="*/ 85 w 94"/>
                      <a:gd name="T43" fmla="*/ 40 h 107"/>
                      <a:gd name="T44" fmla="*/ 85 w 94"/>
                      <a:gd name="T45" fmla="*/ 22 h 107"/>
                      <a:gd name="T46" fmla="*/ 94 w 94"/>
                      <a:gd name="T47" fmla="*/ 14 h 107"/>
                      <a:gd name="T48" fmla="*/ 85 w 94"/>
                      <a:gd name="T49" fmla="*/ 0 h 107"/>
                      <a:gd name="T50" fmla="*/ 76 w 94"/>
                      <a:gd name="T51" fmla="*/ 9 h 107"/>
                      <a:gd name="T52" fmla="*/ 62 w 94"/>
                      <a:gd name="T53" fmla="*/ 22 h 107"/>
                      <a:gd name="T54" fmla="*/ 62 w 94"/>
                      <a:gd name="T55" fmla="*/ 36 h 107"/>
                      <a:gd name="T56" fmla="*/ 45 w 94"/>
                      <a:gd name="T57" fmla="*/ 27 h 107"/>
                      <a:gd name="T58" fmla="*/ 40 w 94"/>
                      <a:gd name="T59" fmla="*/ 31 h 107"/>
                      <a:gd name="T60" fmla="*/ 27 w 94"/>
                      <a:gd name="T61" fmla="*/ 49 h 107"/>
                      <a:gd name="T62" fmla="*/ 22 w 94"/>
                      <a:gd name="T63" fmla="*/ 49 h 107"/>
                      <a:gd name="T64" fmla="*/ 0 w 94"/>
                      <a:gd name="T65" fmla="*/ 63 h 107"/>
                      <a:gd name="T66" fmla="*/ 0 w 94"/>
                      <a:gd name="T67" fmla="*/ 6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07">
                        <a:moveTo>
                          <a:pt x="0" y="67"/>
                        </a:moveTo>
                        <a:lnTo>
                          <a:pt x="4" y="67"/>
                        </a:lnTo>
                        <a:lnTo>
                          <a:pt x="4" y="72"/>
                        </a:lnTo>
                        <a:lnTo>
                          <a:pt x="13" y="72"/>
                        </a:lnTo>
                        <a:lnTo>
                          <a:pt x="22" y="72"/>
                        </a:lnTo>
                        <a:lnTo>
                          <a:pt x="18" y="85"/>
                        </a:lnTo>
                        <a:lnTo>
                          <a:pt x="22" y="85"/>
                        </a:lnTo>
                        <a:lnTo>
                          <a:pt x="13" y="90"/>
                        </a:lnTo>
                        <a:lnTo>
                          <a:pt x="9" y="98"/>
                        </a:lnTo>
                        <a:lnTo>
                          <a:pt x="13" y="103"/>
                        </a:lnTo>
                        <a:lnTo>
                          <a:pt x="22" y="107"/>
                        </a:lnTo>
                        <a:lnTo>
                          <a:pt x="27" y="103"/>
                        </a:lnTo>
                        <a:lnTo>
                          <a:pt x="36" y="98"/>
                        </a:lnTo>
                        <a:lnTo>
                          <a:pt x="45" y="98"/>
                        </a:lnTo>
                        <a:lnTo>
                          <a:pt x="62" y="90"/>
                        </a:lnTo>
                        <a:lnTo>
                          <a:pt x="62" y="85"/>
                        </a:lnTo>
                        <a:lnTo>
                          <a:pt x="49" y="81"/>
                        </a:lnTo>
                        <a:lnTo>
                          <a:pt x="49" y="76"/>
                        </a:lnTo>
                        <a:lnTo>
                          <a:pt x="58" y="63"/>
                        </a:lnTo>
                        <a:lnTo>
                          <a:pt x="71" y="58"/>
                        </a:lnTo>
                        <a:lnTo>
                          <a:pt x="80" y="49"/>
                        </a:lnTo>
                        <a:lnTo>
                          <a:pt x="85" y="40"/>
                        </a:lnTo>
                        <a:lnTo>
                          <a:pt x="85" y="22"/>
                        </a:lnTo>
                        <a:lnTo>
                          <a:pt x="94" y="14"/>
                        </a:lnTo>
                        <a:lnTo>
                          <a:pt x="85" y="0"/>
                        </a:lnTo>
                        <a:lnTo>
                          <a:pt x="76" y="9"/>
                        </a:lnTo>
                        <a:lnTo>
                          <a:pt x="62" y="22"/>
                        </a:lnTo>
                        <a:lnTo>
                          <a:pt x="62" y="36"/>
                        </a:lnTo>
                        <a:lnTo>
                          <a:pt x="45" y="27"/>
                        </a:lnTo>
                        <a:lnTo>
                          <a:pt x="40" y="31"/>
                        </a:lnTo>
                        <a:lnTo>
                          <a:pt x="27" y="49"/>
                        </a:lnTo>
                        <a:lnTo>
                          <a:pt x="22" y="49"/>
                        </a:lnTo>
                        <a:lnTo>
                          <a:pt x="0" y="63"/>
                        </a:lnTo>
                        <a:lnTo>
                          <a:pt x="0" y="67"/>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35" name="Freeform 132"/>
                  <p:cNvSpPr>
                    <a:spLocks/>
                  </p:cNvSpPr>
                  <p:nvPr/>
                </p:nvSpPr>
                <p:spPr bwMode="gray">
                  <a:xfrm>
                    <a:off x="4483" y="2172"/>
                    <a:ext cx="49" cy="75"/>
                  </a:xfrm>
                  <a:custGeom>
                    <a:avLst/>
                    <a:gdLst>
                      <a:gd name="T0" fmla="*/ 9 w 49"/>
                      <a:gd name="T1" fmla="*/ 8 h 75"/>
                      <a:gd name="T2" fmla="*/ 4 w 49"/>
                      <a:gd name="T3" fmla="*/ 17 h 75"/>
                      <a:gd name="T4" fmla="*/ 9 w 49"/>
                      <a:gd name="T5" fmla="*/ 31 h 75"/>
                      <a:gd name="T6" fmla="*/ 0 w 49"/>
                      <a:gd name="T7" fmla="*/ 31 h 75"/>
                      <a:gd name="T8" fmla="*/ 0 w 49"/>
                      <a:gd name="T9" fmla="*/ 35 h 75"/>
                      <a:gd name="T10" fmla="*/ 4 w 49"/>
                      <a:gd name="T11" fmla="*/ 44 h 75"/>
                      <a:gd name="T12" fmla="*/ 4 w 49"/>
                      <a:gd name="T13" fmla="*/ 35 h 75"/>
                      <a:gd name="T14" fmla="*/ 4 w 49"/>
                      <a:gd name="T15" fmla="*/ 53 h 75"/>
                      <a:gd name="T16" fmla="*/ 9 w 49"/>
                      <a:gd name="T17" fmla="*/ 53 h 75"/>
                      <a:gd name="T18" fmla="*/ 4 w 49"/>
                      <a:gd name="T19" fmla="*/ 62 h 75"/>
                      <a:gd name="T20" fmla="*/ 4 w 49"/>
                      <a:gd name="T21" fmla="*/ 75 h 75"/>
                      <a:gd name="T22" fmla="*/ 13 w 49"/>
                      <a:gd name="T23" fmla="*/ 75 h 75"/>
                      <a:gd name="T24" fmla="*/ 18 w 49"/>
                      <a:gd name="T25" fmla="*/ 71 h 75"/>
                      <a:gd name="T26" fmla="*/ 22 w 49"/>
                      <a:gd name="T27" fmla="*/ 75 h 75"/>
                      <a:gd name="T28" fmla="*/ 26 w 49"/>
                      <a:gd name="T29" fmla="*/ 71 h 75"/>
                      <a:gd name="T30" fmla="*/ 26 w 49"/>
                      <a:gd name="T31" fmla="*/ 67 h 75"/>
                      <a:gd name="T32" fmla="*/ 35 w 49"/>
                      <a:gd name="T33" fmla="*/ 71 h 75"/>
                      <a:gd name="T34" fmla="*/ 35 w 49"/>
                      <a:gd name="T35" fmla="*/ 58 h 75"/>
                      <a:gd name="T36" fmla="*/ 40 w 49"/>
                      <a:gd name="T37" fmla="*/ 62 h 75"/>
                      <a:gd name="T38" fmla="*/ 49 w 49"/>
                      <a:gd name="T39" fmla="*/ 53 h 75"/>
                      <a:gd name="T40" fmla="*/ 49 w 49"/>
                      <a:gd name="T41" fmla="*/ 26 h 75"/>
                      <a:gd name="T42" fmla="*/ 35 w 49"/>
                      <a:gd name="T43" fmla="*/ 0 h 75"/>
                      <a:gd name="T44" fmla="*/ 18 w 49"/>
                      <a:gd name="T45" fmla="*/ 8 h 75"/>
                      <a:gd name="T46" fmla="*/ 9 w 49"/>
                      <a:gd name="T47"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75">
                        <a:moveTo>
                          <a:pt x="9" y="8"/>
                        </a:moveTo>
                        <a:lnTo>
                          <a:pt x="4" y="17"/>
                        </a:lnTo>
                        <a:lnTo>
                          <a:pt x="9" y="31"/>
                        </a:lnTo>
                        <a:lnTo>
                          <a:pt x="0" y="31"/>
                        </a:lnTo>
                        <a:lnTo>
                          <a:pt x="0" y="35"/>
                        </a:lnTo>
                        <a:lnTo>
                          <a:pt x="4" y="44"/>
                        </a:lnTo>
                        <a:lnTo>
                          <a:pt x="4" y="35"/>
                        </a:lnTo>
                        <a:lnTo>
                          <a:pt x="4" y="53"/>
                        </a:lnTo>
                        <a:lnTo>
                          <a:pt x="9" y="53"/>
                        </a:lnTo>
                        <a:lnTo>
                          <a:pt x="4" y="62"/>
                        </a:lnTo>
                        <a:lnTo>
                          <a:pt x="4" y="75"/>
                        </a:lnTo>
                        <a:lnTo>
                          <a:pt x="13" y="75"/>
                        </a:lnTo>
                        <a:lnTo>
                          <a:pt x="18" y="71"/>
                        </a:lnTo>
                        <a:lnTo>
                          <a:pt x="22" y="75"/>
                        </a:lnTo>
                        <a:lnTo>
                          <a:pt x="26" y="71"/>
                        </a:lnTo>
                        <a:lnTo>
                          <a:pt x="26" y="67"/>
                        </a:lnTo>
                        <a:lnTo>
                          <a:pt x="35" y="71"/>
                        </a:lnTo>
                        <a:lnTo>
                          <a:pt x="35" y="58"/>
                        </a:lnTo>
                        <a:lnTo>
                          <a:pt x="40" y="62"/>
                        </a:lnTo>
                        <a:lnTo>
                          <a:pt x="49" y="53"/>
                        </a:lnTo>
                        <a:lnTo>
                          <a:pt x="49" y="26"/>
                        </a:lnTo>
                        <a:lnTo>
                          <a:pt x="35" y="0"/>
                        </a:lnTo>
                        <a:lnTo>
                          <a:pt x="18" y="8"/>
                        </a:lnTo>
                        <a:lnTo>
                          <a:pt x="9" y="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36" name="Freeform 133"/>
                  <p:cNvSpPr>
                    <a:spLocks/>
                  </p:cNvSpPr>
                  <p:nvPr/>
                </p:nvSpPr>
                <p:spPr bwMode="gray">
                  <a:xfrm>
                    <a:off x="3348" y="2323"/>
                    <a:ext cx="31" cy="27"/>
                  </a:xfrm>
                  <a:custGeom>
                    <a:avLst/>
                    <a:gdLst>
                      <a:gd name="T0" fmla="*/ 0 w 31"/>
                      <a:gd name="T1" fmla="*/ 18 h 27"/>
                      <a:gd name="T2" fmla="*/ 13 w 31"/>
                      <a:gd name="T3" fmla="*/ 23 h 27"/>
                      <a:gd name="T4" fmla="*/ 18 w 31"/>
                      <a:gd name="T5" fmla="*/ 27 h 27"/>
                      <a:gd name="T6" fmla="*/ 31 w 31"/>
                      <a:gd name="T7" fmla="*/ 23 h 27"/>
                      <a:gd name="T8" fmla="*/ 27 w 31"/>
                      <a:gd name="T9" fmla="*/ 14 h 27"/>
                      <a:gd name="T10" fmla="*/ 18 w 31"/>
                      <a:gd name="T11" fmla="*/ 14 h 27"/>
                      <a:gd name="T12" fmla="*/ 18 w 31"/>
                      <a:gd name="T13" fmla="*/ 9 h 27"/>
                      <a:gd name="T14" fmla="*/ 22 w 31"/>
                      <a:gd name="T15" fmla="*/ 5 h 27"/>
                      <a:gd name="T16" fmla="*/ 22 w 31"/>
                      <a:gd name="T17" fmla="*/ 0 h 27"/>
                      <a:gd name="T18" fmla="*/ 9 w 31"/>
                      <a:gd name="T19" fmla="*/ 5 h 27"/>
                      <a:gd name="T20" fmla="*/ 9 w 31"/>
                      <a:gd name="T21" fmla="*/ 14 h 27"/>
                      <a:gd name="T22" fmla="*/ 0 w 31"/>
                      <a:gd name="T23"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7">
                        <a:moveTo>
                          <a:pt x="0" y="18"/>
                        </a:moveTo>
                        <a:lnTo>
                          <a:pt x="13" y="23"/>
                        </a:lnTo>
                        <a:lnTo>
                          <a:pt x="18" y="27"/>
                        </a:lnTo>
                        <a:lnTo>
                          <a:pt x="31" y="23"/>
                        </a:lnTo>
                        <a:lnTo>
                          <a:pt x="27" y="14"/>
                        </a:lnTo>
                        <a:lnTo>
                          <a:pt x="18" y="14"/>
                        </a:lnTo>
                        <a:lnTo>
                          <a:pt x="18" y="9"/>
                        </a:lnTo>
                        <a:lnTo>
                          <a:pt x="22" y="5"/>
                        </a:lnTo>
                        <a:lnTo>
                          <a:pt x="22" y="0"/>
                        </a:lnTo>
                        <a:lnTo>
                          <a:pt x="9" y="5"/>
                        </a:lnTo>
                        <a:lnTo>
                          <a:pt x="9" y="14"/>
                        </a:lnTo>
                        <a:lnTo>
                          <a:pt x="0" y="1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37" name="Freeform 134"/>
                  <p:cNvSpPr>
                    <a:spLocks/>
                  </p:cNvSpPr>
                  <p:nvPr/>
                </p:nvSpPr>
                <p:spPr bwMode="gray">
                  <a:xfrm>
                    <a:off x="3674" y="2087"/>
                    <a:ext cx="157" cy="71"/>
                  </a:xfrm>
                  <a:custGeom>
                    <a:avLst/>
                    <a:gdLst>
                      <a:gd name="T0" fmla="*/ 23 w 157"/>
                      <a:gd name="T1" fmla="*/ 58 h 71"/>
                      <a:gd name="T2" fmla="*/ 18 w 157"/>
                      <a:gd name="T3" fmla="*/ 62 h 71"/>
                      <a:gd name="T4" fmla="*/ 14 w 157"/>
                      <a:gd name="T5" fmla="*/ 53 h 71"/>
                      <a:gd name="T6" fmla="*/ 5 w 157"/>
                      <a:gd name="T7" fmla="*/ 58 h 71"/>
                      <a:gd name="T8" fmla="*/ 0 w 157"/>
                      <a:gd name="T9" fmla="*/ 67 h 71"/>
                      <a:gd name="T10" fmla="*/ 18 w 157"/>
                      <a:gd name="T11" fmla="*/ 67 h 71"/>
                      <a:gd name="T12" fmla="*/ 27 w 157"/>
                      <a:gd name="T13" fmla="*/ 71 h 71"/>
                      <a:gd name="T14" fmla="*/ 36 w 157"/>
                      <a:gd name="T15" fmla="*/ 67 h 71"/>
                      <a:gd name="T16" fmla="*/ 49 w 157"/>
                      <a:gd name="T17" fmla="*/ 71 h 71"/>
                      <a:gd name="T18" fmla="*/ 63 w 157"/>
                      <a:gd name="T19" fmla="*/ 67 h 71"/>
                      <a:gd name="T20" fmla="*/ 76 w 157"/>
                      <a:gd name="T21" fmla="*/ 53 h 71"/>
                      <a:gd name="T22" fmla="*/ 90 w 157"/>
                      <a:gd name="T23" fmla="*/ 44 h 71"/>
                      <a:gd name="T24" fmla="*/ 107 w 157"/>
                      <a:gd name="T25" fmla="*/ 40 h 71"/>
                      <a:gd name="T26" fmla="*/ 143 w 157"/>
                      <a:gd name="T27" fmla="*/ 26 h 71"/>
                      <a:gd name="T28" fmla="*/ 157 w 157"/>
                      <a:gd name="T29" fmla="*/ 17 h 71"/>
                      <a:gd name="T30" fmla="*/ 157 w 157"/>
                      <a:gd name="T31" fmla="*/ 13 h 71"/>
                      <a:gd name="T32" fmla="*/ 148 w 157"/>
                      <a:gd name="T33" fmla="*/ 9 h 71"/>
                      <a:gd name="T34" fmla="*/ 148 w 157"/>
                      <a:gd name="T35" fmla="*/ 4 h 71"/>
                      <a:gd name="T36" fmla="*/ 134 w 157"/>
                      <a:gd name="T37" fmla="*/ 9 h 71"/>
                      <a:gd name="T38" fmla="*/ 85 w 157"/>
                      <a:gd name="T39" fmla="*/ 9 h 71"/>
                      <a:gd name="T40" fmla="*/ 67 w 157"/>
                      <a:gd name="T41" fmla="*/ 0 h 71"/>
                      <a:gd name="T42" fmla="*/ 63 w 157"/>
                      <a:gd name="T43" fmla="*/ 13 h 71"/>
                      <a:gd name="T44" fmla="*/ 45 w 157"/>
                      <a:gd name="T45" fmla="*/ 4 h 71"/>
                      <a:gd name="T46" fmla="*/ 27 w 157"/>
                      <a:gd name="T47" fmla="*/ 9 h 71"/>
                      <a:gd name="T48" fmla="*/ 31 w 157"/>
                      <a:gd name="T49" fmla="*/ 17 h 71"/>
                      <a:gd name="T50" fmla="*/ 18 w 157"/>
                      <a:gd name="T51" fmla="*/ 31 h 71"/>
                      <a:gd name="T52" fmla="*/ 23 w 157"/>
                      <a:gd name="T53" fmla="*/ 35 h 71"/>
                      <a:gd name="T54" fmla="*/ 40 w 157"/>
                      <a:gd name="T55" fmla="*/ 35 h 71"/>
                      <a:gd name="T56" fmla="*/ 58 w 157"/>
                      <a:gd name="T57" fmla="*/ 40 h 71"/>
                      <a:gd name="T58" fmla="*/ 54 w 157"/>
                      <a:gd name="T59" fmla="*/ 49 h 71"/>
                      <a:gd name="T60" fmla="*/ 45 w 157"/>
                      <a:gd name="T61" fmla="*/ 49 h 71"/>
                      <a:gd name="T62" fmla="*/ 31 w 157"/>
                      <a:gd name="T63" fmla="*/ 49 h 71"/>
                      <a:gd name="T64" fmla="*/ 31 w 157"/>
                      <a:gd name="T65" fmla="*/ 62 h 71"/>
                      <a:gd name="T66" fmla="*/ 27 w 157"/>
                      <a:gd name="T67" fmla="*/ 5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71">
                        <a:moveTo>
                          <a:pt x="27" y="53"/>
                        </a:moveTo>
                        <a:lnTo>
                          <a:pt x="23" y="58"/>
                        </a:lnTo>
                        <a:lnTo>
                          <a:pt x="23" y="62"/>
                        </a:lnTo>
                        <a:lnTo>
                          <a:pt x="18" y="62"/>
                        </a:lnTo>
                        <a:lnTo>
                          <a:pt x="18" y="58"/>
                        </a:lnTo>
                        <a:lnTo>
                          <a:pt x="14" y="53"/>
                        </a:lnTo>
                        <a:lnTo>
                          <a:pt x="5" y="53"/>
                        </a:lnTo>
                        <a:lnTo>
                          <a:pt x="5" y="58"/>
                        </a:lnTo>
                        <a:lnTo>
                          <a:pt x="0" y="62"/>
                        </a:lnTo>
                        <a:lnTo>
                          <a:pt x="0" y="67"/>
                        </a:lnTo>
                        <a:lnTo>
                          <a:pt x="14" y="67"/>
                        </a:lnTo>
                        <a:lnTo>
                          <a:pt x="18" y="67"/>
                        </a:lnTo>
                        <a:lnTo>
                          <a:pt x="23" y="67"/>
                        </a:lnTo>
                        <a:lnTo>
                          <a:pt x="27" y="71"/>
                        </a:lnTo>
                        <a:lnTo>
                          <a:pt x="31" y="67"/>
                        </a:lnTo>
                        <a:lnTo>
                          <a:pt x="36" y="67"/>
                        </a:lnTo>
                        <a:lnTo>
                          <a:pt x="36" y="71"/>
                        </a:lnTo>
                        <a:lnTo>
                          <a:pt x="49" y="71"/>
                        </a:lnTo>
                        <a:lnTo>
                          <a:pt x="54" y="67"/>
                        </a:lnTo>
                        <a:lnTo>
                          <a:pt x="63" y="67"/>
                        </a:lnTo>
                        <a:lnTo>
                          <a:pt x="63" y="58"/>
                        </a:lnTo>
                        <a:lnTo>
                          <a:pt x="76" y="53"/>
                        </a:lnTo>
                        <a:lnTo>
                          <a:pt x="81" y="44"/>
                        </a:lnTo>
                        <a:lnTo>
                          <a:pt x="90" y="44"/>
                        </a:lnTo>
                        <a:lnTo>
                          <a:pt x="98" y="53"/>
                        </a:lnTo>
                        <a:lnTo>
                          <a:pt x="107" y="40"/>
                        </a:lnTo>
                        <a:lnTo>
                          <a:pt x="125" y="40"/>
                        </a:lnTo>
                        <a:lnTo>
                          <a:pt x="143" y="26"/>
                        </a:lnTo>
                        <a:lnTo>
                          <a:pt x="157" y="22"/>
                        </a:lnTo>
                        <a:lnTo>
                          <a:pt x="157" y="17"/>
                        </a:lnTo>
                        <a:lnTo>
                          <a:pt x="157" y="17"/>
                        </a:lnTo>
                        <a:lnTo>
                          <a:pt x="157" y="13"/>
                        </a:lnTo>
                        <a:lnTo>
                          <a:pt x="148" y="13"/>
                        </a:lnTo>
                        <a:lnTo>
                          <a:pt x="148" y="9"/>
                        </a:lnTo>
                        <a:lnTo>
                          <a:pt x="143" y="9"/>
                        </a:lnTo>
                        <a:lnTo>
                          <a:pt x="148" y="4"/>
                        </a:lnTo>
                        <a:lnTo>
                          <a:pt x="143" y="4"/>
                        </a:lnTo>
                        <a:lnTo>
                          <a:pt x="134" y="9"/>
                        </a:lnTo>
                        <a:lnTo>
                          <a:pt x="103" y="4"/>
                        </a:lnTo>
                        <a:lnTo>
                          <a:pt x="85" y="9"/>
                        </a:lnTo>
                        <a:lnTo>
                          <a:pt x="81" y="4"/>
                        </a:lnTo>
                        <a:lnTo>
                          <a:pt x="67" y="0"/>
                        </a:lnTo>
                        <a:lnTo>
                          <a:pt x="63" y="0"/>
                        </a:lnTo>
                        <a:lnTo>
                          <a:pt x="63" y="13"/>
                        </a:lnTo>
                        <a:lnTo>
                          <a:pt x="58" y="13"/>
                        </a:lnTo>
                        <a:lnTo>
                          <a:pt x="45" y="4"/>
                        </a:lnTo>
                        <a:lnTo>
                          <a:pt x="31" y="4"/>
                        </a:lnTo>
                        <a:lnTo>
                          <a:pt x="27" y="9"/>
                        </a:lnTo>
                        <a:lnTo>
                          <a:pt x="31" y="13"/>
                        </a:lnTo>
                        <a:lnTo>
                          <a:pt x="31" y="17"/>
                        </a:lnTo>
                        <a:lnTo>
                          <a:pt x="18" y="26"/>
                        </a:lnTo>
                        <a:lnTo>
                          <a:pt x="18" y="31"/>
                        </a:lnTo>
                        <a:lnTo>
                          <a:pt x="23" y="31"/>
                        </a:lnTo>
                        <a:lnTo>
                          <a:pt x="23" y="35"/>
                        </a:lnTo>
                        <a:lnTo>
                          <a:pt x="36" y="31"/>
                        </a:lnTo>
                        <a:lnTo>
                          <a:pt x="40" y="35"/>
                        </a:lnTo>
                        <a:lnTo>
                          <a:pt x="49" y="40"/>
                        </a:lnTo>
                        <a:lnTo>
                          <a:pt x="58" y="40"/>
                        </a:lnTo>
                        <a:lnTo>
                          <a:pt x="58" y="44"/>
                        </a:lnTo>
                        <a:lnTo>
                          <a:pt x="54" y="49"/>
                        </a:lnTo>
                        <a:lnTo>
                          <a:pt x="49" y="44"/>
                        </a:lnTo>
                        <a:lnTo>
                          <a:pt x="45" y="49"/>
                        </a:lnTo>
                        <a:lnTo>
                          <a:pt x="40" y="53"/>
                        </a:lnTo>
                        <a:lnTo>
                          <a:pt x="31" y="49"/>
                        </a:lnTo>
                        <a:lnTo>
                          <a:pt x="31" y="53"/>
                        </a:lnTo>
                        <a:lnTo>
                          <a:pt x="31" y="62"/>
                        </a:lnTo>
                        <a:lnTo>
                          <a:pt x="27" y="62"/>
                        </a:lnTo>
                        <a:lnTo>
                          <a:pt x="27" y="5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38" name="Freeform 135"/>
                  <p:cNvSpPr>
                    <a:spLocks/>
                  </p:cNvSpPr>
                  <p:nvPr/>
                </p:nvSpPr>
                <p:spPr bwMode="gray">
                  <a:xfrm>
                    <a:off x="4116" y="2449"/>
                    <a:ext cx="99" cy="125"/>
                  </a:xfrm>
                  <a:custGeom>
                    <a:avLst/>
                    <a:gdLst>
                      <a:gd name="T0" fmla="*/ 0 w 99"/>
                      <a:gd name="T1" fmla="*/ 31 h 125"/>
                      <a:gd name="T2" fmla="*/ 9 w 99"/>
                      <a:gd name="T3" fmla="*/ 17 h 125"/>
                      <a:gd name="T4" fmla="*/ 14 w 99"/>
                      <a:gd name="T5" fmla="*/ 13 h 125"/>
                      <a:gd name="T6" fmla="*/ 14 w 99"/>
                      <a:gd name="T7" fmla="*/ 22 h 125"/>
                      <a:gd name="T8" fmla="*/ 23 w 99"/>
                      <a:gd name="T9" fmla="*/ 22 h 125"/>
                      <a:gd name="T10" fmla="*/ 23 w 99"/>
                      <a:gd name="T11" fmla="*/ 0 h 125"/>
                      <a:gd name="T12" fmla="*/ 27 w 99"/>
                      <a:gd name="T13" fmla="*/ 0 h 125"/>
                      <a:gd name="T14" fmla="*/ 36 w 99"/>
                      <a:gd name="T15" fmla="*/ 9 h 125"/>
                      <a:gd name="T16" fmla="*/ 41 w 99"/>
                      <a:gd name="T17" fmla="*/ 22 h 125"/>
                      <a:gd name="T18" fmla="*/ 54 w 99"/>
                      <a:gd name="T19" fmla="*/ 22 h 125"/>
                      <a:gd name="T20" fmla="*/ 63 w 99"/>
                      <a:gd name="T21" fmla="*/ 31 h 125"/>
                      <a:gd name="T22" fmla="*/ 58 w 99"/>
                      <a:gd name="T23" fmla="*/ 40 h 125"/>
                      <a:gd name="T24" fmla="*/ 54 w 99"/>
                      <a:gd name="T25" fmla="*/ 35 h 125"/>
                      <a:gd name="T26" fmla="*/ 54 w 99"/>
                      <a:gd name="T27" fmla="*/ 49 h 125"/>
                      <a:gd name="T28" fmla="*/ 67 w 99"/>
                      <a:gd name="T29" fmla="*/ 58 h 125"/>
                      <a:gd name="T30" fmla="*/ 85 w 99"/>
                      <a:gd name="T31" fmla="*/ 89 h 125"/>
                      <a:gd name="T32" fmla="*/ 94 w 99"/>
                      <a:gd name="T33" fmla="*/ 93 h 125"/>
                      <a:gd name="T34" fmla="*/ 99 w 99"/>
                      <a:gd name="T35" fmla="*/ 120 h 125"/>
                      <a:gd name="T36" fmla="*/ 90 w 99"/>
                      <a:gd name="T37" fmla="*/ 116 h 125"/>
                      <a:gd name="T38" fmla="*/ 85 w 99"/>
                      <a:gd name="T39" fmla="*/ 116 h 125"/>
                      <a:gd name="T40" fmla="*/ 81 w 99"/>
                      <a:gd name="T41" fmla="*/ 125 h 125"/>
                      <a:gd name="T42" fmla="*/ 72 w 99"/>
                      <a:gd name="T43" fmla="*/ 125 h 125"/>
                      <a:gd name="T44" fmla="*/ 67 w 99"/>
                      <a:gd name="T45" fmla="*/ 120 h 125"/>
                      <a:gd name="T46" fmla="*/ 76 w 99"/>
                      <a:gd name="T47" fmla="*/ 102 h 125"/>
                      <a:gd name="T48" fmla="*/ 63 w 99"/>
                      <a:gd name="T49" fmla="*/ 89 h 125"/>
                      <a:gd name="T50" fmla="*/ 54 w 99"/>
                      <a:gd name="T51" fmla="*/ 62 h 125"/>
                      <a:gd name="T52" fmla="*/ 45 w 99"/>
                      <a:gd name="T53" fmla="*/ 62 h 125"/>
                      <a:gd name="T54" fmla="*/ 36 w 99"/>
                      <a:gd name="T55" fmla="*/ 71 h 125"/>
                      <a:gd name="T56" fmla="*/ 27 w 99"/>
                      <a:gd name="T57" fmla="*/ 67 h 125"/>
                      <a:gd name="T58" fmla="*/ 14 w 99"/>
                      <a:gd name="T59" fmla="*/ 80 h 125"/>
                      <a:gd name="T60" fmla="*/ 14 w 99"/>
                      <a:gd name="T61" fmla="*/ 44 h 125"/>
                      <a:gd name="T62" fmla="*/ 5 w 99"/>
                      <a:gd name="T63" fmla="*/ 40 h 125"/>
                      <a:gd name="T64" fmla="*/ 9 w 99"/>
                      <a:gd name="T65" fmla="*/ 35 h 125"/>
                      <a:gd name="T66" fmla="*/ 0 w 99"/>
                      <a:gd name="T67" fmla="*/ 3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125">
                        <a:moveTo>
                          <a:pt x="0" y="31"/>
                        </a:moveTo>
                        <a:lnTo>
                          <a:pt x="9" y="17"/>
                        </a:lnTo>
                        <a:lnTo>
                          <a:pt x="14" y="13"/>
                        </a:lnTo>
                        <a:lnTo>
                          <a:pt x="14" y="22"/>
                        </a:lnTo>
                        <a:lnTo>
                          <a:pt x="23" y="22"/>
                        </a:lnTo>
                        <a:lnTo>
                          <a:pt x="23" y="0"/>
                        </a:lnTo>
                        <a:lnTo>
                          <a:pt x="27" y="0"/>
                        </a:lnTo>
                        <a:lnTo>
                          <a:pt x="36" y="9"/>
                        </a:lnTo>
                        <a:lnTo>
                          <a:pt x="41" y="22"/>
                        </a:lnTo>
                        <a:lnTo>
                          <a:pt x="54" y="22"/>
                        </a:lnTo>
                        <a:lnTo>
                          <a:pt x="63" y="31"/>
                        </a:lnTo>
                        <a:lnTo>
                          <a:pt x="58" y="40"/>
                        </a:lnTo>
                        <a:lnTo>
                          <a:pt x="54" y="35"/>
                        </a:lnTo>
                        <a:lnTo>
                          <a:pt x="54" y="49"/>
                        </a:lnTo>
                        <a:lnTo>
                          <a:pt x="67" y="58"/>
                        </a:lnTo>
                        <a:lnTo>
                          <a:pt x="85" y="89"/>
                        </a:lnTo>
                        <a:lnTo>
                          <a:pt x="94" y="93"/>
                        </a:lnTo>
                        <a:lnTo>
                          <a:pt x="99" y="120"/>
                        </a:lnTo>
                        <a:lnTo>
                          <a:pt x="90" y="116"/>
                        </a:lnTo>
                        <a:lnTo>
                          <a:pt x="85" y="116"/>
                        </a:lnTo>
                        <a:lnTo>
                          <a:pt x="81" y="125"/>
                        </a:lnTo>
                        <a:lnTo>
                          <a:pt x="72" y="125"/>
                        </a:lnTo>
                        <a:lnTo>
                          <a:pt x="67" y="120"/>
                        </a:lnTo>
                        <a:lnTo>
                          <a:pt x="76" y="102"/>
                        </a:lnTo>
                        <a:lnTo>
                          <a:pt x="63" y="89"/>
                        </a:lnTo>
                        <a:lnTo>
                          <a:pt x="54" y="62"/>
                        </a:lnTo>
                        <a:lnTo>
                          <a:pt x="45" y="62"/>
                        </a:lnTo>
                        <a:lnTo>
                          <a:pt x="36" y="71"/>
                        </a:lnTo>
                        <a:lnTo>
                          <a:pt x="27" y="67"/>
                        </a:lnTo>
                        <a:lnTo>
                          <a:pt x="14" y="80"/>
                        </a:lnTo>
                        <a:lnTo>
                          <a:pt x="14" y="44"/>
                        </a:lnTo>
                        <a:lnTo>
                          <a:pt x="5" y="40"/>
                        </a:lnTo>
                        <a:lnTo>
                          <a:pt x="9" y="35"/>
                        </a:lnTo>
                        <a:lnTo>
                          <a:pt x="0" y="3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39" name="Freeform 136"/>
                  <p:cNvSpPr>
                    <a:spLocks/>
                  </p:cNvSpPr>
                  <p:nvPr/>
                </p:nvSpPr>
                <p:spPr bwMode="gray">
                  <a:xfrm>
                    <a:off x="3183" y="2243"/>
                    <a:ext cx="22" cy="27"/>
                  </a:xfrm>
                  <a:custGeom>
                    <a:avLst/>
                    <a:gdLst>
                      <a:gd name="T0" fmla="*/ 9 w 22"/>
                      <a:gd name="T1" fmla="*/ 0 h 27"/>
                      <a:gd name="T2" fmla="*/ 4 w 22"/>
                      <a:gd name="T3" fmla="*/ 13 h 27"/>
                      <a:gd name="T4" fmla="*/ 4 w 22"/>
                      <a:gd name="T5" fmla="*/ 18 h 27"/>
                      <a:gd name="T6" fmla="*/ 0 w 22"/>
                      <a:gd name="T7" fmla="*/ 27 h 27"/>
                      <a:gd name="T8" fmla="*/ 4 w 22"/>
                      <a:gd name="T9" fmla="*/ 27 h 27"/>
                      <a:gd name="T10" fmla="*/ 13 w 22"/>
                      <a:gd name="T11" fmla="*/ 22 h 27"/>
                      <a:gd name="T12" fmla="*/ 22 w 22"/>
                      <a:gd name="T13" fmla="*/ 9 h 27"/>
                      <a:gd name="T14" fmla="*/ 18 w 22"/>
                      <a:gd name="T15" fmla="*/ 0 h 27"/>
                      <a:gd name="T16" fmla="*/ 9 w 22"/>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7">
                        <a:moveTo>
                          <a:pt x="9" y="0"/>
                        </a:moveTo>
                        <a:lnTo>
                          <a:pt x="4" y="13"/>
                        </a:lnTo>
                        <a:lnTo>
                          <a:pt x="4" y="18"/>
                        </a:lnTo>
                        <a:lnTo>
                          <a:pt x="0" y="27"/>
                        </a:lnTo>
                        <a:lnTo>
                          <a:pt x="4" y="27"/>
                        </a:lnTo>
                        <a:lnTo>
                          <a:pt x="13" y="22"/>
                        </a:lnTo>
                        <a:lnTo>
                          <a:pt x="22" y="9"/>
                        </a:lnTo>
                        <a:lnTo>
                          <a:pt x="18" y="0"/>
                        </a:lnTo>
                        <a:lnTo>
                          <a:pt x="9"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40" name="Freeform 137"/>
                  <p:cNvSpPr>
                    <a:spLocks noEditPoints="1"/>
                  </p:cNvSpPr>
                  <p:nvPr/>
                </p:nvSpPr>
                <p:spPr bwMode="gray">
                  <a:xfrm>
                    <a:off x="4116" y="2672"/>
                    <a:ext cx="277" cy="98"/>
                  </a:xfrm>
                  <a:custGeom>
                    <a:avLst/>
                    <a:gdLst>
                      <a:gd name="T0" fmla="*/ 0 w 277"/>
                      <a:gd name="T1" fmla="*/ 18 h 98"/>
                      <a:gd name="T2" fmla="*/ 5 w 277"/>
                      <a:gd name="T3" fmla="*/ 36 h 98"/>
                      <a:gd name="T4" fmla="*/ 5 w 277"/>
                      <a:gd name="T5" fmla="*/ 49 h 98"/>
                      <a:gd name="T6" fmla="*/ 14 w 277"/>
                      <a:gd name="T7" fmla="*/ 54 h 98"/>
                      <a:gd name="T8" fmla="*/ 50 w 277"/>
                      <a:gd name="T9" fmla="*/ 89 h 98"/>
                      <a:gd name="T10" fmla="*/ 58 w 277"/>
                      <a:gd name="T11" fmla="*/ 89 h 98"/>
                      <a:gd name="T12" fmla="*/ 54 w 277"/>
                      <a:gd name="T13" fmla="*/ 72 h 98"/>
                      <a:gd name="T14" fmla="*/ 45 w 277"/>
                      <a:gd name="T15" fmla="*/ 40 h 98"/>
                      <a:gd name="T16" fmla="*/ 27 w 277"/>
                      <a:gd name="T17" fmla="*/ 18 h 98"/>
                      <a:gd name="T18" fmla="*/ 14 w 277"/>
                      <a:gd name="T19" fmla="*/ 27 h 98"/>
                      <a:gd name="T20" fmla="*/ 0 w 277"/>
                      <a:gd name="T21" fmla="*/ 18 h 98"/>
                      <a:gd name="T22" fmla="*/ 201 w 277"/>
                      <a:gd name="T23" fmla="*/ 45 h 98"/>
                      <a:gd name="T24" fmla="*/ 210 w 277"/>
                      <a:gd name="T25" fmla="*/ 40 h 98"/>
                      <a:gd name="T26" fmla="*/ 219 w 277"/>
                      <a:gd name="T27" fmla="*/ 31 h 98"/>
                      <a:gd name="T28" fmla="*/ 224 w 277"/>
                      <a:gd name="T29" fmla="*/ 22 h 98"/>
                      <a:gd name="T30" fmla="*/ 246 w 277"/>
                      <a:gd name="T31" fmla="*/ 0 h 98"/>
                      <a:gd name="T32" fmla="*/ 237 w 277"/>
                      <a:gd name="T33" fmla="*/ 13 h 98"/>
                      <a:gd name="T34" fmla="*/ 251 w 277"/>
                      <a:gd name="T35" fmla="*/ 18 h 98"/>
                      <a:gd name="T36" fmla="*/ 255 w 277"/>
                      <a:gd name="T37" fmla="*/ 22 h 98"/>
                      <a:gd name="T38" fmla="*/ 259 w 277"/>
                      <a:gd name="T39" fmla="*/ 22 h 98"/>
                      <a:gd name="T40" fmla="*/ 273 w 277"/>
                      <a:gd name="T41" fmla="*/ 36 h 98"/>
                      <a:gd name="T42" fmla="*/ 255 w 277"/>
                      <a:gd name="T43" fmla="*/ 36 h 98"/>
                      <a:gd name="T44" fmla="*/ 268 w 277"/>
                      <a:gd name="T45" fmla="*/ 45 h 98"/>
                      <a:gd name="T46" fmla="*/ 233 w 277"/>
                      <a:gd name="T47" fmla="*/ 45 h 98"/>
                      <a:gd name="T48" fmla="*/ 210 w 277"/>
                      <a:gd name="T49" fmla="*/ 76 h 98"/>
                      <a:gd name="T50" fmla="*/ 184 w 277"/>
                      <a:gd name="T51" fmla="*/ 89 h 98"/>
                      <a:gd name="T52" fmla="*/ 157 w 277"/>
                      <a:gd name="T53" fmla="*/ 98 h 98"/>
                      <a:gd name="T54" fmla="*/ 134 w 277"/>
                      <a:gd name="T55" fmla="*/ 80 h 98"/>
                      <a:gd name="T56" fmla="*/ 143 w 277"/>
                      <a:gd name="T57" fmla="*/ 85 h 98"/>
                      <a:gd name="T58" fmla="*/ 157 w 277"/>
                      <a:gd name="T59" fmla="*/ 89 h 98"/>
                      <a:gd name="T60" fmla="*/ 161 w 277"/>
                      <a:gd name="T61" fmla="*/ 67 h 98"/>
                      <a:gd name="T62" fmla="*/ 197 w 277"/>
                      <a:gd name="T63" fmla="*/ 4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98">
                        <a:moveTo>
                          <a:pt x="0" y="18"/>
                        </a:moveTo>
                        <a:lnTo>
                          <a:pt x="0" y="18"/>
                        </a:lnTo>
                        <a:lnTo>
                          <a:pt x="0" y="36"/>
                        </a:lnTo>
                        <a:lnTo>
                          <a:pt x="5" y="36"/>
                        </a:lnTo>
                        <a:lnTo>
                          <a:pt x="5" y="40"/>
                        </a:lnTo>
                        <a:lnTo>
                          <a:pt x="5" y="49"/>
                        </a:lnTo>
                        <a:lnTo>
                          <a:pt x="9" y="49"/>
                        </a:lnTo>
                        <a:lnTo>
                          <a:pt x="14" y="54"/>
                        </a:lnTo>
                        <a:lnTo>
                          <a:pt x="18" y="72"/>
                        </a:lnTo>
                        <a:lnTo>
                          <a:pt x="50" y="89"/>
                        </a:lnTo>
                        <a:lnTo>
                          <a:pt x="54" y="85"/>
                        </a:lnTo>
                        <a:lnTo>
                          <a:pt x="58" y="89"/>
                        </a:lnTo>
                        <a:lnTo>
                          <a:pt x="63" y="89"/>
                        </a:lnTo>
                        <a:lnTo>
                          <a:pt x="54" y="72"/>
                        </a:lnTo>
                        <a:lnTo>
                          <a:pt x="45" y="67"/>
                        </a:lnTo>
                        <a:lnTo>
                          <a:pt x="45" y="40"/>
                        </a:lnTo>
                        <a:lnTo>
                          <a:pt x="32" y="18"/>
                        </a:lnTo>
                        <a:lnTo>
                          <a:pt x="27" y="18"/>
                        </a:lnTo>
                        <a:lnTo>
                          <a:pt x="23" y="27"/>
                        </a:lnTo>
                        <a:lnTo>
                          <a:pt x="14" y="27"/>
                        </a:lnTo>
                        <a:lnTo>
                          <a:pt x="5" y="13"/>
                        </a:lnTo>
                        <a:lnTo>
                          <a:pt x="0" y="18"/>
                        </a:lnTo>
                        <a:close/>
                        <a:moveTo>
                          <a:pt x="197" y="40"/>
                        </a:moveTo>
                        <a:lnTo>
                          <a:pt x="201" y="45"/>
                        </a:lnTo>
                        <a:lnTo>
                          <a:pt x="210" y="49"/>
                        </a:lnTo>
                        <a:lnTo>
                          <a:pt x="210" y="40"/>
                        </a:lnTo>
                        <a:lnTo>
                          <a:pt x="215" y="45"/>
                        </a:lnTo>
                        <a:lnTo>
                          <a:pt x="219" y="31"/>
                        </a:lnTo>
                        <a:lnTo>
                          <a:pt x="215" y="27"/>
                        </a:lnTo>
                        <a:lnTo>
                          <a:pt x="224" y="22"/>
                        </a:lnTo>
                        <a:lnTo>
                          <a:pt x="242" y="0"/>
                        </a:lnTo>
                        <a:lnTo>
                          <a:pt x="246" y="0"/>
                        </a:lnTo>
                        <a:lnTo>
                          <a:pt x="242" y="4"/>
                        </a:lnTo>
                        <a:lnTo>
                          <a:pt x="237" y="13"/>
                        </a:lnTo>
                        <a:lnTo>
                          <a:pt x="242" y="9"/>
                        </a:lnTo>
                        <a:lnTo>
                          <a:pt x="251" y="18"/>
                        </a:lnTo>
                        <a:lnTo>
                          <a:pt x="246" y="22"/>
                        </a:lnTo>
                        <a:lnTo>
                          <a:pt x="255" y="22"/>
                        </a:lnTo>
                        <a:lnTo>
                          <a:pt x="255" y="27"/>
                        </a:lnTo>
                        <a:lnTo>
                          <a:pt x="259" y="22"/>
                        </a:lnTo>
                        <a:lnTo>
                          <a:pt x="277" y="31"/>
                        </a:lnTo>
                        <a:lnTo>
                          <a:pt x="273" y="36"/>
                        </a:lnTo>
                        <a:lnTo>
                          <a:pt x="259" y="31"/>
                        </a:lnTo>
                        <a:lnTo>
                          <a:pt x="255" y="36"/>
                        </a:lnTo>
                        <a:lnTo>
                          <a:pt x="268" y="40"/>
                        </a:lnTo>
                        <a:lnTo>
                          <a:pt x="268" y="45"/>
                        </a:lnTo>
                        <a:lnTo>
                          <a:pt x="251" y="45"/>
                        </a:lnTo>
                        <a:lnTo>
                          <a:pt x="233" y="45"/>
                        </a:lnTo>
                        <a:lnTo>
                          <a:pt x="224" y="49"/>
                        </a:lnTo>
                        <a:lnTo>
                          <a:pt x="210" y="76"/>
                        </a:lnTo>
                        <a:lnTo>
                          <a:pt x="206" y="89"/>
                        </a:lnTo>
                        <a:lnTo>
                          <a:pt x="184" y="89"/>
                        </a:lnTo>
                        <a:lnTo>
                          <a:pt x="175" y="98"/>
                        </a:lnTo>
                        <a:lnTo>
                          <a:pt x="157" y="98"/>
                        </a:lnTo>
                        <a:lnTo>
                          <a:pt x="139" y="85"/>
                        </a:lnTo>
                        <a:lnTo>
                          <a:pt x="134" y="80"/>
                        </a:lnTo>
                        <a:lnTo>
                          <a:pt x="139" y="80"/>
                        </a:lnTo>
                        <a:lnTo>
                          <a:pt x="143" y="85"/>
                        </a:lnTo>
                        <a:lnTo>
                          <a:pt x="148" y="85"/>
                        </a:lnTo>
                        <a:lnTo>
                          <a:pt x="157" y="89"/>
                        </a:lnTo>
                        <a:lnTo>
                          <a:pt x="161" y="76"/>
                        </a:lnTo>
                        <a:lnTo>
                          <a:pt x="161" y="67"/>
                        </a:lnTo>
                        <a:lnTo>
                          <a:pt x="188" y="63"/>
                        </a:lnTo>
                        <a:lnTo>
                          <a:pt x="197" y="49"/>
                        </a:lnTo>
                        <a:lnTo>
                          <a:pt x="197" y="4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41" name="Freeform 138"/>
                  <p:cNvSpPr>
                    <a:spLocks noEditPoints="1"/>
                  </p:cNvSpPr>
                  <p:nvPr/>
                </p:nvSpPr>
                <p:spPr bwMode="gray">
                  <a:xfrm>
                    <a:off x="3741" y="2690"/>
                    <a:ext cx="9" cy="40"/>
                  </a:xfrm>
                  <a:custGeom>
                    <a:avLst/>
                    <a:gdLst>
                      <a:gd name="T0" fmla="*/ 0 w 9"/>
                      <a:gd name="T1" fmla="*/ 0 h 40"/>
                      <a:gd name="T2" fmla="*/ 0 w 9"/>
                      <a:gd name="T3" fmla="*/ 0 h 40"/>
                      <a:gd name="T4" fmla="*/ 0 w 9"/>
                      <a:gd name="T5" fmla="*/ 0 h 40"/>
                      <a:gd name="T6" fmla="*/ 0 w 9"/>
                      <a:gd name="T7" fmla="*/ 0 h 40"/>
                      <a:gd name="T8" fmla="*/ 0 w 9"/>
                      <a:gd name="T9" fmla="*/ 18 h 40"/>
                      <a:gd name="T10" fmla="*/ 0 w 9"/>
                      <a:gd name="T11" fmla="*/ 18 h 40"/>
                      <a:gd name="T12" fmla="*/ 0 w 9"/>
                      <a:gd name="T13" fmla="*/ 18 h 40"/>
                      <a:gd name="T14" fmla="*/ 0 w 9"/>
                      <a:gd name="T15" fmla="*/ 18 h 40"/>
                      <a:gd name="T16" fmla="*/ 0 w 9"/>
                      <a:gd name="T17" fmla="*/ 36 h 40"/>
                      <a:gd name="T18" fmla="*/ 0 w 9"/>
                      <a:gd name="T19" fmla="*/ 40 h 40"/>
                      <a:gd name="T20" fmla="*/ 0 w 9"/>
                      <a:gd name="T21" fmla="*/ 40 h 40"/>
                      <a:gd name="T22" fmla="*/ 0 w 9"/>
                      <a:gd name="T23" fmla="*/ 36 h 40"/>
                      <a:gd name="T24" fmla="*/ 5 w 9"/>
                      <a:gd name="T25" fmla="*/ 27 h 40"/>
                      <a:gd name="T26" fmla="*/ 0 w 9"/>
                      <a:gd name="T27" fmla="*/ 27 h 40"/>
                      <a:gd name="T28" fmla="*/ 0 w 9"/>
                      <a:gd name="T29" fmla="*/ 27 h 40"/>
                      <a:gd name="T30" fmla="*/ 5 w 9"/>
                      <a:gd name="T31" fmla="*/ 27 h 40"/>
                      <a:gd name="T32" fmla="*/ 9 w 9"/>
                      <a:gd name="T33" fmla="*/ 40 h 40"/>
                      <a:gd name="T34" fmla="*/ 9 w 9"/>
                      <a:gd name="T35" fmla="*/ 40 h 40"/>
                      <a:gd name="T36" fmla="*/ 9 w 9"/>
                      <a:gd name="T37" fmla="*/ 40 h 40"/>
                      <a:gd name="T38" fmla="*/ 9 w 9"/>
                      <a:gd name="T39" fmla="*/ 40 h 40"/>
                      <a:gd name="T40" fmla="*/ 9 w 9"/>
                      <a:gd name="T41" fmla="*/ 40 h 40"/>
                      <a:gd name="T42" fmla="*/ 9 w 9"/>
                      <a:gd name="T4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40">
                        <a:moveTo>
                          <a:pt x="0" y="0"/>
                        </a:moveTo>
                        <a:lnTo>
                          <a:pt x="0" y="0"/>
                        </a:lnTo>
                        <a:lnTo>
                          <a:pt x="0" y="0"/>
                        </a:lnTo>
                        <a:lnTo>
                          <a:pt x="0" y="0"/>
                        </a:lnTo>
                        <a:close/>
                        <a:moveTo>
                          <a:pt x="0" y="18"/>
                        </a:moveTo>
                        <a:lnTo>
                          <a:pt x="0" y="18"/>
                        </a:lnTo>
                        <a:lnTo>
                          <a:pt x="0" y="18"/>
                        </a:lnTo>
                        <a:lnTo>
                          <a:pt x="0" y="18"/>
                        </a:lnTo>
                        <a:close/>
                        <a:moveTo>
                          <a:pt x="0" y="36"/>
                        </a:moveTo>
                        <a:lnTo>
                          <a:pt x="0" y="40"/>
                        </a:lnTo>
                        <a:lnTo>
                          <a:pt x="0" y="40"/>
                        </a:lnTo>
                        <a:lnTo>
                          <a:pt x="0" y="36"/>
                        </a:lnTo>
                        <a:close/>
                        <a:moveTo>
                          <a:pt x="5" y="27"/>
                        </a:moveTo>
                        <a:lnTo>
                          <a:pt x="0" y="27"/>
                        </a:lnTo>
                        <a:lnTo>
                          <a:pt x="0" y="27"/>
                        </a:lnTo>
                        <a:lnTo>
                          <a:pt x="5" y="27"/>
                        </a:lnTo>
                        <a:close/>
                        <a:moveTo>
                          <a:pt x="9" y="40"/>
                        </a:moveTo>
                        <a:lnTo>
                          <a:pt x="9" y="40"/>
                        </a:lnTo>
                        <a:lnTo>
                          <a:pt x="9" y="40"/>
                        </a:lnTo>
                        <a:lnTo>
                          <a:pt x="9" y="40"/>
                        </a:lnTo>
                        <a:lnTo>
                          <a:pt x="9" y="40"/>
                        </a:lnTo>
                        <a:lnTo>
                          <a:pt x="9" y="4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42" name="Freeform 139"/>
                  <p:cNvSpPr>
                    <a:spLocks/>
                  </p:cNvSpPr>
                  <p:nvPr/>
                </p:nvSpPr>
                <p:spPr bwMode="gray">
                  <a:xfrm>
                    <a:off x="3942" y="1890"/>
                    <a:ext cx="456" cy="223"/>
                  </a:xfrm>
                  <a:custGeom>
                    <a:avLst/>
                    <a:gdLst>
                      <a:gd name="T0" fmla="*/ 407 w 456"/>
                      <a:gd name="T1" fmla="*/ 54 h 223"/>
                      <a:gd name="T2" fmla="*/ 402 w 456"/>
                      <a:gd name="T3" fmla="*/ 49 h 223"/>
                      <a:gd name="T4" fmla="*/ 393 w 456"/>
                      <a:gd name="T5" fmla="*/ 49 h 223"/>
                      <a:gd name="T6" fmla="*/ 375 w 456"/>
                      <a:gd name="T7" fmla="*/ 40 h 223"/>
                      <a:gd name="T8" fmla="*/ 366 w 456"/>
                      <a:gd name="T9" fmla="*/ 45 h 223"/>
                      <a:gd name="T10" fmla="*/ 353 w 456"/>
                      <a:gd name="T11" fmla="*/ 58 h 223"/>
                      <a:gd name="T12" fmla="*/ 322 w 456"/>
                      <a:gd name="T13" fmla="*/ 67 h 223"/>
                      <a:gd name="T14" fmla="*/ 291 w 456"/>
                      <a:gd name="T15" fmla="*/ 63 h 223"/>
                      <a:gd name="T16" fmla="*/ 250 w 456"/>
                      <a:gd name="T17" fmla="*/ 40 h 223"/>
                      <a:gd name="T18" fmla="*/ 228 w 456"/>
                      <a:gd name="T19" fmla="*/ 45 h 223"/>
                      <a:gd name="T20" fmla="*/ 206 w 456"/>
                      <a:gd name="T21" fmla="*/ 40 h 223"/>
                      <a:gd name="T22" fmla="*/ 201 w 456"/>
                      <a:gd name="T23" fmla="*/ 13 h 223"/>
                      <a:gd name="T24" fmla="*/ 157 w 456"/>
                      <a:gd name="T25" fmla="*/ 0 h 223"/>
                      <a:gd name="T26" fmla="*/ 143 w 456"/>
                      <a:gd name="T27" fmla="*/ 22 h 223"/>
                      <a:gd name="T28" fmla="*/ 148 w 456"/>
                      <a:gd name="T29" fmla="*/ 31 h 223"/>
                      <a:gd name="T30" fmla="*/ 143 w 456"/>
                      <a:gd name="T31" fmla="*/ 54 h 223"/>
                      <a:gd name="T32" fmla="*/ 103 w 456"/>
                      <a:gd name="T33" fmla="*/ 54 h 223"/>
                      <a:gd name="T34" fmla="*/ 85 w 456"/>
                      <a:gd name="T35" fmla="*/ 36 h 223"/>
                      <a:gd name="T36" fmla="*/ 72 w 456"/>
                      <a:gd name="T37" fmla="*/ 36 h 223"/>
                      <a:gd name="T38" fmla="*/ 67 w 456"/>
                      <a:gd name="T39" fmla="*/ 31 h 223"/>
                      <a:gd name="T40" fmla="*/ 40 w 456"/>
                      <a:gd name="T41" fmla="*/ 40 h 223"/>
                      <a:gd name="T42" fmla="*/ 14 w 456"/>
                      <a:gd name="T43" fmla="*/ 58 h 223"/>
                      <a:gd name="T44" fmla="*/ 5 w 456"/>
                      <a:gd name="T45" fmla="*/ 58 h 223"/>
                      <a:gd name="T46" fmla="*/ 0 w 456"/>
                      <a:gd name="T47" fmla="*/ 67 h 223"/>
                      <a:gd name="T48" fmla="*/ 5 w 456"/>
                      <a:gd name="T49" fmla="*/ 80 h 223"/>
                      <a:gd name="T50" fmla="*/ 23 w 456"/>
                      <a:gd name="T51" fmla="*/ 89 h 223"/>
                      <a:gd name="T52" fmla="*/ 45 w 456"/>
                      <a:gd name="T53" fmla="*/ 107 h 223"/>
                      <a:gd name="T54" fmla="*/ 45 w 456"/>
                      <a:gd name="T55" fmla="*/ 147 h 223"/>
                      <a:gd name="T56" fmla="*/ 81 w 456"/>
                      <a:gd name="T57" fmla="*/ 152 h 223"/>
                      <a:gd name="T58" fmla="*/ 103 w 456"/>
                      <a:gd name="T59" fmla="*/ 165 h 223"/>
                      <a:gd name="T60" fmla="*/ 121 w 456"/>
                      <a:gd name="T61" fmla="*/ 197 h 223"/>
                      <a:gd name="T62" fmla="*/ 201 w 456"/>
                      <a:gd name="T63" fmla="*/ 201 h 223"/>
                      <a:gd name="T64" fmla="*/ 210 w 456"/>
                      <a:gd name="T65" fmla="*/ 210 h 223"/>
                      <a:gd name="T66" fmla="*/ 250 w 456"/>
                      <a:gd name="T67" fmla="*/ 223 h 223"/>
                      <a:gd name="T68" fmla="*/ 259 w 456"/>
                      <a:gd name="T69" fmla="*/ 210 h 223"/>
                      <a:gd name="T70" fmla="*/ 291 w 456"/>
                      <a:gd name="T71" fmla="*/ 201 h 223"/>
                      <a:gd name="T72" fmla="*/ 317 w 456"/>
                      <a:gd name="T73" fmla="*/ 201 h 223"/>
                      <a:gd name="T74" fmla="*/ 326 w 456"/>
                      <a:gd name="T75" fmla="*/ 188 h 223"/>
                      <a:gd name="T76" fmla="*/ 344 w 456"/>
                      <a:gd name="T77" fmla="*/ 179 h 223"/>
                      <a:gd name="T78" fmla="*/ 331 w 456"/>
                      <a:gd name="T79" fmla="*/ 161 h 223"/>
                      <a:gd name="T80" fmla="*/ 340 w 456"/>
                      <a:gd name="T81" fmla="*/ 147 h 223"/>
                      <a:gd name="T82" fmla="*/ 349 w 456"/>
                      <a:gd name="T83" fmla="*/ 147 h 223"/>
                      <a:gd name="T84" fmla="*/ 358 w 456"/>
                      <a:gd name="T85" fmla="*/ 156 h 223"/>
                      <a:gd name="T86" fmla="*/ 366 w 456"/>
                      <a:gd name="T87" fmla="*/ 156 h 223"/>
                      <a:gd name="T88" fmla="*/ 380 w 456"/>
                      <a:gd name="T89" fmla="*/ 139 h 223"/>
                      <a:gd name="T90" fmla="*/ 393 w 456"/>
                      <a:gd name="T91" fmla="*/ 143 h 223"/>
                      <a:gd name="T92" fmla="*/ 416 w 456"/>
                      <a:gd name="T93" fmla="*/ 121 h 223"/>
                      <a:gd name="T94" fmla="*/ 438 w 456"/>
                      <a:gd name="T95" fmla="*/ 125 h 223"/>
                      <a:gd name="T96" fmla="*/ 451 w 456"/>
                      <a:gd name="T97" fmla="*/ 116 h 223"/>
                      <a:gd name="T98" fmla="*/ 456 w 456"/>
                      <a:gd name="T99" fmla="*/ 107 h 223"/>
                      <a:gd name="T100" fmla="*/ 442 w 456"/>
                      <a:gd name="T101" fmla="*/ 107 h 223"/>
                      <a:gd name="T102" fmla="*/ 433 w 456"/>
                      <a:gd name="T103" fmla="*/ 89 h 223"/>
                      <a:gd name="T104" fmla="*/ 416 w 456"/>
                      <a:gd name="T105" fmla="*/ 98 h 223"/>
                      <a:gd name="T106" fmla="*/ 407 w 456"/>
                      <a:gd name="T107" fmla="*/ 94 h 223"/>
                      <a:gd name="T108" fmla="*/ 393 w 456"/>
                      <a:gd name="T109" fmla="*/ 98 h 223"/>
                      <a:gd name="T110" fmla="*/ 389 w 456"/>
                      <a:gd name="T111" fmla="*/ 89 h 223"/>
                      <a:gd name="T112" fmla="*/ 402 w 456"/>
                      <a:gd name="T113" fmla="*/ 71 h 223"/>
                      <a:gd name="T114" fmla="*/ 407 w 456"/>
                      <a:gd name="T115" fmla="*/ 5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6" h="223">
                        <a:moveTo>
                          <a:pt x="407" y="54"/>
                        </a:moveTo>
                        <a:lnTo>
                          <a:pt x="402" y="49"/>
                        </a:lnTo>
                        <a:lnTo>
                          <a:pt x="393" y="49"/>
                        </a:lnTo>
                        <a:lnTo>
                          <a:pt x="375" y="40"/>
                        </a:lnTo>
                        <a:lnTo>
                          <a:pt x="366" y="45"/>
                        </a:lnTo>
                        <a:lnTo>
                          <a:pt x="353" y="58"/>
                        </a:lnTo>
                        <a:lnTo>
                          <a:pt x="322" y="67"/>
                        </a:lnTo>
                        <a:lnTo>
                          <a:pt x="291" y="63"/>
                        </a:lnTo>
                        <a:lnTo>
                          <a:pt x="250" y="40"/>
                        </a:lnTo>
                        <a:lnTo>
                          <a:pt x="228" y="45"/>
                        </a:lnTo>
                        <a:lnTo>
                          <a:pt x="206" y="40"/>
                        </a:lnTo>
                        <a:lnTo>
                          <a:pt x="201" y="13"/>
                        </a:lnTo>
                        <a:lnTo>
                          <a:pt x="157" y="0"/>
                        </a:lnTo>
                        <a:lnTo>
                          <a:pt x="143" y="22"/>
                        </a:lnTo>
                        <a:lnTo>
                          <a:pt x="148" y="31"/>
                        </a:lnTo>
                        <a:lnTo>
                          <a:pt x="143" y="54"/>
                        </a:lnTo>
                        <a:lnTo>
                          <a:pt x="103" y="54"/>
                        </a:lnTo>
                        <a:lnTo>
                          <a:pt x="85" y="36"/>
                        </a:lnTo>
                        <a:lnTo>
                          <a:pt x="72" y="36"/>
                        </a:lnTo>
                        <a:lnTo>
                          <a:pt x="67" y="31"/>
                        </a:lnTo>
                        <a:lnTo>
                          <a:pt x="40" y="40"/>
                        </a:lnTo>
                        <a:lnTo>
                          <a:pt x="14" y="58"/>
                        </a:lnTo>
                        <a:lnTo>
                          <a:pt x="5" y="58"/>
                        </a:lnTo>
                        <a:lnTo>
                          <a:pt x="0" y="67"/>
                        </a:lnTo>
                        <a:lnTo>
                          <a:pt x="5" y="80"/>
                        </a:lnTo>
                        <a:lnTo>
                          <a:pt x="23" y="89"/>
                        </a:lnTo>
                        <a:lnTo>
                          <a:pt x="45" y="107"/>
                        </a:lnTo>
                        <a:lnTo>
                          <a:pt x="45" y="147"/>
                        </a:lnTo>
                        <a:lnTo>
                          <a:pt x="81" y="152"/>
                        </a:lnTo>
                        <a:lnTo>
                          <a:pt x="103" y="165"/>
                        </a:lnTo>
                        <a:lnTo>
                          <a:pt x="121" y="197"/>
                        </a:lnTo>
                        <a:lnTo>
                          <a:pt x="201" y="201"/>
                        </a:lnTo>
                        <a:lnTo>
                          <a:pt x="210" y="210"/>
                        </a:lnTo>
                        <a:lnTo>
                          <a:pt x="250" y="223"/>
                        </a:lnTo>
                        <a:lnTo>
                          <a:pt x="259" y="210"/>
                        </a:lnTo>
                        <a:lnTo>
                          <a:pt x="291" y="201"/>
                        </a:lnTo>
                        <a:lnTo>
                          <a:pt x="317" y="201"/>
                        </a:lnTo>
                        <a:lnTo>
                          <a:pt x="326" y="188"/>
                        </a:lnTo>
                        <a:lnTo>
                          <a:pt x="344" y="179"/>
                        </a:lnTo>
                        <a:lnTo>
                          <a:pt x="331" y="161"/>
                        </a:lnTo>
                        <a:lnTo>
                          <a:pt x="340" y="147"/>
                        </a:lnTo>
                        <a:lnTo>
                          <a:pt x="349" y="147"/>
                        </a:lnTo>
                        <a:lnTo>
                          <a:pt x="358" y="156"/>
                        </a:lnTo>
                        <a:lnTo>
                          <a:pt x="366" y="156"/>
                        </a:lnTo>
                        <a:lnTo>
                          <a:pt x="380" y="139"/>
                        </a:lnTo>
                        <a:lnTo>
                          <a:pt x="393" y="143"/>
                        </a:lnTo>
                        <a:lnTo>
                          <a:pt x="416" y="121"/>
                        </a:lnTo>
                        <a:lnTo>
                          <a:pt x="438" y="125"/>
                        </a:lnTo>
                        <a:lnTo>
                          <a:pt x="451" y="116"/>
                        </a:lnTo>
                        <a:lnTo>
                          <a:pt x="456" y="107"/>
                        </a:lnTo>
                        <a:lnTo>
                          <a:pt x="442" y="107"/>
                        </a:lnTo>
                        <a:lnTo>
                          <a:pt x="433" y="89"/>
                        </a:lnTo>
                        <a:lnTo>
                          <a:pt x="416" y="98"/>
                        </a:lnTo>
                        <a:lnTo>
                          <a:pt x="407" y="94"/>
                        </a:lnTo>
                        <a:lnTo>
                          <a:pt x="393" y="98"/>
                        </a:lnTo>
                        <a:lnTo>
                          <a:pt x="389" y="89"/>
                        </a:lnTo>
                        <a:lnTo>
                          <a:pt x="402" y="71"/>
                        </a:lnTo>
                        <a:lnTo>
                          <a:pt x="407" y="5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43" name="Freeform 140"/>
                  <p:cNvSpPr>
                    <a:spLocks noEditPoints="1"/>
                  </p:cNvSpPr>
                  <p:nvPr/>
                </p:nvSpPr>
                <p:spPr bwMode="gray">
                  <a:xfrm>
                    <a:off x="3442" y="2382"/>
                    <a:ext cx="98" cy="151"/>
                  </a:xfrm>
                  <a:custGeom>
                    <a:avLst/>
                    <a:gdLst>
                      <a:gd name="T0" fmla="*/ 0 w 98"/>
                      <a:gd name="T1" fmla="*/ 129 h 151"/>
                      <a:gd name="T2" fmla="*/ 4 w 98"/>
                      <a:gd name="T3" fmla="*/ 151 h 151"/>
                      <a:gd name="T4" fmla="*/ 22 w 98"/>
                      <a:gd name="T5" fmla="*/ 147 h 151"/>
                      <a:gd name="T6" fmla="*/ 36 w 98"/>
                      <a:gd name="T7" fmla="*/ 151 h 151"/>
                      <a:gd name="T8" fmla="*/ 36 w 98"/>
                      <a:gd name="T9" fmla="*/ 134 h 151"/>
                      <a:gd name="T10" fmla="*/ 49 w 98"/>
                      <a:gd name="T11" fmla="*/ 134 h 151"/>
                      <a:gd name="T12" fmla="*/ 54 w 98"/>
                      <a:gd name="T13" fmla="*/ 120 h 151"/>
                      <a:gd name="T14" fmla="*/ 71 w 98"/>
                      <a:gd name="T15" fmla="*/ 120 h 151"/>
                      <a:gd name="T16" fmla="*/ 71 w 98"/>
                      <a:gd name="T17" fmla="*/ 102 h 151"/>
                      <a:gd name="T18" fmla="*/ 80 w 98"/>
                      <a:gd name="T19" fmla="*/ 102 h 151"/>
                      <a:gd name="T20" fmla="*/ 85 w 98"/>
                      <a:gd name="T21" fmla="*/ 98 h 151"/>
                      <a:gd name="T22" fmla="*/ 80 w 98"/>
                      <a:gd name="T23" fmla="*/ 98 h 151"/>
                      <a:gd name="T24" fmla="*/ 89 w 98"/>
                      <a:gd name="T25" fmla="*/ 84 h 151"/>
                      <a:gd name="T26" fmla="*/ 98 w 98"/>
                      <a:gd name="T27" fmla="*/ 67 h 151"/>
                      <a:gd name="T28" fmla="*/ 89 w 98"/>
                      <a:gd name="T29" fmla="*/ 62 h 151"/>
                      <a:gd name="T30" fmla="*/ 80 w 98"/>
                      <a:gd name="T31" fmla="*/ 44 h 151"/>
                      <a:gd name="T32" fmla="*/ 58 w 98"/>
                      <a:gd name="T33" fmla="*/ 40 h 151"/>
                      <a:gd name="T34" fmla="*/ 49 w 98"/>
                      <a:gd name="T35" fmla="*/ 31 h 151"/>
                      <a:gd name="T36" fmla="*/ 45 w 98"/>
                      <a:gd name="T37" fmla="*/ 22 h 151"/>
                      <a:gd name="T38" fmla="*/ 40 w 98"/>
                      <a:gd name="T39" fmla="*/ 26 h 151"/>
                      <a:gd name="T40" fmla="*/ 31 w 98"/>
                      <a:gd name="T41" fmla="*/ 40 h 151"/>
                      <a:gd name="T42" fmla="*/ 31 w 98"/>
                      <a:gd name="T43" fmla="*/ 67 h 151"/>
                      <a:gd name="T44" fmla="*/ 40 w 98"/>
                      <a:gd name="T45" fmla="*/ 62 h 151"/>
                      <a:gd name="T46" fmla="*/ 54 w 98"/>
                      <a:gd name="T47" fmla="*/ 67 h 151"/>
                      <a:gd name="T48" fmla="*/ 58 w 98"/>
                      <a:gd name="T49" fmla="*/ 89 h 151"/>
                      <a:gd name="T50" fmla="*/ 54 w 98"/>
                      <a:gd name="T51" fmla="*/ 102 h 151"/>
                      <a:gd name="T52" fmla="*/ 40 w 98"/>
                      <a:gd name="T53" fmla="*/ 107 h 151"/>
                      <a:gd name="T54" fmla="*/ 0 w 98"/>
                      <a:gd name="T55" fmla="*/ 129 h 151"/>
                      <a:gd name="T56" fmla="*/ 40 w 98"/>
                      <a:gd name="T57" fmla="*/ 8 h 151"/>
                      <a:gd name="T58" fmla="*/ 45 w 98"/>
                      <a:gd name="T59" fmla="*/ 8 h 151"/>
                      <a:gd name="T60" fmla="*/ 49 w 98"/>
                      <a:gd name="T61" fmla="*/ 4 h 151"/>
                      <a:gd name="T62" fmla="*/ 49 w 98"/>
                      <a:gd name="T63" fmla="*/ 0 h 151"/>
                      <a:gd name="T64" fmla="*/ 45 w 98"/>
                      <a:gd name="T65" fmla="*/ 0 h 151"/>
                      <a:gd name="T66" fmla="*/ 40 w 98"/>
                      <a:gd name="T67" fmla="*/ 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151">
                        <a:moveTo>
                          <a:pt x="0" y="129"/>
                        </a:moveTo>
                        <a:lnTo>
                          <a:pt x="4" y="151"/>
                        </a:lnTo>
                        <a:lnTo>
                          <a:pt x="22" y="147"/>
                        </a:lnTo>
                        <a:lnTo>
                          <a:pt x="36" y="151"/>
                        </a:lnTo>
                        <a:lnTo>
                          <a:pt x="36" y="134"/>
                        </a:lnTo>
                        <a:lnTo>
                          <a:pt x="49" y="134"/>
                        </a:lnTo>
                        <a:lnTo>
                          <a:pt x="54" y="120"/>
                        </a:lnTo>
                        <a:lnTo>
                          <a:pt x="71" y="120"/>
                        </a:lnTo>
                        <a:lnTo>
                          <a:pt x="71" y="102"/>
                        </a:lnTo>
                        <a:lnTo>
                          <a:pt x="80" y="102"/>
                        </a:lnTo>
                        <a:lnTo>
                          <a:pt x="85" y="98"/>
                        </a:lnTo>
                        <a:lnTo>
                          <a:pt x="80" y="98"/>
                        </a:lnTo>
                        <a:lnTo>
                          <a:pt x="89" y="84"/>
                        </a:lnTo>
                        <a:lnTo>
                          <a:pt x="98" y="67"/>
                        </a:lnTo>
                        <a:lnTo>
                          <a:pt x="89" y="62"/>
                        </a:lnTo>
                        <a:lnTo>
                          <a:pt x="80" y="44"/>
                        </a:lnTo>
                        <a:lnTo>
                          <a:pt x="58" y="40"/>
                        </a:lnTo>
                        <a:lnTo>
                          <a:pt x="49" y="31"/>
                        </a:lnTo>
                        <a:lnTo>
                          <a:pt x="45" y="22"/>
                        </a:lnTo>
                        <a:lnTo>
                          <a:pt x="40" y="26"/>
                        </a:lnTo>
                        <a:lnTo>
                          <a:pt x="31" y="40"/>
                        </a:lnTo>
                        <a:lnTo>
                          <a:pt x="31" y="67"/>
                        </a:lnTo>
                        <a:lnTo>
                          <a:pt x="40" y="62"/>
                        </a:lnTo>
                        <a:lnTo>
                          <a:pt x="54" y="67"/>
                        </a:lnTo>
                        <a:lnTo>
                          <a:pt x="58" y="89"/>
                        </a:lnTo>
                        <a:lnTo>
                          <a:pt x="54" y="102"/>
                        </a:lnTo>
                        <a:lnTo>
                          <a:pt x="40" y="107"/>
                        </a:lnTo>
                        <a:lnTo>
                          <a:pt x="0" y="129"/>
                        </a:lnTo>
                        <a:close/>
                        <a:moveTo>
                          <a:pt x="40" y="8"/>
                        </a:moveTo>
                        <a:lnTo>
                          <a:pt x="45" y="8"/>
                        </a:lnTo>
                        <a:lnTo>
                          <a:pt x="49" y="4"/>
                        </a:lnTo>
                        <a:lnTo>
                          <a:pt x="49" y="0"/>
                        </a:lnTo>
                        <a:lnTo>
                          <a:pt x="45" y="0"/>
                        </a:lnTo>
                        <a:lnTo>
                          <a:pt x="40" y="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44" name="Freeform 141"/>
                  <p:cNvSpPr>
                    <a:spLocks/>
                  </p:cNvSpPr>
                  <p:nvPr/>
                </p:nvSpPr>
                <p:spPr bwMode="gray">
                  <a:xfrm>
                    <a:off x="3831" y="2319"/>
                    <a:ext cx="116" cy="67"/>
                  </a:xfrm>
                  <a:custGeom>
                    <a:avLst/>
                    <a:gdLst>
                      <a:gd name="T0" fmla="*/ 8 w 116"/>
                      <a:gd name="T1" fmla="*/ 0 h 67"/>
                      <a:gd name="T2" fmla="*/ 26 w 116"/>
                      <a:gd name="T3" fmla="*/ 4 h 67"/>
                      <a:gd name="T4" fmla="*/ 44 w 116"/>
                      <a:gd name="T5" fmla="*/ 22 h 67"/>
                      <a:gd name="T6" fmla="*/ 53 w 116"/>
                      <a:gd name="T7" fmla="*/ 22 h 67"/>
                      <a:gd name="T8" fmla="*/ 75 w 116"/>
                      <a:gd name="T9" fmla="*/ 40 h 67"/>
                      <a:gd name="T10" fmla="*/ 116 w 116"/>
                      <a:gd name="T11" fmla="*/ 45 h 67"/>
                      <a:gd name="T12" fmla="*/ 116 w 116"/>
                      <a:gd name="T13" fmla="*/ 63 h 67"/>
                      <a:gd name="T14" fmla="*/ 107 w 116"/>
                      <a:gd name="T15" fmla="*/ 67 h 67"/>
                      <a:gd name="T16" fmla="*/ 75 w 116"/>
                      <a:gd name="T17" fmla="*/ 63 h 67"/>
                      <a:gd name="T18" fmla="*/ 75 w 116"/>
                      <a:gd name="T19" fmla="*/ 58 h 67"/>
                      <a:gd name="T20" fmla="*/ 67 w 116"/>
                      <a:gd name="T21" fmla="*/ 58 h 67"/>
                      <a:gd name="T22" fmla="*/ 58 w 116"/>
                      <a:gd name="T23" fmla="*/ 49 h 67"/>
                      <a:gd name="T24" fmla="*/ 49 w 116"/>
                      <a:gd name="T25" fmla="*/ 54 h 67"/>
                      <a:gd name="T26" fmla="*/ 35 w 116"/>
                      <a:gd name="T27" fmla="*/ 49 h 67"/>
                      <a:gd name="T28" fmla="*/ 8 w 116"/>
                      <a:gd name="T29" fmla="*/ 36 h 67"/>
                      <a:gd name="T30" fmla="*/ 8 w 116"/>
                      <a:gd name="T31" fmla="*/ 27 h 67"/>
                      <a:gd name="T32" fmla="*/ 0 w 116"/>
                      <a:gd name="T33" fmla="*/ 27 h 67"/>
                      <a:gd name="T34" fmla="*/ 0 w 116"/>
                      <a:gd name="T35" fmla="*/ 9 h 67"/>
                      <a:gd name="T36" fmla="*/ 8 w 116"/>
                      <a:gd name="T3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67">
                        <a:moveTo>
                          <a:pt x="8" y="0"/>
                        </a:moveTo>
                        <a:lnTo>
                          <a:pt x="26" y="4"/>
                        </a:lnTo>
                        <a:lnTo>
                          <a:pt x="44" y="22"/>
                        </a:lnTo>
                        <a:lnTo>
                          <a:pt x="53" y="22"/>
                        </a:lnTo>
                        <a:lnTo>
                          <a:pt x="75" y="40"/>
                        </a:lnTo>
                        <a:lnTo>
                          <a:pt x="116" y="45"/>
                        </a:lnTo>
                        <a:lnTo>
                          <a:pt x="116" y="63"/>
                        </a:lnTo>
                        <a:lnTo>
                          <a:pt x="107" y="67"/>
                        </a:lnTo>
                        <a:lnTo>
                          <a:pt x="75" y="63"/>
                        </a:lnTo>
                        <a:lnTo>
                          <a:pt x="75" y="58"/>
                        </a:lnTo>
                        <a:lnTo>
                          <a:pt x="67" y="58"/>
                        </a:lnTo>
                        <a:lnTo>
                          <a:pt x="58" y="49"/>
                        </a:lnTo>
                        <a:lnTo>
                          <a:pt x="49" y="54"/>
                        </a:lnTo>
                        <a:lnTo>
                          <a:pt x="35" y="49"/>
                        </a:lnTo>
                        <a:lnTo>
                          <a:pt x="8" y="36"/>
                        </a:lnTo>
                        <a:lnTo>
                          <a:pt x="8" y="27"/>
                        </a:lnTo>
                        <a:lnTo>
                          <a:pt x="0" y="27"/>
                        </a:lnTo>
                        <a:lnTo>
                          <a:pt x="0" y="9"/>
                        </a:lnTo>
                        <a:lnTo>
                          <a:pt x="8"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45" name="Freeform 142"/>
                  <p:cNvSpPr>
                    <a:spLocks noEditPoints="1"/>
                  </p:cNvSpPr>
                  <p:nvPr/>
                </p:nvSpPr>
                <p:spPr bwMode="gray">
                  <a:xfrm>
                    <a:off x="5032" y="3083"/>
                    <a:ext cx="58" cy="36"/>
                  </a:xfrm>
                  <a:custGeom>
                    <a:avLst/>
                    <a:gdLst>
                      <a:gd name="T0" fmla="*/ 0 w 58"/>
                      <a:gd name="T1" fmla="*/ 0 h 36"/>
                      <a:gd name="T2" fmla="*/ 0 w 58"/>
                      <a:gd name="T3" fmla="*/ 0 h 36"/>
                      <a:gd name="T4" fmla="*/ 9 w 58"/>
                      <a:gd name="T5" fmla="*/ 14 h 36"/>
                      <a:gd name="T6" fmla="*/ 22 w 58"/>
                      <a:gd name="T7" fmla="*/ 27 h 36"/>
                      <a:gd name="T8" fmla="*/ 40 w 58"/>
                      <a:gd name="T9" fmla="*/ 36 h 36"/>
                      <a:gd name="T10" fmla="*/ 45 w 58"/>
                      <a:gd name="T11" fmla="*/ 31 h 36"/>
                      <a:gd name="T12" fmla="*/ 36 w 58"/>
                      <a:gd name="T13" fmla="*/ 27 h 36"/>
                      <a:gd name="T14" fmla="*/ 31 w 58"/>
                      <a:gd name="T15" fmla="*/ 22 h 36"/>
                      <a:gd name="T16" fmla="*/ 18 w 58"/>
                      <a:gd name="T17" fmla="*/ 9 h 36"/>
                      <a:gd name="T18" fmla="*/ 14 w 58"/>
                      <a:gd name="T19" fmla="*/ 9 h 36"/>
                      <a:gd name="T20" fmla="*/ 9 w 58"/>
                      <a:gd name="T21" fmla="*/ 5 h 36"/>
                      <a:gd name="T22" fmla="*/ 5 w 58"/>
                      <a:gd name="T23" fmla="*/ 0 h 36"/>
                      <a:gd name="T24" fmla="*/ 0 w 58"/>
                      <a:gd name="T25" fmla="*/ 0 h 36"/>
                      <a:gd name="T26" fmla="*/ 54 w 58"/>
                      <a:gd name="T27" fmla="*/ 14 h 36"/>
                      <a:gd name="T28" fmla="*/ 49 w 58"/>
                      <a:gd name="T29" fmla="*/ 14 h 36"/>
                      <a:gd name="T30" fmla="*/ 45 w 58"/>
                      <a:gd name="T31" fmla="*/ 9 h 36"/>
                      <a:gd name="T32" fmla="*/ 45 w 58"/>
                      <a:gd name="T33" fmla="*/ 9 h 36"/>
                      <a:gd name="T34" fmla="*/ 45 w 58"/>
                      <a:gd name="T35" fmla="*/ 9 h 36"/>
                      <a:gd name="T36" fmla="*/ 45 w 58"/>
                      <a:gd name="T37" fmla="*/ 14 h 36"/>
                      <a:gd name="T38" fmla="*/ 49 w 58"/>
                      <a:gd name="T39" fmla="*/ 18 h 36"/>
                      <a:gd name="T40" fmla="*/ 54 w 58"/>
                      <a:gd name="T41" fmla="*/ 14 h 36"/>
                      <a:gd name="T42" fmla="*/ 58 w 58"/>
                      <a:gd name="T43" fmla="*/ 22 h 36"/>
                      <a:gd name="T44" fmla="*/ 58 w 58"/>
                      <a:gd name="T45" fmla="*/ 18 h 36"/>
                      <a:gd name="T46" fmla="*/ 54 w 58"/>
                      <a:gd name="T47" fmla="*/ 18 h 36"/>
                      <a:gd name="T48" fmla="*/ 54 w 58"/>
                      <a:gd name="T49" fmla="*/ 18 h 36"/>
                      <a:gd name="T50" fmla="*/ 54 w 58"/>
                      <a:gd name="T51" fmla="*/ 22 h 36"/>
                      <a:gd name="T52" fmla="*/ 58 w 58"/>
                      <a:gd name="T53"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36">
                        <a:moveTo>
                          <a:pt x="0" y="0"/>
                        </a:moveTo>
                        <a:lnTo>
                          <a:pt x="0" y="0"/>
                        </a:lnTo>
                        <a:lnTo>
                          <a:pt x="9" y="14"/>
                        </a:lnTo>
                        <a:lnTo>
                          <a:pt x="22" y="27"/>
                        </a:lnTo>
                        <a:lnTo>
                          <a:pt x="40" y="36"/>
                        </a:lnTo>
                        <a:lnTo>
                          <a:pt x="45" y="31"/>
                        </a:lnTo>
                        <a:lnTo>
                          <a:pt x="36" y="27"/>
                        </a:lnTo>
                        <a:lnTo>
                          <a:pt x="31" y="22"/>
                        </a:lnTo>
                        <a:lnTo>
                          <a:pt x="18" y="9"/>
                        </a:lnTo>
                        <a:lnTo>
                          <a:pt x="14" y="9"/>
                        </a:lnTo>
                        <a:lnTo>
                          <a:pt x="9" y="5"/>
                        </a:lnTo>
                        <a:lnTo>
                          <a:pt x="5" y="0"/>
                        </a:lnTo>
                        <a:lnTo>
                          <a:pt x="0" y="0"/>
                        </a:lnTo>
                        <a:close/>
                        <a:moveTo>
                          <a:pt x="54" y="14"/>
                        </a:moveTo>
                        <a:lnTo>
                          <a:pt x="49" y="14"/>
                        </a:lnTo>
                        <a:lnTo>
                          <a:pt x="45" y="9"/>
                        </a:lnTo>
                        <a:lnTo>
                          <a:pt x="45" y="9"/>
                        </a:lnTo>
                        <a:lnTo>
                          <a:pt x="45" y="9"/>
                        </a:lnTo>
                        <a:lnTo>
                          <a:pt x="45" y="14"/>
                        </a:lnTo>
                        <a:lnTo>
                          <a:pt x="49" y="18"/>
                        </a:lnTo>
                        <a:lnTo>
                          <a:pt x="54" y="14"/>
                        </a:lnTo>
                        <a:close/>
                        <a:moveTo>
                          <a:pt x="58" y="22"/>
                        </a:moveTo>
                        <a:lnTo>
                          <a:pt x="58" y="18"/>
                        </a:lnTo>
                        <a:lnTo>
                          <a:pt x="54" y="18"/>
                        </a:lnTo>
                        <a:lnTo>
                          <a:pt x="54" y="18"/>
                        </a:lnTo>
                        <a:lnTo>
                          <a:pt x="54" y="22"/>
                        </a:lnTo>
                        <a:lnTo>
                          <a:pt x="58" y="2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46" name="Freeform 143"/>
                  <p:cNvSpPr>
                    <a:spLocks noEditPoints="1"/>
                  </p:cNvSpPr>
                  <p:nvPr/>
                </p:nvSpPr>
                <p:spPr bwMode="gray">
                  <a:xfrm>
                    <a:off x="5063" y="2998"/>
                    <a:ext cx="32" cy="49"/>
                  </a:xfrm>
                  <a:custGeom>
                    <a:avLst/>
                    <a:gdLst>
                      <a:gd name="T0" fmla="*/ 5 w 32"/>
                      <a:gd name="T1" fmla="*/ 0 h 49"/>
                      <a:gd name="T2" fmla="*/ 0 w 32"/>
                      <a:gd name="T3" fmla="*/ 5 h 49"/>
                      <a:gd name="T4" fmla="*/ 5 w 32"/>
                      <a:gd name="T5" fmla="*/ 14 h 49"/>
                      <a:gd name="T6" fmla="*/ 14 w 32"/>
                      <a:gd name="T7" fmla="*/ 14 h 49"/>
                      <a:gd name="T8" fmla="*/ 14 w 32"/>
                      <a:gd name="T9" fmla="*/ 5 h 49"/>
                      <a:gd name="T10" fmla="*/ 9 w 32"/>
                      <a:gd name="T11" fmla="*/ 5 h 49"/>
                      <a:gd name="T12" fmla="*/ 5 w 32"/>
                      <a:gd name="T13" fmla="*/ 0 h 49"/>
                      <a:gd name="T14" fmla="*/ 18 w 32"/>
                      <a:gd name="T15" fmla="*/ 18 h 49"/>
                      <a:gd name="T16" fmla="*/ 14 w 32"/>
                      <a:gd name="T17" fmla="*/ 23 h 49"/>
                      <a:gd name="T18" fmla="*/ 23 w 32"/>
                      <a:gd name="T19" fmla="*/ 27 h 49"/>
                      <a:gd name="T20" fmla="*/ 23 w 32"/>
                      <a:gd name="T21" fmla="*/ 27 h 49"/>
                      <a:gd name="T22" fmla="*/ 18 w 32"/>
                      <a:gd name="T23" fmla="*/ 18 h 49"/>
                      <a:gd name="T24" fmla="*/ 27 w 32"/>
                      <a:gd name="T25" fmla="*/ 40 h 49"/>
                      <a:gd name="T26" fmla="*/ 27 w 32"/>
                      <a:gd name="T27" fmla="*/ 45 h 49"/>
                      <a:gd name="T28" fmla="*/ 32 w 32"/>
                      <a:gd name="T29" fmla="*/ 49 h 49"/>
                      <a:gd name="T30" fmla="*/ 32 w 32"/>
                      <a:gd name="T31" fmla="*/ 40 h 49"/>
                      <a:gd name="T32" fmla="*/ 27 w 32"/>
                      <a:gd name="T33"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49">
                        <a:moveTo>
                          <a:pt x="5" y="0"/>
                        </a:moveTo>
                        <a:lnTo>
                          <a:pt x="0" y="5"/>
                        </a:lnTo>
                        <a:lnTo>
                          <a:pt x="5" y="14"/>
                        </a:lnTo>
                        <a:lnTo>
                          <a:pt x="14" y="14"/>
                        </a:lnTo>
                        <a:lnTo>
                          <a:pt x="14" y="5"/>
                        </a:lnTo>
                        <a:lnTo>
                          <a:pt x="9" y="5"/>
                        </a:lnTo>
                        <a:lnTo>
                          <a:pt x="5" y="0"/>
                        </a:lnTo>
                        <a:close/>
                        <a:moveTo>
                          <a:pt x="18" y="18"/>
                        </a:moveTo>
                        <a:lnTo>
                          <a:pt x="14" y="23"/>
                        </a:lnTo>
                        <a:lnTo>
                          <a:pt x="23" y="27"/>
                        </a:lnTo>
                        <a:lnTo>
                          <a:pt x="23" y="27"/>
                        </a:lnTo>
                        <a:lnTo>
                          <a:pt x="18" y="18"/>
                        </a:lnTo>
                        <a:close/>
                        <a:moveTo>
                          <a:pt x="27" y="40"/>
                        </a:moveTo>
                        <a:lnTo>
                          <a:pt x="27" y="45"/>
                        </a:lnTo>
                        <a:lnTo>
                          <a:pt x="32" y="49"/>
                        </a:lnTo>
                        <a:lnTo>
                          <a:pt x="32" y="40"/>
                        </a:lnTo>
                        <a:lnTo>
                          <a:pt x="27" y="4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47" name="Freeform 144"/>
                  <p:cNvSpPr>
                    <a:spLocks noEditPoints="1"/>
                  </p:cNvSpPr>
                  <p:nvPr/>
                </p:nvSpPr>
                <p:spPr bwMode="gray">
                  <a:xfrm>
                    <a:off x="4657" y="2645"/>
                    <a:ext cx="366" cy="130"/>
                  </a:xfrm>
                  <a:custGeom>
                    <a:avLst/>
                    <a:gdLst>
                      <a:gd name="T0" fmla="*/ 4 w 366"/>
                      <a:gd name="T1" fmla="*/ 0 h 130"/>
                      <a:gd name="T2" fmla="*/ 0 w 366"/>
                      <a:gd name="T3" fmla="*/ 0 h 130"/>
                      <a:gd name="T4" fmla="*/ 4 w 366"/>
                      <a:gd name="T5" fmla="*/ 0 h 130"/>
                      <a:gd name="T6" fmla="*/ 4 w 366"/>
                      <a:gd name="T7" fmla="*/ 0 h 130"/>
                      <a:gd name="T8" fmla="*/ 232 w 366"/>
                      <a:gd name="T9" fmla="*/ 130 h 130"/>
                      <a:gd name="T10" fmla="*/ 237 w 366"/>
                      <a:gd name="T11" fmla="*/ 130 h 130"/>
                      <a:gd name="T12" fmla="*/ 241 w 366"/>
                      <a:gd name="T13" fmla="*/ 130 h 130"/>
                      <a:gd name="T14" fmla="*/ 237 w 366"/>
                      <a:gd name="T15" fmla="*/ 130 h 130"/>
                      <a:gd name="T16" fmla="*/ 237 w 366"/>
                      <a:gd name="T17" fmla="*/ 125 h 130"/>
                      <a:gd name="T18" fmla="*/ 237 w 366"/>
                      <a:gd name="T19" fmla="*/ 130 h 130"/>
                      <a:gd name="T20" fmla="*/ 232 w 366"/>
                      <a:gd name="T21" fmla="*/ 130 h 130"/>
                      <a:gd name="T22" fmla="*/ 281 w 366"/>
                      <a:gd name="T23" fmla="*/ 116 h 130"/>
                      <a:gd name="T24" fmla="*/ 281 w 366"/>
                      <a:gd name="T25" fmla="*/ 121 h 130"/>
                      <a:gd name="T26" fmla="*/ 286 w 366"/>
                      <a:gd name="T27" fmla="*/ 116 h 130"/>
                      <a:gd name="T28" fmla="*/ 281 w 366"/>
                      <a:gd name="T29" fmla="*/ 116 h 130"/>
                      <a:gd name="T30" fmla="*/ 286 w 366"/>
                      <a:gd name="T31" fmla="*/ 36 h 130"/>
                      <a:gd name="T32" fmla="*/ 286 w 366"/>
                      <a:gd name="T33" fmla="*/ 36 h 130"/>
                      <a:gd name="T34" fmla="*/ 290 w 366"/>
                      <a:gd name="T35" fmla="*/ 31 h 130"/>
                      <a:gd name="T36" fmla="*/ 286 w 366"/>
                      <a:gd name="T37" fmla="*/ 36 h 130"/>
                      <a:gd name="T38" fmla="*/ 362 w 366"/>
                      <a:gd name="T39" fmla="*/ 58 h 130"/>
                      <a:gd name="T40" fmla="*/ 366 w 366"/>
                      <a:gd name="T41" fmla="*/ 58 h 130"/>
                      <a:gd name="T42" fmla="*/ 366 w 366"/>
                      <a:gd name="T43" fmla="*/ 54 h 130"/>
                      <a:gd name="T44" fmla="*/ 362 w 366"/>
                      <a:gd name="T45" fmla="*/ 5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6" h="130">
                        <a:moveTo>
                          <a:pt x="4" y="0"/>
                        </a:moveTo>
                        <a:lnTo>
                          <a:pt x="0" y="0"/>
                        </a:lnTo>
                        <a:lnTo>
                          <a:pt x="4" y="0"/>
                        </a:lnTo>
                        <a:lnTo>
                          <a:pt x="4" y="0"/>
                        </a:lnTo>
                        <a:close/>
                        <a:moveTo>
                          <a:pt x="232" y="130"/>
                        </a:moveTo>
                        <a:lnTo>
                          <a:pt x="237" y="130"/>
                        </a:lnTo>
                        <a:lnTo>
                          <a:pt x="241" y="130"/>
                        </a:lnTo>
                        <a:lnTo>
                          <a:pt x="237" y="130"/>
                        </a:lnTo>
                        <a:lnTo>
                          <a:pt x="237" y="125"/>
                        </a:lnTo>
                        <a:lnTo>
                          <a:pt x="237" y="130"/>
                        </a:lnTo>
                        <a:lnTo>
                          <a:pt x="232" y="130"/>
                        </a:lnTo>
                        <a:close/>
                        <a:moveTo>
                          <a:pt x="281" y="116"/>
                        </a:moveTo>
                        <a:lnTo>
                          <a:pt x="281" y="121"/>
                        </a:lnTo>
                        <a:lnTo>
                          <a:pt x="286" y="116"/>
                        </a:lnTo>
                        <a:lnTo>
                          <a:pt x="281" y="116"/>
                        </a:lnTo>
                        <a:close/>
                        <a:moveTo>
                          <a:pt x="286" y="36"/>
                        </a:moveTo>
                        <a:lnTo>
                          <a:pt x="286" y="36"/>
                        </a:lnTo>
                        <a:lnTo>
                          <a:pt x="290" y="31"/>
                        </a:lnTo>
                        <a:lnTo>
                          <a:pt x="286" y="36"/>
                        </a:lnTo>
                        <a:close/>
                        <a:moveTo>
                          <a:pt x="362" y="58"/>
                        </a:moveTo>
                        <a:lnTo>
                          <a:pt x="366" y="58"/>
                        </a:lnTo>
                        <a:lnTo>
                          <a:pt x="366" y="54"/>
                        </a:lnTo>
                        <a:lnTo>
                          <a:pt x="362" y="5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48" name="Freeform 145"/>
                  <p:cNvSpPr>
                    <a:spLocks/>
                  </p:cNvSpPr>
                  <p:nvPr/>
                </p:nvSpPr>
                <p:spPr bwMode="gray">
                  <a:xfrm>
                    <a:off x="3554" y="2203"/>
                    <a:ext cx="236" cy="228"/>
                  </a:xfrm>
                  <a:custGeom>
                    <a:avLst/>
                    <a:gdLst>
                      <a:gd name="T0" fmla="*/ 9 w 236"/>
                      <a:gd name="T1" fmla="*/ 129 h 228"/>
                      <a:gd name="T2" fmla="*/ 76 w 236"/>
                      <a:gd name="T3" fmla="*/ 129 h 228"/>
                      <a:gd name="T4" fmla="*/ 84 w 236"/>
                      <a:gd name="T5" fmla="*/ 98 h 228"/>
                      <a:gd name="T6" fmla="*/ 107 w 236"/>
                      <a:gd name="T7" fmla="*/ 89 h 228"/>
                      <a:gd name="T8" fmla="*/ 120 w 236"/>
                      <a:gd name="T9" fmla="*/ 89 h 228"/>
                      <a:gd name="T10" fmla="*/ 120 w 236"/>
                      <a:gd name="T11" fmla="*/ 71 h 228"/>
                      <a:gd name="T12" fmla="*/ 129 w 236"/>
                      <a:gd name="T13" fmla="*/ 53 h 228"/>
                      <a:gd name="T14" fmla="*/ 151 w 236"/>
                      <a:gd name="T15" fmla="*/ 31 h 228"/>
                      <a:gd name="T16" fmla="*/ 151 w 236"/>
                      <a:gd name="T17" fmla="*/ 13 h 228"/>
                      <a:gd name="T18" fmla="*/ 192 w 236"/>
                      <a:gd name="T19" fmla="*/ 0 h 228"/>
                      <a:gd name="T20" fmla="*/ 214 w 236"/>
                      <a:gd name="T21" fmla="*/ 0 h 228"/>
                      <a:gd name="T22" fmla="*/ 236 w 236"/>
                      <a:gd name="T23" fmla="*/ 9 h 228"/>
                      <a:gd name="T24" fmla="*/ 218 w 236"/>
                      <a:gd name="T25" fmla="*/ 36 h 228"/>
                      <a:gd name="T26" fmla="*/ 183 w 236"/>
                      <a:gd name="T27" fmla="*/ 53 h 228"/>
                      <a:gd name="T28" fmla="*/ 210 w 236"/>
                      <a:gd name="T29" fmla="*/ 80 h 228"/>
                      <a:gd name="T30" fmla="*/ 192 w 236"/>
                      <a:gd name="T31" fmla="*/ 112 h 228"/>
                      <a:gd name="T32" fmla="*/ 165 w 236"/>
                      <a:gd name="T33" fmla="*/ 143 h 228"/>
                      <a:gd name="T34" fmla="*/ 143 w 236"/>
                      <a:gd name="T35" fmla="*/ 161 h 228"/>
                      <a:gd name="T36" fmla="*/ 125 w 236"/>
                      <a:gd name="T37" fmla="*/ 170 h 228"/>
                      <a:gd name="T38" fmla="*/ 134 w 236"/>
                      <a:gd name="T39" fmla="*/ 179 h 228"/>
                      <a:gd name="T40" fmla="*/ 143 w 236"/>
                      <a:gd name="T41" fmla="*/ 192 h 228"/>
                      <a:gd name="T42" fmla="*/ 138 w 236"/>
                      <a:gd name="T43" fmla="*/ 214 h 228"/>
                      <a:gd name="T44" fmla="*/ 107 w 236"/>
                      <a:gd name="T45" fmla="*/ 228 h 228"/>
                      <a:gd name="T46" fmla="*/ 89 w 236"/>
                      <a:gd name="T47" fmla="*/ 205 h 228"/>
                      <a:gd name="T48" fmla="*/ 84 w 236"/>
                      <a:gd name="T49" fmla="*/ 205 h 228"/>
                      <a:gd name="T50" fmla="*/ 80 w 236"/>
                      <a:gd name="T51" fmla="*/ 196 h 228"/>
                      <a:gd name="T52" fmla="*/ 53 w 236"/>
                      <a:gd name="T53" fmla="*/ 201 h 228"/>
                      <a:gd name="T54" fmla="*/ 40 w 236"/>
                      <a:gd name="T55" fmla="*/ 196 h 228"/>
                      <a:gd name="T56" fmla="*/ 26 w 236"/>
                      <a:gd name="T57" fmla="*/ 196 h 228"/>
                      <a:gd name="T58" fmla="*/ 13 w 236"/>
                      <a:gd name="T59" fmla="*/ 201 h 228"/>
                      <a:gd name="T60" fmla="*/ 13 w 236"/>
                      <a:gd name="T61" fmla="*/ 187 h 228"/>
                      <a:gd name="T62" fmla="*/ 35 w 236"/>
                      <a:gd name="T63" fmla="*/ 174 h 228"/>
                      <a:gd name="T64" fmla="*/ 26 w 236"/>
                      <a:gd name="T65" fmla="*/ 165 h 228"/>
                      <a:gd name="T66" fmla="*/ 13 w 236"/>
                      <a:gd name="T67" fmla="*/ 147 h 228"/>
                      <a:gd name="T68" fmla="*/ 0 w 236"/>
                      <a:gd name="T69" fmla="*/ 12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28">
                        <a:moveTo>
                          <a:pt x="0" y="125"/>
                        </a:moveTo>
                        <a:lnTo>
                          <a:pt x="9" y="129"/>
                        </a:lnTo>
                        <a:lnTo>
                          <a:pt x="22" y="134"/>
                        </a:lnTo>
                        <a:lnTo>
                          <a:pt x="76" y="129"/>
                        </a:lnTo>
                        <a:lnTo>
                          <a:pt x="80" y="107"/>
                        </a:lnTo>
                        <a:lnTo>
                          <a:pt x="84" y="98"/>
                        </a:lnTo>
                        <a:lnTo>
                          <a:pt x="98" y="98"/>
                        </a:lnTo>
                        <a:lnTo>
                          <a:pt x="107" y="89"/>
                        </a:lnTo>
                        <a:lnTo>
                          <a:pt x="116" y="94"/>
                        </a:lnTo>
                        <a:lnTo>
                          <a:pt x="120" y="89"/>
                        </a:lnTo>
                        <a:lnTo>
                          <a:pt x="120" y="76"/>
                        </a:lnTo>
                        <a:lnTo>
                          <a:pt x="120" y="71"/>
                        </a:lnTo>
                        <a:lnTo>
                          <a:pt x="134" y="62"/>
                        </a:lnTo>
                        <a:lnTo>
                          <a:pt x="129" y="53"/>
                        </a:lnTo>
                        <a:lnTo>
                          <a:pt x="143" y="49"/>
                        </a:lnTo>
                        <a:lnTo>
                          <a:pt x="151" y="31"/>
                        </a:lnTo>
                        <a:lnTo>
                          <a:pt x="147" y="22"/>
                        </a:lnTo>
                        <a:lnTo>
                          <a:pt x="151" y="13"/>
                        </a:lnTo>
                        <a:lnTo>
                          <a:pt x="169" y="4"/>
                        </a:lnTo>
                        <a:lnTo>
                          <a:pt x="192" y="0"/>
                        </a:lnTo>
                        <a:lnTo>
                          <a:pt x="196" y="0"/>
                        </a:lnTo>
                        <a:lnTo>
                          <a:pt x="214" y="0"/>
                        </a:lnTo>
                        <a:lnTo>
                          <a:pt x="223" y="13"/>
                        </a:lnTo>
                        <a:lnTo>
                          <a:pt x="236" y="9"/>
                        </a:lnTo>
                        <a:lnTo>
                          <a:pt x="232" y="40"/>
                        </a:lnTo>
                        <a:lnTo>
                          <a:pt x="218" y="36"/>
                        </a:lnTo>
                        <a:lnTo>
                          <a:pt x="187" y="36"/>
                        </a:lnTo>
                        <a:lnTo>
                          <a:pt x="183" y="53"/>
                        </a:lnTo>
                        <a:lnTo>
                          <a:pt x="187" y="67"/>
                        </a:lnTo>
                        <a:lnTo>
                          <a:pt x="210" y="80"/>
                        </a:lnTo>
                        <a:lnTo>
                          <a:pt x="201" y="94"/>
                        </a:lnTo>
                        <a:lnTo>
                          <a:pt x="192" y="112"/>
                        </a:lnTo>
                        <a:lnTo>
                          <a:pt x="183" y="134"/>
                        </a:lnTo>
                        <a:lnTo>
                          <a:pt x="165" y="143"/>
                        </a:lnTo>
                        <a:lnTo>
                          <a:pt x="160" y="152"/>
                        </a:lnTo>
                        <a:lnTo>
                          <a:pt x="143" y="161"/>
                        </a:lnTo>
                        <a:lnTo>
                          <a:pt x="134" y="156"/>
                        </a:lnTo>
                        <a:lnTo>
                          <a:pt x="125" y="170"/>
                        </a:lnTo>
                        <a:lnTo>
                          <a:pt x="120" y="179"/>
                        </a:lnTo>
                        <a:lnTo>
                          <a:pt x="134" y="179"/>
                        </a:lnTo>
                        <a:lnTo>
                          <a:pt x="129" y="187"/>
                        </a:lnTo>
                        <a:lnTo>
                          <a:pt x="143" y="192"/>
                        </a:lnTo>
                        <a:lnTo>
                          <a:pt x="151" y="214"/>
                        </a:lnTo>
                        <a:lnTo>
                          <a:pt x="138" y="214"/>
                        </a:lnTo>
                        <a:lnTo>
                          <a:pt x="111" y="219"/>
                        </a:lnTo>
                        <a:lnTo>
                          <a:pt x="107" y="228"/>
                        </a:lnTo>
                        <a:lnTo>
                          <a:pt x="89" y="219"/>
                        </a:lnTo>
                        <a:lnTo>
                          <a:pt x="89" y="205"/>
                        </a:lnTo>
                        <a:lnTo>
                          <a:pt x="89" y="205"/>
                        </a:lnTo>
                        <a:lnTo>
                          <a:pt x="84" y="205"/>
                        </a:lnTo>
                        <a:lnTo>
                          <a:pt x="84" y="201"/>
                        </a:lnTo>
                        <a:lnTo>
                          <a:pt x="80" y="196"/>
                        </a:lnTo>
                        <a:lnTo>
                          <a:pt x="67" y="192"/>
                        </a:lnTo>
                        <a:lnTo>
                          <a:pt x="53" y="201"/>
                        </a:lnTo>
                        <a:lnTo>
                          <a:pt x="49" y="196"/>
                        </a:lnTo>
                        <a:lnTo>
                          <a:pt x="40" y="196"/>
                        </a:lnTo>
                        <a:lnTo>
                          <a:pt x="40" y="201"/>
                        </a:lnTo>
                        <a:lnTo>
                          <a:pt x="26" y="196"/>
                        </a:lnTo>
                        <a:lnTo>
                          <a:pt x="22" y="201"/>
                        </a:lnTo>
                        <a:lnTo>
                          <a:pt x="13" y="201"/>
                        </a:lnTo>
                        <a:lnTo>
                          <a:pt x="13" y="196"/>
                        </a:lnTo>
                        <a:lnTo>
                          <a:pt x="13" y="187"/>
                        </a:lnTo>
                        <a:lnTo>
                          <a:pt x="22" y="179"/>
                        </a:lnTo>
                        <a:lnTo>
                          <a:pt x="35" y="174"/>
                        </a:lnTo>
                        <a:lnTo>
                          <a:pt x="35" y="165"/>
                        </a:lnTo>
                        <a:lnTo>
                          <a:pt x="26" y="165"/>
                        </a:lnTo>
                        <a:lnTo>
                          <a:pt x="26" y="152"/>
                        </a:lnTo>
                        <a:lnTo>
                          <a:pt x="13" y="147"/>
                        </a:lnTo>
                        <a:lnTo>
                          <a:pt x="0" y="129"/>
                        </a:lnTo>
                        <a:lnTo>
                          <a:pt x="0" y="12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49" name="Freeform 146"/>
                  <p:cNvSpPr>
                    <a:spLocks noEditPoints="1"/>
                  </p:cNvSpPr>
                  <p:nvPr/>
                </p:nvSpPr>
                <p:spPr bwMode="gray">
                  <a:xfrm>
                    <a:off x="4358" y="2502"/>
                    <a:ext cx="134" cy="206"/>
                  </a:xfrm>
                  <a:custGeom>
                    <a:avLst/>
                    <a:gdLst>
                      <a:gd name="T0" fmla="*/ 31 w 134"/>
                      <a:gd name="T1" fmla="*/ 125 h 206"/>
                      <a:gd name="T2" fmla="*/ 9 w 134"/>
                      <a:gd name="T3" fmla="*/ 152 h 206"/>
                      <a:gd name="T4" fmla="*/ 17 w 134"/>
                      <a:gd name="T5" fmla="*/ 148 h 206"/>
                      <a:gd name="T6" fmla="*/ 40 w 134"/>
                      <a:gd name="T7" fmla="*/ 116 h 206"/>
                      <a:gd name="T8" fmla="*/ 44 w 134"/>
                      <a:gd name="T9" fmla="*/ 206 h 206"/>
                      <a:gd name="T10" fmla="*/ 40 w 134"/>
                      <a:gd name="T11" fmla="*/ 201 h 206"/>
                      <a:gd name="T12" fmla="*/ 58 w 134"/>
                      <a:gd name="T13" fmla="*/ 107 h 206"/>
                      <a:gd name="T14" fmla="*/ 58 w 134"/>
                      <a:gd name="T15" fmla="*/ 85 h 206"/>
                      <a:gd name="T16" fmla="*/ 40 w 134"/>
                      <a:gd name="T17" fmla="*/ 40 h 206"/>
                      <a:gd name="T18" fmla="*/ 49 w 134"/>
                      <a:gd name="T19" fmla="*/ 63 h 206"/>
                      <a:gd name="T20" fmla="*/ 58 w 134"/>
                      <a:gd name="T21" fmla="*/ 81 h 206"/>
                      <a:gd name="T22" fmla="*/ 76 w 134"/>
                      <a:gd name="T23" fmla="*/ 76 h 206"/>
                      <a:gd name="T24" fmla="*/ 102 w 134"/>
                      <a:gd name="T25" fmla="*/ 90 h 206"/>
                      <a:gd name="T26" fmla="*/ 102 w 134"/>
                      <a:gd name="T27" fmla="*/ 81 h 206"/>
                      <a:gd name="T28" fmla="*/ 102 w 134"/>
                      <a:gd name="T29" fmla="*/ 76 h 206"/>
                      <a:gd name="T30" fmla="*/ 89 w 134"/>
                      <a:gd name="T31" fmla="*/ 76 h 206"/>
                      <a:gd name="T32" fmla="*/ 67 w 134"/>
                      <a:gd name="T33" fmla="*/ 67 h 206"/>
                      <a:gd name="T34" fmla="*/ 71 w 134"/>
                      <a:gd name="T35" fmla="*/ 76 h 206"/>
                      <a:gd name="T36" fmla="*/ 62 w 134"/>
                      <a:gd name="T37" fmla="*/ 54 h 206"/>
                      <a:gd name="T38" fmla="*/ 67 w 134"/>
                      <a:gd name="T39" fmla="*/ 36 h 206"/>
                      <a:gd name="T40" fmla="*/ 76 w 134"/>
                      <a:gd name="T41" fmla="*/ 9 h 206"/>
                      <a:gd name="T42" fmla="*/ 58 w 134"/>
                      <a:gd name="T43" fmla="*/ 5 h 206"/>
                      <a:gd name="T44" fmla="*/ 49 w 134"/>
                      <a:gd name="T45" fmla="*/ 49 h 206"/>
                      <a:gd name="T46" fmla="*/ 67 w 134"/>
                      <a:gd name="T47" fmla="*/ 134 h 206"/>
                      <a:gd name="T48" fmla="*/ 84 w 134"/>
                      <a:gd name="T49" fmla="*/ 112 h 206"/>
                      <a:gd name="T50" fmla="*/ 71 w 134"/>
                      <a:gd name="T51" fmla="*/ 107 h 206"/>
                      <a:gd name="T52" fmla="*/ 89 w 134"/>
                      <a:gd name="T53" fmla="*/ 112 h 206"/>
                      <a:gd name="T54" fmla="*/ 98 w 134"/>
                      <a:gd name="T55" fmla="*/ 107 h 206"/>
                      <a:gd name="T56" fmla="*/ 84 w 134"/>
                      <a:gd name="T57" fmla="*/ 103 h 206"/>
                      <a:gd name="T58" fmla="*/ 89 w 134"/>
                      <a:gd name="T59" fmla="*/ 157 h 206"/>
                      <a:gd name="T60" fmla="*/ 71 w 134"/>
                      <a:gd name="T61" fmla="*/ 161 h 206"/>
                      <a:gd name="T62" fmla="*/ 67 w 134"/>
                      <a:gd name="T63" fmla="*/ 188 h 206"/>
                      <a:gd name="T64" fmla="*/ 76 w 134"/>
                      <a:gd name="T65" fmla="*/ 170 h 206"/>
                      <a:gd name="T66" fmla="*/ 89 w 134"/>
                      <a:gd name="T67" fmla="*/ 174 h 206"/>
                      <a:gd name="T68" fmla="*/ 102 w 134"/>
                      <a:gd name="T69" fmla="*/ 174 h 206"/>
                      <a:gd name="T70" fmla="*/ 116 w 134"/>
                      <a:gd name="T71" fmla="*/ 192 h 206"/>
                      <a:gd name="T72" fmla="*/ 125 w 134"/>
                      <a:gd name="T73" fmla="*/ 183 h 206"/>
                      <a:gd name="T74" fmla="*/ 120 w 134"/>
                      <a:gd name="T75" fmla="*/ 170 h 206"/>
                      <a:gd name="T76" fmla="*/ 134 w 134"/>
                      <a:gd name="T77" fmla="*/ 170 h 206"/>
                      <a:gd name="T78" fmla="*/ 129 w 134"/>
                      <a:gd name="T79" fmla="*/ 139 h 206"/>
                      <a:gd name="T80" fmla="*/ 125 w 134"/>
                      <a:gd name="T81" fmla="*/ 134 h 206"/>
                      <a:gd name="T82" fmla="*/ 116 w 134"/>
                      <a:gd name="T83" fmla="*/ 152 h 206"/>
                      <a:gd name="T84" fmla="*/ 102 w 134"/>
                      <a:gd name="T85" fmla="*/ 152 h 206"/>
                      <a:gd name="T86" fmla="*/ 84 w 134"/>
                      <a:gd name="T87" fmla="*/ 121 h 206"/>
                      <a:gd name="T88" fmla="*/ 71 w 134"/>
                      <a:gd name="T89" fmla="*/ 139 h 206"/>
                      <a:gd name="T90" fmla="*/ 84 w 134"/>
                      <a:gd name="T91" fmla="*/ 152 h 206"/>
                      <a:gd name="T92" fmla="*/ 93 w 134"/>
                      <a:gd name="T93" fmla="*/ 125 h 206"/>
                      <a:gd name="T94" fmla="*/ 89 w 134"/>
                      <a:gd name="T95" fmla="*/ 139 h 206"/>
                      <a:gd name="T96" fmla="*/ 98 w 134"/>
                      <a:gd name="T97" fmla="*/ 116 h 206"/>
                      <a:gd name="T98" fmla="*/ 102 w 134"/>
                      <a:gd name="T99" fmla="*/ 125 h 206"/>
                      <a:gd name="T100" fmla="*/ 120 w 134"/>
                      <a:gd name="T101" fmla="*/ 139 h 206"/>
                      <a:gd name="T102" fmla="*/ 116 w 134"/>
                      <a:gd name="T103" fmla="*/ 121 h 206"/>
                      <a:gd name="T104" fmla="*/ 102 w 134"/>
                      <a:gd name="T105" fmla="*/ 112 h 206"/>
                      <a:gd name="T106" fmla="*/ 111 w 134"/>
                      <a:gd name="T107" fmla="*/ 112 h 206"/>
                      <a:gd name="T108" fmla="*/ 125 w 134"/>
                      <a:gd name="T109" fmla="*/ 121 h 206"/>
                      <a:gd name="T110" fmla="*/ 102 w 134"/>
                      <a:gd name="T111" fmla="*/ 103 h 206"/>
                      <a:gd name="T112" fmla="*/ 93 w 134"/>
                      <a:gd name="T113" fmla="*/ 14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4" h="206">
                        <a:moveTo>
                          <a:pt x="40" y="116"/>
                        </a:moveTo>
                        <a:lnTo>
                          <a:pt x="35" y="125"/>
                        </a:lnTo>
                        <a:lnTo>
                          <a:pt x="31" y="125"/>
                        </a:lnTo>
                        <a:lnTo>
                          <a:pt x="26" y="134"/>
                        </a:lnTo>
                        <a:lnTo>
                          <a:pt x="22" y="134"/>
                        </a:lnTo>
                        <a:lnTo>
                          <a:pt x="9" y="152"/>
                        </a:lnTo>
                        <a:lnTo>
                          <a:pt x="0" y="161"/>
                        </a:lnTo>
                        <a:lnTo>
                          <a:pt x="9" y="157"/>
                        </a:lnTo>
                        <a:lnTo>
                          <a:pt x="17" y="148"/>
                        </a:lnTo>
                        <a:lnTo>
                          <a:pt x="26" y="152"/>
                        </a:lnTo>
                        <a:lnTo>
                          <a:pt x="40" y="130"/>
                        </a:lnTo>
                        <a:lnTo>
                          <a:pt x="40" y="116"/>
                        </a:lnTo>
                        <a:close/>
                        <a:moveTo>
                          <a:pt x="40" y="201"/>
                        </a:moveTo>
                        <a:lnTo>
                          <a:pt x="40" y="206"/>
                        </a:lnTo>
                        <a:lnTo>
                          <a:pt x="44" y="206"/>
                        </a:lnTo>
                        <a:lnTo>
                          <a:pt x="49" y="201"/>
                        </a:lnTo>
                        <a:lnTo>
                          <a:pt x="49" y="201"/>
                        </a:lnTo>
                        <a:lnTo>
                          <a:pt x="40" y="201"/>
                        </a:lnTo>
                        <a:close/>
                        <a:moveTo>
                          <a:pt x="44" y="85"/>
                        </a:moveTo>
                        <a:lnTo>
                          <a:pt x="53" y="90"/>
                        </a:lnTo>
                        <a:lnTo>
                          <a:pt x="58" y="107"/>
                        </a:lnTo>
                        <a:lnTo>
                          <a:pt x="62" y="103"/>
                        </a:lnTo>
                        <a:lnTo>
                          <a:pt x="62" y="90"/>
                        </a:lnTo>
                        <a:lnTo>
                          <a:pt x="58" y="85"/>
                        </a:lnTo>
                        <a:lnTo>
                          <a:pt x="44" y="85"/>
                        </a:lnTo>
                        <a:close/>
                        <a:moveTo>
                          <a:pt x="49" y="49"/>
                        </a:moveTo>
                        <a:lnTo>
                          <a:pt x="40" y="40"/>
                        </a:lnTo>
                        <a:lnTo>
                          <a:pt x="35" y="49"/>
                        </a:lnTo>
                        <a:lnTo>
                          <a:pt x="40" y="67"/>
                        </a:lnTo>
                        <a:lnTo>
                          <a:pt x="49" y="63"/>
                        </a:lnTo>
                        <a:lnTo>
                          <a:pt x="53" y="72"/>
                        </a:lnTo>
                        <a:lnTo>
                          <a:pt x="49" y="76"/>
                        </a:lnTo>
                        <a:lnTo>
                          <a:pt x="58" y="81"/>
                        </a:lnTo>
                        <a:lnTo>
                          <a:pt x="67" y="76"/>
                        </a:lnTo>
                        <a:lnTo>
                          <a:pt x="80" y="90"/>
                        </a:lnTo>
                        <a:lnTo>
                          <a:pt x="76" y="76"/>
                        </a:lnTo>
                        <a:lnTo>
                          <a:pt x="89" y="90"/>
                        </a:lnTo>
                        <a:lnTo>
                          <a:pt x="102" y="103"/>
                        </a:lnTo>
                        <a:lnTo>
                          <a:pt x="102" y="90"/>
                        </a:lnTo>
                        <a:lnTo>
                          <a:pt x="98" y="90"/>
                        </a:lnTo>
                        <a:lnTo>
                          <a:pt x="93" y="81"/>
                        </a:lnTo>
                        <a:lnTo>
                          <a:pt x="102" y="81"/>
                        </a:lnTo>
                        <a:lnTo>
                          <a:pt x="102" y="85"/>
                        </a:lnTo>
                        <a:lnTo>
                          <a:pt x="102" y="76"/>
                        </a:lnTo>
                        <a:lnTo>
                          <a:pt x="102" y="76"/>
                        </a:lnTo>
                        <a:lnTo>
                          <a:pt x="102" y="81"/>
                        </a:lnTo>
                        <a:lnTo>
                          <a:pt x="93" y="81"/>
                        </a:lnTo>
                        <a:lnTo>
                          <a:pt x="89" y="76"/>
                        </a:lnTo>
                        <a:lnTo>
                          <a:pt x="76" y="72"/>
                        </a:lnTo>
                        <a:lnTo>
                          <a:pt x="71" y="72"/>
                        </a:lnTo>
                        <a:lnTo>
                          <a:pt x="67" y="67"/>
                        </a:lnTo>
                        <a:lnTo>
                          <a:pt x="71" y="58"/>
                        </a:lnTo>
                        <a:lnTo>
                          <a:pt x="67" y="63"/>
                        </a:lnTo>
                        <a:lnTo>
                          <a:pt x="71" y="76"/>
                        </a:lnTo>
                        <a:lnTo>
                          <a:pt x="62" y="72"/>
                        </a:lnTo>
                        <a:lnTo>
                          <a:pt x="58" y="58"/>
                        </a:lnTo>
                        <a:lnTo>
                          <a:pt x="62" y="54"/>
                        </a:lnTo>
                        <a:lnTo>
                          <a:pt x="62" y="49"/>
                        </a:lnTo>
                        <a:lnTo>
                          <a:pt x="67" y="45"/>
                        </a:lnTo>
                        <a:lnTo>
                          <a:pt x="67" y="36"/>
                        </a:lnTo>
                        <a:lnTo>
                          <a:pt x="76" y="23"/>
                        </a:lnTo>
                        <a:lnTo>
                          <a:pt x="71" y="14"/>
                        </a:lnTo>
                        <a:lnTo>
                          <a:pt x="76" y="9"/>
                        </a:lnTo>
                        <a:lnTo>
                          <a:pt x="71" y="0"/>
                        </a:lnTo>
                        <a:lnTo>
                          <a:pt x="67" y="9"/>
                        </a:lnTo>
                        <a:lnTo>
                          <a:pt x="58" y="5"/>
                        </a:lnTo>
                        <a:lnTo>
                          <a:pt x="49" y="0"/>
                        </a:lnTo>
                        <a:lnTo>
                          <a:pt x="44" y="36"/>
                        </a:lnTo>
                        <a:lnTo>
                          <a:pt x="49" y="49"/>
                        </a:lnTo>
                        <a:close/>
                        <a:moveTo>
                          <a:pt x="67" y="112"/>
                        </a:moveTo>
                        <a:lnTo>
                          <a:pt x="71" y="112"/>
                        </a:lnTo>
                        <a:lnTo>
                          <a:pt x="67" y="134"/>
                        </a:lnTo>
                        <a:lnTo>
                          <a:pt x="76" y="125"/>
                        </a:lnTo>
                        <a:lnTo>
                          <a:pt x="84" y="121"/>
                        </a:lnTo>
                        <a:lnTo>
                          <a:pt x="84" y="112"/>
                        </a:lnTo>
                        <a:lnTo>
                          <a:pt x="80" y="116"/>
                        </a:lnTo>
                        <a:lnTo>
                          <a:pt x="76" y="112"/>
                        </a:lnTo>
                        <a:lnTo>
                          <a:pt x="71" y="107"/>
                        </a:lnTo>
                        <a:lnTo>
                          <a:pt x="67" y="112"/>
                        </a:lnTo>
                        <a:close/>
                        <a:moveTo>
                          <a:pt x="84" y="103"/>
                        </a:moveTo>
                        <a:lnTo>
                          <a:pt x="89" y="112"/>
                        </a:lnTo>
                        <a:lnTo>
                          <a:pt x="93" y="107"/>
                        </a:lnTo>
                        <a:lnTo>
                          <a:pt x="98" y="112"/>
                        </a:lnTo>
                        <a:lnTo>
                          <a:pt x="98" y="107"/>
                        </a:lnTo>
                        <a:lnTo>
                          <a:pt x="93" y="99"/>
                        </a:lnTo>
                        <a:lnTo>
                          <a:pt x="93" y="103"/>
                        </a:lnTo>
                        <a:lnTo>
                          <a:pt x="84" y="103"/>
                        </a:lnTo>
                        <a:close/>
                        <a:moveTo>
                          <a:pt x="93" y="166"/>
                        </a:moveTo>
                        <a:lnTo>
                          <a:pt x="93" y="157"/>
                        </a:lnTo>
                        <a:lnTo>
                          <a:pt x="89" y="157"/>
                        </a:lnTo>
                        <a:lnTo>
                          <a:pt x="80" y="157"/>
                        </a:lnTo>
                        <a:lnTo>
                          <a:pt x="80" y="161"/>
                        </a:lnTo>
                        <a:lnTo>
                          <a:pt x="71" y="161"/>
                        </a:lnTo>
                        <a:lnTo>
                          <a:pt x="67" y="174"/>
                        </a:lnTo>
                        <a:lnTo>
                          <a:pt x="62" y="183"/>
                        </a:lnTo>
                        <a:lnTo>
                          <a:pt x="67" y="188"/>
                        </a:lnTo>
                        <a:lnTo>
                          <a:pt x="71" y="183"/>
                        </a:lnTo>
                        <a:lnTo>
                          <a:pt x="67" y="179"/>
                        </a:lnTo>
                        <a:lnTo>
                          <a:pt x="76" y="170"/>
                        </a:lnTo>
                        <a:lnTo>
                          <a:pt x="76" y="174"/>
                        </a:lnTo>
                        <a:lnTo>
                          <a:pt x="80" y="170"/>
                        </a:lnTo>
                        <a:lnTo>
                          <a:pt x="89" y="174"/>
                        </a:lnTo>
                        <a:lnTo>
                          <a:pt x="89" y="166"/>
                        </a:lnTo>
                        <a:lnTo>
                          <a:pt x="98" y="166"/>
                        </a:lnTo>
                        <a:lnTo>
                          <a:pt x="102" y="174"/>
                        </a:lnTo>
                        <a:lnTo>
                          <a:pt x="98" y="183"/>
                        </a:lnTo>
                        <a:lnTo>
                          <a:pt x="111" y="197"/>
                        </a:lnTo>
                        <a:lnTo>
                          <a:pt x="116" y="192"/>
                        </a:lnTo>
                        <a:lnTo>
                          <a:pt x="120" y="201"/>
                        </a:lnTo>
                        <a:lnTo>
                          <a:pt x="125" y="197"/>
                        </a:lnTo>
                        <a:lnTo>
                          <a:pt x="125" y="183"/>
                        </a:lnTo>
                        <a:lnTo>
                          <a:pt x="116" y="179"/>
                        </a:lnTo>
                        <a:lnTo>
                          <a:pt x="125" y="179"/>
                        </a:lnTo>
                        <a:lnTo>
                          <a:pt x="120" y="170"/>
                        </a:lnTo>
                        <a:lnTo>
                          <a:pt x="125" y="170"/>
                        </a:lnTo>
                        <a:lnTo>
                          <a:pt x="129" y="192"/>
                        </a:lnTo>
                        <a:lnTo>
                          <a:pt x="134" y="170"/>
                        </a:lnTo>
                        <a:lnTo>
                          <a:pt x="134" y="152"/>
                        </a:lnTo>
                        <a:lnTo>
                          <a:pt x="129" y="148"/>
                        </a:lnTo>
                        <a:lnTo>
                          <a:pt x="129" y="139"/>
                        </a:lnTo>
                        <a:lnTo>
                          <a:pt x="129" y="139"/>
                        </a:lnTo>
                        <a:lnTo>
                          <a:pt x="125" y="143"/>
                        </a:lnTo>
                        <a:lnTo>
                          <a:pt x="125" y="134"/>
                        </a:lnTo>
                        <a:lnTo>
                          <a:pt x="125" y="134"/>
                        </a:lnTo>
                        <a:lnTo>
                          <a:pt x="120" y="152"/>
                        </a:lnTo>
                        <a:lnTo>
                          <a:pt x="116" y="152"/>
                        </a:lnTo>
                        <a:lnTo>
                          <a:pt x="111" y="148"/>
                        </a:lnTo>
                        <a:lnTo>
                          <a:pt x="111" y="157"/>
                        </a:lnTo>
                        <a:lnTo>
                          <a:pt x="102" y="152"/>
                        </a:lnTo>
                        <a:lnTo>
                          <a:pt x="93" y="166"/>
                        </a:lnTo>
                        <a:close/>
                        <a:moveTo>
                          <a:pt x="93" y="125"/>
                        </a:moveTo>
                        <a:lnTo>
                          <a:pt x="84" y="121"/>
                        </a:lnTo>
                        <a:lnTo>
                          <a:pt x="80" y="125"/>
                        </a:lnTo>
                        <a:lnTo>
                          <a:pt x="80" y="130"/>
                        </a:lnTo>
                        <a:lnTo>
                          <a:pt x="71" y="139"/>
                        </a:lnTo>
                        <a:lnTo>
                          <a:pt x="76" y="148"/>
                        </a:lnTo>
                        <a:lnTo>
                          <a:pt x="80" y="148"/>
                        </a:lnTo>
                        <a:lnTo>
                          <a:pt x="84" y="152"/>
                        </a:lnTo>
                        <a:lnTo>
                          <a:pt x="89" y="148"/>
                        </a:lnTo>
                        <a:lnTo>
                          <a:pt x="84" y="139"/>
                        </a:lnTo>
                        <a:lnTo>
                          <a:pt x="93" y="125"/>
                        </a:lnTo>
                        <a:close/>
                        <a:moveTo>
                          <a:pt x="98" y="116"/>
                        </a:moveTo>
                        <a:lnTo>
                          <a:pt x="93" y="130"/>
                        </a:lnTo>
                        <a:lnTo>
                          <a:pt x="89" y="139"/>
                        </a:lnTo>
                        <a:lnTo>
                          <a:pt x="89" y="148"/>
                        </a:lnTo>
                        <a:lnTo>
                          <a:pt x="98" y="125"/>
                        </a:lnTo>
                        <a:lnTo>
                          <a:pt x="98" y="116"/>
                        </a:lnTo>
                        <a:close/>
                        <a:moveTo>
                          <a:pt x="102" y="112"/>
                        </a:moveTo>
                        <a:lnTo>
                          <a:pt x="102" y="116"/>
                        </a:lnTo>
                        <a:lnTo>
                          <a:pt x="102" y="125"/>
                        </a:lnTo>
                        <a:lnTo>
                          <a:pt x="107" y="125"/>
                        </a:lnTo>
                        <a:lnTo>
                          <a:pt x="111" y="139"/>
                        </a:lnTo>
                        <a:lnTo>
                          <a:pt x="120" y="139"/>
                        </a:lnTo>
                        <a:lnTo>
                          <a:pt x="116" y="130"/>
                        </a:lnTo>
                        <a:lnTo>
                          <a:pt x="111" y="121"/>
                        </a:lnTo>
                        <a:lnTo>
                          <a:pt x="116" y="121"/>
                        </a:lnTo>
                        <a:lnTo>
                          <a:pt x="111" y="116"/>
                        </a:lnTo>
                        <a:lnTo>
                          <a:pt x="107" y="116"/>
                        </a:lnTo>
                        <a:lnTo>
                          <a:pt x="102" y="112"/>
                        </a:lnTo>
                        <a:close/>
                        <a:moveTo>
                          <a:pt x="102" y="103"/>
                        </a:moveTo>
                        <a:lnTo>
                          <a:pt x="107" y="107"/>
                        </a:lnTo>
                        <a:lnTo>
                          <a:pt x="111" y="112"/>
                        </a:lnTo>
                        <a:lnTo>
                          <a:pt x="120" y="125"/>
                        </a:lnTo>
                        <a:lnTo>
                          <a:pt x="129" y="125"/>
                        </a:lnTo>
                        <a:lnTo>
                          <a:pt x="125" y="121"/>
                        </a:lnTo>
                        <a:lnTo>
                          <a:pt x="120" y="107"/>
                        </a:lnTo>
                        <a:lnTo>
                          <a:pt x="116" y="99"/>
                        </a:lnTo>
                        <a:lnTo>
                          <a:pt x="102" y="103"/>
                        </a:lnTo>
                        <a:close/>
                        <a:moveTo>
                          <a:pt x="102" y="134"/>
                        </a:moveTo>
                        <a:lnTo>
                          <a:pt x="98" y="139"/>
                        </a:lnTo>
                        <a:lnTo>
                          <a:pt x="93" y="143"/>
                        </a:lnTo>
                        <a:lnTo>
                          <a:pt x="107" y="143"/>
                        </a:lnTo>
                        <a:lnTo>
                          <a:pt x="102" y="13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50" name="Freeform 147"/>
                  <p:cNvSpPr>
                    <a:spLocks/>
                  </p:cNvSpPr>
                  <p:nvPr/>
                </p:nvSpPr>
                <p:spPr bwMode="gray">
                  <a:xfrm>
                    <a:off x="4469" y="2904"/>
                    <a:ext cx="36" cy="23"/>
                  </a:xfrm>
                  <a:custGeom>
                    <a:avLst/>
                    <a:gdLst>
                      <a:gd name="T0" fmla="*/ 0 w 36"/>
                      <a:gd name="T1" fmla="*/ 23 h 23"/>
                      <a:gd name="T2" fmla="*/ 36 w 36"/>
                      <a:gd name="T3" fmla="*/ 0 h 23"/>
                      <a:gd name="T4" fmla="*/ 32 w 36"/>
                      <a:gd name="T5" fmla="*/ 0 h 23"/>
                      <a:gd name="T6" fmla="*/ 5 w 36"/>
                      <a:gd name="T7" fmla="*/ 5 h 23"/>
                      <a:gd name="T8" fmla="*/ 0 w 36"/>
                      <a:gd name="T9" fmla="*/ 14 h 23"/>
                      <a:gd name="T10" fmla="*/ 0 w 36"/>
                      <a:gd name="T11" fmla="*/ 23 h 23"/>
                    </a:gdLst>
                    <a:ahLst/>
                    <a:cxnLst>
                      <a:cxn ang="0">
                        <a:pos x="T0" y="T1"/>
                      </a:cxn>
                      <a:cxn ang="0">
                        <a:pos x="T2" y="T3"/>
                      </a:cxn>
                      <a:cxn ang="0">
                        <a:pos x="T4" y="T5"/>
                      </a:cxn>
                      <a:cxn ang="0">
                        <a:pos x="T6" y="T7"/>
                      </a:cxn>
                      <a:cxn ang="0">
                        <a:pos x="T8" y="T9"/>
                      </a:cxn>
                      <a:cxn ang="0">
                        <a:pos x="T10" y="T11"/>
                      </a:cxn>
                    </a:cxnLst>
                    <a:rect l="0" t="0" r="r" b="b"/>
                    <a:pathLst>
                      <a:path w="36" h="23">
                        <a:moveTo>
                          <a:pt x="0" y="23"/>
                        </a:moveTo>
                        <a:lnTo>
                          <a:pt x="36" y="0"/>
                        </a:lnTo>
                        <a:lnTo>
                          <a:pt x="32" y="0"/>
                        </a:lnTo>
                        <a:lnTo>
                          <a:pt x="5" y="5"/>
                        </a:lnTo>
                        <a:lnTo>
                          <a:pt x="0" y="14"/>
                        </a:lnTo>
                        <a:lnTo>
                          <a:pt x="0" y="2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51" name="Freeform 148"/>
                  <p:cNvSpPr>
                    <a:spLocks/>
                  </p:cNvSpPr>
                  <p:nvPr/>
                </p:nvSpPr>
                <p:spPr bwMode="gray">
                  <a:xfrm>
                    <a:off x="3411" y="2382"/>
                    <a:ext cx="13" cy="26"/>
                  </a:xfrm>
                  <a:custGeom>
                    <a:avLst/>
                    <a:gdLst>
                      <a:gd name="T0" fmla="*/ 0 w 13"/>
                      <a:gd name="T1" fmla="*/ 22 h 26"/>
                      <a:gd name="T2" fmla="*/ 9 w 13"/>
                      <a:gd name="T3" fmla="*/ 26 h 26"/>
                      <a:gd name="T4" fmla="*/ 13 w 13"/>
                      <a:gd name="T5" fmla="*/ 26 h 26"/>
                      <a:gd name="T6" fmla="*/ 13 w 13"/>
                      <a:gd name="T7" fmla="*/ 8 h 26"/>
                      <a:gd name="T8" fmla="*/ 9 w 13"/>
                      <a:gd name="T9" fmla="*/ 0 h 26"/>
                      <a:gd name="T10" fmla="*/ 4 w 13"/>
                      <a:gd name="T11" fmla="*/ 0 h 26"/>
                      <a:gd name="T12" fmla="*/ 4 w 13"/>
                      <a:gd name="T13" fmla="*/ 8 h 26"/>
                      <a:gd name="T14" fmla="*/ 0 w 13"/>
                      <a:gd name="T15" fmla="*/ 8 h 26"/>
                      <a:gd name="T16" fmla="*/ 0 w 13"/>
                      <a:gd name="T1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6">
                        <a:moveTo>
                          <a:pt x="0" y="22"/>
                        </a:moveTo>
                        <a:lnTo>
                          <a:pt x="9" y="26"/>
                        </a:lnTo>
                        <a:lnTo>
                          <a:pt x="13" y="26"/>
                        </a:lnTo>
                        <a:lnTo>
                          <a:pt x="13" y="8"/>
                        </a:lnTo>
                        <a:lnTo>
                          <a:pt x="9" y="0"/>
                        </a:lnTo>
                        <a:lnTo>
                          <a:pt x="4" y="0"/>
                        </a:lnTo>
                        <a:lnTo>
                          <a:pt x="4" y="8"/>
                        </a:lnTo>
                        <a:lnTo>
                          <a:pt x="0" y="8"/>
                        </a:lnTo>
                        <a:lnTo>
                          <a:pt x="0" y="2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52" name="Freeform 149"/>
                  <p:cNvSpPr>
                    <a:spLocks noEditPoints="1"/>
                  </p:cNvSpPr>
                  <p:nvPr/>
                </p:nvSpPr>
                <p:spPr bwMode="gray">
                  <a:xfrm>
                    <a:off x="2959" y="911"/>
                    <a:ext cx="2448" cy="1211"/>
                  </a:xfrm>
                  <a:custGeom>
                    <a:avLst/>
                    <a:gdLst>
                      <a:gd name="T0" fmla="*/ 23 w 2448"/>
                      <a:gd name="T1" fmla="*/ 907 h 1211"/>
                      <a:gd name="T2" fmla="*/ 152 w 2448"/>
                      <a:gd name="T3" fmla="*/ 764 h 1211"/>
                      <a:gd name="T4" fmla="*/ 157 w 2448"/>
                      <a:gd name="T5" fmla="*/ 630 h 1211"/>
                      <a:gd name="T6" fmla="*/ 170 w 2448"/>
                      <a:gd name="T7" fmla="*/ 429 h 1211"/>
                      <a:gd name="T8" fmla="*/ 300 w 2448"/>
                      <a:gd name="T9" fmla="*/ 505 h 1211"/>
                      <a:gd name="T10" fmla="*/ 224 w 2448"/>
                      <a:gd name="T11" fmla="*/ 613 h 1211"/>
                      <a:gd name="T12" fmla="*/ 318 w 2448"/>
                      <a:gd name="T13" fmla="*/ 577 h 1211"/>
                      <a:gd name="T14" fmla="*/ 385 w 2448"/>
                      <a:gd name="T15" fmla="*/ 541 h 1211"/>
                      <a:gd name="T16" fmla="*/ 577 w 2448"/>
                      <a:gd name="T17" fmla="*/ 474 h 1211"/>
                      <a:gd name="T18" fmla="*/ 697 w 2448"/>
                      <a:gd name="T19" fmla="*/ 358 h 1211"/>
                      <a:gd name="T20" fmla="*/ 755 w 2448"/>
                      <a:gd name="T21" fmla="*/ 568 h 1211"/>
                      <a:gd name="T22" fmla="*/ 796 w 2448"/>
                      <a:gd name="T23" fmla="*/ 318 h 1211"/>
                      <a:gd name="T24" fmla="*/ 867 w 2448"/>
                      <a:gd name="T25" fmla="*/ 318 h 1211"/>
                      <a:gd name="T26" fmla="*/ 965 w 2448"/>
                      <a:gd name="T27" fmla="*/ 170 h 1211"/>
                      <a:gd name="T28" fmla="*/ 1229 w 2448"/>
                      <a:gd name="T29" fmla="*/ 41 h 1211"/>
                      <a:gd name="T30" fmla="*/ 1314 w 2448"/>
                      <a:gd name="T31" fmla="*/ 242 h 1211"/>
                      <a:gd name="T32" fmla="*/ 1573 w 2448"/>
                      <a:gd name="T33" fmla="*/ 349 h 1211"/>
                      <a:gd name="T34" fmla="*/ 1823 w 2448"/>
                      <a:gd name="T35" fmla="*/ 309 h 1211"/>
                      <a:gd name="T36" fmla="*/ 2073 w 2448"/>
                      <a:gd name="T37" fmla="*/ 438 h 1211"/>
                      <a:gd name="T38" fmla="*/ 2377 w 2448"/>
                      <a:gd name="T39" fmla="*/ 537 h 1211"/>
                      <a:gd name="T40" fmla="*/ 2310 w 2448"/>
                      <a:gd name="T41" fmla="*/ 595 h 1211"/>
                      <a:gd name="T42" fmla="*/ 2095 w 2448"/>
                      <a:gd name="T43" fmla="*/ 782 h 1211"/>
                      <a:gd name="T44" fmla="*/ 2011 w 2448"/>
                      <a:gd name="T45" fmla="*/ 957 h 1211"/>
                      <a:gd name="T46" fmla="*/ 2055 w 2448"/>
                      <a:gd name="T47" fmla="*/ 724 h 1211"/>
                      <a:gd name="T48" fmla="*/ 1854 w 2448"/>
                      <a:gd name="T49" fmla="*/ 782 h 1211"/>
                      <a:gd name="T50" fmla="*/ 1716 w 2448"/>
                      <a:gd name="T51" fmla="*/ 1091 h 1211"/>
                      <a:gd name="T52" fmla="*/ 1649 w 2448"/>
                      <a:gd name="T53" fmla="*/ 1068 h 1211"/>
                      <a:gd name="T54" fmla="*/ 1448 w 2448"/>
                      <a:gd name="T55" fmla="*/ 979 h 1211"/>
                      <a:gd name="T56" fmla="*/ 1140 w 2448"/>
                      <a:gd name="T57" fmla="*/ 979 h 1211"/>
                      <a:gd name="T58" fmla="*/ 934 w 2448"/>
                      <a:gd name="T59" fmla="*/ 1028 h 1211"/>
                      <a:gd name="T60" fmla="*/ 800 w 2448"/>
                      <a:gd name="T61" fmla="*/ 934 h 1211"/>
                      <a:gd name="T62" fmla="*/ 697 w 2448"/>
                      <a:gd name="T63" fmla="*/ 912 h 1211"/>
                      <a:gd name="T64" fmla="*/ 590 w 2448"/>
                      <a:gd name="T65" fmla="*/ 961 h 1211"/>
                      <a:gd name="T66" fmla="*/ 532 w 2448"/>
                      <a:gd name="T67" fmla="*/ 1001 h 1211"/>
                      <a:gd name="T68" fmla="*/ 434 w 2448"/>
                      <a:gd name="T69" fmla="*/ 1010 h 1211"/>
                      <a:gd name="T70" fmla="*/ 420 w 2448"/>
                      <a:gd name="T71" fmla="*/ 1091 h 1211"/>
                      <a:gd name="T72" fmla="*/ 411 w 2448"/>
                      <a:gd name="T73" fmla="*/ 1211 h 1211"/>
                      <a:gd name="T74" fmla="*/ 322 w 2448"/>
                      <a:gd name="T75" fmla="*/ 1171 h 1211"/>
                      <a:gd name="T76" fmla="*/ 273 w 2448"/>
                      <a:gd name="T77" fmla="*/ 1091 h 1211"/>
                      <a:gd name="T78" fmla="*/ 260 w 2448"/>
                      <a:gd name="T79" fmla="*/ 1019 h 1211"/>
                      <a:gd name="T80" fmla="*/ 170 w 2448"/>
                      <a:gd name="T81" fmla="*/ 957 h 1211"/>
                      <a:gd name="T82" fmla="*/ 139 w 2448"/>
                      <a:gd name="T83" fmla="*/ 881 h 1211"/>
                      <a:gd name="T84" fmla="*/ 188 w 2448"/>
                      <a:gd name="T85" fmla="*/ 764 h 1211"/>
                      <a:gd name="T86" fmla="*/ 429 w 2448"/>
                      <a:gd name="T87" fmla="*/ 443 h 1211"/>
                      <a:gd name="T88" fmla="*/ 711 w 2448"/>
                      <a:gd name="T89" fmla="*/ 67 h 1211"/>
                      <a:gd name="T90" fmla="*/ 528 w 2448"/>
                      <a:gd name="T91" fmla="*/ 188 h 1211"/>
                      <a:gd name="T92" fmla="*/ 537 w 2448"/>
                      <a:gd name="T93" fmla="*/ 376 h 1211"/>
                      <a:gd name="T94" fmla="*/ 483 w 2448"/>
                      <a:gd name="T95" fmla="*/ 353 h 1211"/>
                      <a:gd name="T96" fmla="*/ 550 w 2448"/>
                      <a:gd name="T97" fmla="*/ 385 h 1211"/>
                      <a:gd name="T98" fmla="*/ 1296 w 2448"/>
                      <a:gd name="T99" fmla="*/ 890 h 1211"/>
                      <a:gd name="T100" fmla="*/ 1693 w 2448"/>
                      <a:gd name="T101" fmla="*/ 121 h 1211"/>
                      <a:gd name="T102" fmla="*/ 1760 w 2448"/>
                      <a:gd name="T103" fmla="*/ 130 h 1211"/>
                      <a:gd name="T104" fmla="*/ 1734 w 2448"/>
                      <a:gd name="T105" fmla="*/ 242 h 1211"/>
                      <a:gd name="T106" fmla="*/ 1756 w 2448"/>
                      <a:gd name="T107" fmla="*/ 939 h 1211"/>
                      <a:gd name="T108" fmla="*/ 1792 w 2448"/>
                      <a:gd name="T109" fmla="*/ 1055 h 1211"/>
                      <a:gd name="T110" fmla="*/ 1823 w 2448"/>
                      <a:gd name="T111" fmla="*/ 1144 h 1211"/>
                      <a:gd name="T112" fmla="*/ 1832 w 2448"/>
                      <a:gd name="T113" fmla="*/ 188 h 1211"/>
                      <a:gd name="T114" fmla="*/ 1903 w 2448"/>
                      <a:gd name="T115" fmla="*/ 1086 h 1211"/>
                      <a:gd name="T116" fmla="*/ 1953 w 2448"/>
                      <a:gd name="T117" fmla="*/ 1015 h 1211"/>
                      <a:gd name="T118" fmla="*/ 2091 w 2448"/>
                      <a:gd name="T119" fmla="*/ 90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8" h="1211">
                        <a:moveTo>
                          <a:pt x="23" y="894"/>
                        </a:moveTo>
                        <a:lnTo>
                          <a:pt x="27" y="894"/>
                        </a:lnTo>
                        <a:lnTo>
                          <a:pt x="27" y="899"/>
                        </a:lnTo>
                        <a:lnTo>
                          <a:pt x="41" y="903"/>
                        </a:lnTo>
                        <a:lnTo>
                          <a:pt x="50" y="903"/>
                        </a:lnTo>
                        <a:lnTo>
                          <a:pt x="50" y="907"/>
                        </a:lnTo>
                        <a:lnTo>
                          <a:pt x="50" y="921"/>
                        </a:lnTo>
                        <a:lnTo>
                          <a:pt x="27" y="921"/>
                        </a:lnTo>
                        <a:lnTo>
                          <a:pt x="9" y="916"/>
                        </a:lnTo>
                        <a:lnTo>
                          <a:pt x="0" y="916"/>
                        </a:lnTo>
                        <a:lnTo>
                          <a:pt x="9" y="912"/>
                        </a:lnTo>
                        <a:lnTo>
                          <a:pt x="5" y="912"/>
                        </a:lnTo>
                        <a:lnTo>
                          <a:pt x="5" y="907"/>
                        </a:lnTo>
                        <a:lnTo>
                          <a:pt x="14" y="903"/>
                        </a:lnTo>
                        <a:lnTo>
                          <a:pt x="18" y="894"/>
                        </a:lnTo>
                        <a:lnTo>
                          <a:pt x="14" y="907"/>
                        </a:lnTo>
                        <a:lnTo>
                          <a:pt x="23" y="907"/>
                        </a:lnTo>
                        <a:lnTo>
                          <a:pt x="27" y="903"/>
                        </a:lnTo>
                        <a:lnTo>
                          <a:pt x="23" y="894"/>
                        </a:lnTo>
                        <a:close/>
                        <a:moveTo>
                          <a:pt x="117" y="840"/>
                        </a:moveTo>
                        <a:lnTo>
                          <a:pt x="126" y="836"/>
                        </a:lnTo>
                        <a:lnTo>
                          <a:pt x="130" y="832"/>
                        </a:lnTo>
                        <a:lnTo>
                          <a:pt x="121" y="823"/>
                        </a:lnTo>
                        <a:lnTo>
                          <a:pt x="117" y="814"/>
                        </a:lnTo>
                        <a:lnTo>
                          <a:pt x="117" y="809"/>
                        </a:lnTo>
                        <a:lnTo>
                          <a:pt x="117" y="800"/>
                        </a:lnTo>
                        <a:lnTo>
                          <a:pt x="126" y="796"/>
                        </a:lnTo>
                        <a:lnTo>
                          <a:pt x="130" y="787"/>
                        </a:lnTo>
                        <a:lnTo>
                          <a:pt x="126" y="778"/>
                        </a:lnTo>
                        <a:lnTo>
                          <a:pt x="126" y="773"/>
                        </a:lnTo>
                        <a:lnTo>
                          <a:pt x="130" y="778"/>
                        </a:lnTo>
                        <a:lnTo>
                          <a:pt x="139" y="769"/>
                        </a:lnTo>
                        <a:lnTo>
                          <a:pt x="148" y="773"/>
                        </a:lnTo>
                        <a:lnTo>
                          <a:pt x="152" y="764"/>
                        </a:lnTo>
                        <a:lnTo>
                          <a:pt x="148" y="764"/>
                        </a:lnTo>
                        <a:lnTo>
                          <a:pt x="134" y="764"/>
                        </a:lnTo>
                        <a:lnTo>
                          <a:pt x="130" y="756"/>
                        </a:lnTo>
                        <a:lnTo>
                          <a:pt x="134" y="756"/>
                        </a:lnTo>
                        <a:lnTo>
                          <a:pt x="134" y="747"/>
                        </a:lnTo>
                        <a:lnTo>
                          <a:pt x="130" y="756"/>
                        </a:lnTo>
                        <a:lnTo>
                          <a:pt x="126" y="756"/>
                        </a:lnTo>
                        <a:lnTo>
                          <a:pt x="134" y="747"/>
                        </a:lnTo>
                        <a:lnTo>
                          <a:pt x="143" y="738"/>
                        </a:lnTo>
                        <a:lnTo>
                          <a:pt x="148" y="724"/>
                        </a:lnTo>
                        <a:lnTo>
                          <a:pt x="175" y="697"/>
                        </a:lnTo>
                        <a:lnTo>
                          <a:pt x="179" y="689"/>
                        </a:lnTo>
                        <a:lnTo>
                          <a:pt x="161" y="671"/>
                        </a:lnTo>
                        <a:lnTo>
                          <a:pt x="148" y="657"/>
                        </a:lnTo>
                        <a:lnTo>
                          <a:pt x="161" y="644"/>
                        </a:lnTo>
                        <a:lnTo>
                          <a:pt x="148" y="635"/>
                        </a:lnTo>
                        <a:lnTo>
                          <a:pt x="157" y="630"/>
                        </a:lnTo>
                        <a:lnTo>
                          <a:pt x="148" y="626"/>
                        </a:lnTo>
                        <a:lnTo>
                          <a:pt x="148" y="581"/>
                        </a:lnTo>
                        <a:lnTo>
                          <a:pt x="157" y="577"/>
                        </a:lnTo>
                        <a:lnTo>
                          <a:pt x="148" y="563"/>
                        </a:lnTo>
                        <a:lnTo>
                          <a:pt x="143" y="546"/>
                        </a:lnTo>
                        <a:lnTo>
                          <a:pt x="134" y="532"/>
                        </a:lnTo>
                        <a:lnTo>
                          <a:pt x="148" y="505"/>
                        </a:lnTo>
                        <a:lnTo>
                          <a:pt x="148" y="496"/>
                        </a:lnTo>
                        <a:lnTo>
                          <a:pt x="134" y="487"/>
                        </a:lnTo>
                        <a:lnTo>
                          <a:pt x="130" y="470"/>
                        </a:lnTo>
                        <a:lnTo>
                          <a:pt x="139" y="452"/>
                        </a:lnTo>
                        <a:lnTo>
                          <a:pt x="148" y="438"/>
                        </a:lnTo>
                        <a:lnTo>
                          <a:pt x="148" y="429"/>
                        </a:lnTo>
                        <a:lnTo>
                          <a:pt x="148" y="429"/>
                        </a:lnTo>
                        <a:lnTo>
                          <a:pt x="157" y="438"/>
                        </a:lnTo>
                        <a:lnTo>
                          <a:pt x="161" y="425"/>
                        </a:lnTo>
                        <a:lnTo>
                          <a:pt x="170" y="429"/>
                        </a:lnTo>
                        <a:lnTo>
                          <a:pt x="175" y="425"/>
                        </a:lnTo>
                        <a:lnTo>
                          <a:pt x="175" y="416"/>
                        </a:lnTo>
                        <a:lnTo>
                          <a:pt x="197" y="425"/>
                        </a:lnTo>
                        <a:lnTo>
                          <a:pt x="193" y="434"/>
                        </a:lnTo>
                        <a:lnTo>
                          <a:pt x="179" y="429"/>
                        </a:lnTo>
                        <a:lnTo>
                          <a:pt x="179" y="434"/>
                        </a:lnTo>
                        <a:lnTo>
                          <a:pt x="201" y="443"/>
                        </a:lnTo>
                        <a:lnTo>
                          <a:pt x="197" y="456"/>
                        </a:lnTo>
                        <a:lnTo>
                          <a:pt x="206" y="452"/>
                        </a:lnTo>
                        <a:lnTo>
                          <a:pt x="224" y="452"/>
                        </a:lnTo>
                        <a:lnTo>
                          <a:pt x="228" y="447"/>
                        </a:lnTo>
                        <a:lnTo>
                          <a:pt x="233" y="447"/>
                        </a:lnTo>
                        <a:lnTo>
                          <a:pt x="246" y="456"/>
                        </a:lnTo>
                        <a:lnTo>
                          <a:pt x="273" y="483"/>
                        </a:lnTo>
                        <a:lnTo>
                          <a:pt x="277" y="478"/>
                        </a:lnTo>
                        <a:lnTo>
                          <a:pt x="300" y="496"/>
                        </a:lnTo>
                        <a:lnTo>
                          <a:pt x="300" y="505"/>
                        </a:lnTo>
                        <a:lnTo>
                          <a:pt x="309" y="510"/>
                        </a:lnTo>
                        <a:lnTo>
                          <a:pt x="309" y="537"/>
                        </a:lnTo>
                        <a:lnTo>
                          <a:pt x="300" y="563"/>
                        </a:lnTo>
                        <a:lnTo>
                          <a:pt x="282" y="572"/>
                        </a:lnTo>
                        <a:lnTo>
                          <a:pt x="246" y="568"/>
                        </a:lnTo>
                        <a:lnTo>
                          <a:pt x="219" y="559"/>
                        </a:lnTo>
                        <a:lnTo>
                          <a:pt x="201" y="550"/>
                        </a:lnTo>
                        <a:lnTo>
                          <a:pt x="193" y="537"/>
                        </a:lnTo>
                        <a:lnTo>
                          <a:pt x="184" y="537"/>
                        </a:lnTo>
                        <a:lnTo>
                          <a:pt x="188" y="550"/>
                        </a:lnTo>
                        <a:lnTo>
                          <a:pt x="197" y="554"/>
                        </a:lnTo>
                        <a:lnTo>
                          <a:pt x="197" y="559"/>
                        </a:lnTo>
                        <a:lnTo>
                          <a:pt x="206" y="563"/>
                        </a:lnTo>
                        <a:lnTo>
                          <a:pt x="219" y="568"/>
                        </a:lnTo>
                        <a:lnTo>
                          <a:pt x="224" y="581"/>
                        </a:lnTo>
                        <a:lnTo>
                          <a:pt x="219" y="604"/>
                        </a:lnTo>
                        <a:lnTo>
                          <a:pt x="224" y="613"/>
                        </a:lnTo>
                        <a:lnTo>
                          <a:pt x="219" y="630"/>
                        </a:lnTo>
                        <a:lnTo>
                          <a:pt x="233" y="630"/>
                        </a:lnTo>
                        <a:lnTo>
                          <a:pt x="246" y="644"/>
                        </a:lnTo>
                        <a:lnTo>
                          <a:pt x="268" y="644"/>
                        </a:lnTo>
                        <a:lnTo>
                          <a:pt x="268" y="630"/>
                        </a:lnTo>
                        <a:lnTo>
                          <a:pt x="255" y="630"/>
                        </a:lnTo>
                        <a:lnTo>
                          <a:pt x="246" y="617"/>
                        </a:lnTo>
                        <a:lnTo>
                          <a:pt x="251" y="604"/>
                        </a:lnTo>
                        <a:lnTo>
                          <a:pt x="260" y="608"/>
                        </a:lnTo>
                        <a:lnTo>
                          <a:pt x="291" y="626"/>
                        </a:lnTo>
                        <a:lnTo>
                          <a:pt x="304" y="626"/>
                        </a:lnTo>
                        <a:lnTo>
                          <a:pt x="300" y="617"/>
                        </a:lnTo>
                        <a:lnTo>
                          <a:pt x="291" y="604"/>
                        </a:lnTo>
                        <a:lnTo>
                          <a:pt x="291" y="595"/>
                        </a:lnTo>
                        <a:lnTo>
                          <a:pt x="300" y="586"/>
                        </a:lnTo>
                        <a:lnTo>
                          <a:pt x="304" y="577"/>
                        </a:lnTo>
                        <a:lnTo>
                          <a:pt x="318" y="577"/>
                        </a:lnTo>
                        <a:lnTo>
                          <a:pt x="327" y="559"/>
                        </a:lnTo>
                        <a:lnTo>
                          <a:pt x="358" y="572"/>
                        </a:lnTo>
                        <a:lnTo>
                          <a:pt x="362" y="546"/>
                        </a:lnTo>
                        <a:lnTo>
                          <a:pt x="362" y="528"/>
                        </a:lnTo>
                        <a:lnTo>
                          <a:pt x="349" y="528"/>
                        </a:lnTo>
                        <a:lnTo>
                          <a:pt x="349" y="505"/>
                        </a:lnTo>
                        <a:lnTo>
                          <a:pt x="353" y="487"/>
                        </a:lnTo>
                        <a:lnTo>
                          <a:pt x="340" y="474"/>
                        </a:lnTo>
                        <a:lnTo>
                          <a:pt x="344" y="470"/>
                        </a:lnTo>
                        <a:lnTo>
                          <a:pt x="358" y="474"/>
                        </a:lnTo>
                        <a:lnTo>
                          <a:pt x="371" y="474"/>
                        </a:lnTo>
                        <a:lnTo>
                          <a:pt x="389" y="492"/>
                        </a:lnTo>
                        <a:lnTo>
                          <a:pt x="394" y="501"/>
                        </a:lnTo>
                        <a:lnTo>
                          <a:pt x="376" y="505"/>
                        </a:lnTo>
                        <a:lnTo>
                          <a:pt x="371" y="519"/>
                        </a:lnTo>
                        <a:lnTo>
                          <a:pt x="376" y="523"/>
                        </a:lnTo>
                        <a:lnTo>
                          <a:pt x="385" y="541"/>
                        </a:lnTo>
                        <a:lnTo>
                          <a:pt x="407" y="541"/>
                        </a:lnTo>
                        <a:lnTo>
                          <a:pt x="411" y="510"/>
                        </a:lnTo>
                        <a:lnTo>
                          <a:pt x="447" y="483"/>
                        </a:lnTo>
                        <a:lnTo>
                          <a:pt x="456" y="483"/>
                        </a:lnTo>
                        <a:lnTo>
                          <a:pt x="487" y="461"/>
                        </a:lnTo>
                        <a:lnTo>
                          <a:pt x="501" y="461"/>
                        </a:lnTo>
                        <a:lnTo>
                          <a:pt x="492" y="474"/>
                        </a:lnTo>
                        <a:lnTo>
                          <a:pt x="496" y="483"/>
                        </a:lnTo>
                        <a:lnTo>
                          <a:pt x="487" y="487"/>
                        </a:lnTo>
                        <a:lnTo>
                          <a:pt x="501" y="492"/>
                        </a:lnTo>
                        <a:lnTo>
                          <a:pt x="523" y="474"/>
                        </a:lnTo>
                        <a:lnTo>
                          <a:pt x="541" y="474"/>
                        </a:lnTo>
                        <a:lnTo>
                          <a:pt x="559" y="461"/>
                        </a:lnTo>
                        <a:lnTo>
                          <a:pt x="568" y="461"/>
                        </a:lnTo>
                        <a:lnTo>
                          <a:pt x="568" y="483"/>
                        </a:lnTo>
                        <a:lnTo>
                          <a:pt x="581" y="483"/>
                        </a:lnTo>
                        <a:lnTo>
                          <a:pt x="577" y="474"/>
                        </a:lnTo>
                        <a:lnTo>
                          <a:pt x="595" y="465"/>
                        </a:lnTo>
                        <a:lnTo>
                          <a:pt x="586" y="438"/>
                        </a:lnTo>
                        <a:lnTo>
                          <a:pt x="595" y="429"/>
                        </a:lnTo>
                        <a:lnTo>
                          <a:pt x="630" y="434"/>
                        </a:lnTo>
                        <a:lnTo>
                          <a:pt x="662" y="456"/>
                        </a:lnTo>
                        <a:lnTo>
                          <a:pt x="693" y="478"/>
                        </a:lnTo>
                        <a:lnTo>
                          <a:pt x="702" y="496"/>
                        </a:lnTo>
                        <a:lnTo>
                          <a:pt x="711" y="470"/>
                        </a:lnTo>
                        <a:lnTo>
                          <a:pt x="702" y="470"/>
                        </a:lnTo>
                        <a:lnTo>
                          <a:pt x="693" y="443"/>
                        </a:lnTo>
                        <a:lnTo>
                          <a:pt x="679" y="443"/>
                        </a:lnTo>
                        <a:lnTo>
                          <a:pt x="679" y="420"/>
                        </a:lnTo>
                        <a:lnTo>
                          <a:pt x="684" y="411"/>
                        </a:lnTo>
                        <a:lnTo>
                          <a:pt x="684" y="389"/>
                        </a:lnTo>
                        <a:lnTo>
                          <a:pt x="675" y="394"/>
                        </a:lnTo>
                        <a:lnTo>
                          <a:pt x="684" y="362"/>
                        </a:lnTo>
                        <a:lnTo>
                          <a:pt x="697" y="358"/>
                        </a:lnTo>
                        <a:lnTo>
                          <a:pt x="706" y="331"/>
                        </a:lnTo>
                        <a:lnTo>
                          <a:pt x="711" y="295"/>
                        </a:lnTo>
                        <a:lnTo>
                          <a:pt x="720" y="282"/>
                        </a:lnTo>
                        <a:lnTo>
                          <a:pt x="751" y="282"/>
                        </a:lnTo>
                        <a:lnTo>
                          <a:pt x="760" y="291"/>
                        </a:lnTo>
                        <a:lnTo>
                          <a:pt x="755" y="340"/>
                        </a:lnTo>
                        <a:lnTo>
                          <a:pt x="746" y="340"/>
                        </a:lnTo>
                        <a:lnTo>
                          <a:pt x="769" y="376"/>
                        </a:lnTo>
                        <a:lnTo>
                          <a:pt x="760" y="456"/>
                        </a:lnTo>
                        <a:lnTo>
                          <a:pt x="773" y="478"/>
                        </a:lnTo>
                        <a:lnTo>
                          <a:pt x="764" y="492"/>
                        </a:lnTo>
                        <a:lnTo>
                          <a:pt x="769" y="510"/>
                        </a:lnTo>
                        <a:lnTo>
                          <a:pt x="755" y="537"/>
                        </a:lnTo>
                        <a:lnTo>
                          <a:pt x="746" y="546"/>
                        </a:lnTo>
                        <a:lnTo>
                          <a:pt x="738" y="554"/>
                        </a:lnTo>
                        <a:lnTo>
                          <a:pt x="742" y="563"/>
                        </a:lnTo>
                        <a:lnTo>
                          <a:pt x="755" y="568"/>
                        </a:lnTo>
                        <a:lnTo>
                          <a:pt x="760" y="554"/>
                        </a:lnTo>
                        <a:lnTo>
                          <a:pt x="778" y="541"/>
                        </a:lnTo>
                        <a:lnTo>
                          <a:pt x="782" y="514"/>
                        </a:lnTo>
                        <a:lnTo>
                          <a:pt x="791" y="510"/>
                        </a:lnTo>
                        <a:lnTo>
                          <a:pt x="791" y="478"/>
                        </a:lnTo>
                        <a:lnTo>
                          <a:pt x="818" y="465"/>
                        </a:lnTo>
                        <a:lnTo>
                          <a:pt x="827" y="505"/>
                        </a:lnTo>
                        <a:lnTo>
                          <a:pt x="840" y="487"/>
                        </a:lnTo>
                        <a:lnTo>
                          <a:pt x="836" y="465"/>
                        </a:lnTo>
                        <a:lnTo>
                          <a:pt x="809" y="456"/>
                        </a:lnTo>
                        <a:lnTo>
                          <a:pt x="778" y="461"/>
                        </a:lnTo>
                        <a:lnTo>
                          <a:pt x="773" y="416"/>
                        </a:lnTo>
                        <a:lnTo>
                          <a:pt x="787" y="398"/>
                        </a:lnTo>
                        <a:lnTo>
                          <a:pt x="778" y="362"/>
                        </a:lnTo>
                        <a:lnTo>
                          <a:pt x="769" y="358"/>
                        </a:lnTo>
                        <a:lnTo>
                          <a:pt x="778" y="335"/>
                        </a:lnTo>
                        <a:lnTo>
                          <a:pt x="796" y="318"/>
                        </a:lnTo>
                        <a:lnTo>
                          <a:pt x="796" y="286"/>
                        </a:lnTo>
                        <a:lnTo>
                          <a:pt x="800" y="282"/>
                        </a:lnTo>
                        <a:lnTo>
                          <a:pt x="809" y="309"/>
                        </a:lnTo>
                        <a:lnTo>
                          <a:pt x="805" y="358"/>
                        </a:lnTo>
                        <a:lnTo>
                          <a:pt x="836" y="367"/>
                        </a:lnTo>
                        <a:lnTo>
                          <a:pt x="840" y="380"/>
                        </a:lnTo>
                        <a:lnTo>
                          <a:pt x="849" y="376"/>
                        </a:lnTo>
                        <a:lnTo>
                          <a:pt x="836" y="358"/>
                        </a:lnTo>
                        <a:lnTo>
                          <a:pt x="813" y="344"/>
                        </a:lnTo>
                        <a:lnTo>
                          <a:pt x="818" y="327"/>
                        </a:lnTo>
                        <a:lnTo>
                          <a:pt x="836" y="335"/>
                        </a:lnTo>
                        <a:lnTo>
                          <a:pt x="845" y="322"/>
                        </a:lnTo>
                        <a:lnTo>
                          <a:pt x="831" y="322"/>
                        </a:lnTo>
                        <a:lnTo>
                          <a:pt x="831" y="313"/>
                        </a:lnTo>
                        <a:lnTo>
                          <a:pt x="845" y="304"/>
                        </a:lnTo>
                        <a:lnTo>
                          <a:pt x="863" y="309"/>
                        </a:lnTo>
                        <a:lnTo>
                          <a:pt x="867" y="318"/>
                        </a:lnTo>
                        <a:lnTo>
                          <a:pt x="880" y="318"/>
                        </a:lnTo>
                        <a:lnTo>
                          <a:pt x="894" y="340"/>
                        </a:lnTo>
                        <a:lnTo>
                          <a:pt x="912" y="335"/>
                        </a:lnTo>
                        <a:lnTo>
                          <a:pt x="912" y="353"/>
                        </a:lnTo>
                        <a:lnTo>
                          <a:pt x="903" y="362"/>
                        </a:lnTo>
                        <a:lnTo>
                          <a:pt x="898" y="389"/>
                        </a:lnTo>
                        <a:lnTo>
                          <a:pt x="921" y="389"/>
                        </a:lnTo>
                        <a:lnTo>
                          <a:pt x="916" y="367"/>
                        </a:lnTo>
                        <a:lnTo>
                          <a:pt x="925" y="335"/>
                        </a:lnTo>
                        <a:lnTo>
                          <a:pt x="912" y="327"/>
                        </a:lnTo>
                        <a:lnTo>
                          <a:pt x="880" y="291"/>
                        </a:lnTo>
                        <a:lnTo>
                          <a:pt x="880" y="242"/>
                        </a:lnTo>
                        <a:lnTo>
                          <a:pt x="965" y="233"/>
                        </a:lnTo>
                        <a:lnTo>
                          <a:pt x="961" y="215"/>
                        </a:lnTo>
                        <a:lnTo>
                          <a:pt x="952" y="215"/>
                        </a:lnTo>
                        <a:lnTo>
                          <a:pt x="947" y="192"/>
                        </a:lnTo>
                        <a:lnTo>
                          <a:pt x="965" y="170"/>
                        </a:lnTo>
                        <a:lnTo>
                          <a:pt x="983" y="175"/>
                        </a:lnTo>
                        <a:lnTo>
                          <a:pt x="1001" y="157"/>
                        </a:lnTo>
                        <a:lnTo>
                          <a:pt x="1055" y="130"/>
                        </a:lnTo>
                        <a:lnTo>
                          <a:pt x="1050" y="117"/>
                        </a:lnTo>
                        <a:lnTo>
                          <a:pt x="1090" y="85"/>
                        </a:lnTo>
                        <a:lnTo>
                          <a:pt x="1113" y="90"/>
                        </a:lnTo>
                        <a:lnTo>
                          <a:pt x="1090" y="117"/>
                        </a:lnTo>
                        <a:lnTo>
                          <a:pt x="1108" y="117"/>
                        </a:lnTo>
                        <a:lnTo>
                          <a:pt x="1135" y="94"/>
                        </a:lnTo>
                        <a:lnTo>
                          <a:pt x="1144" y="94"/>
                        </a:lnTo>
                        <a:lnTo>
                          <a:pt x="1135" y="81"/>
                        </a:lnTo>
                        <a:lnTo>
                          <a:pt x="1166" y="76"/>
                        </a:lnTo>
                        <a:lnTo>
                          <a:pt x="1175" y="41"/>
                        </a:lnTo>
                        <a:lnTo>
                          <a:pt x="1198" y="14"/>
                        </a:lnTo>
                        <a:lnTo>
                          <a:pt x="1224" y="0"/>
                        </a:lnTo>
                        <a:lnTo>
                          <a:pt x="1247" y="18"/>
                        </a:lnTo>
                        <a:lnTo>
                          <a:pt x="1229" y="41"/>
                        </a:lnTo>
                        <a:lnTo>
                          <a:pt x="1256" y="54"/>
                        </a:lnTo>
                        <a:lnTo>
                          <a:pt x="1242" y="81"/>
                        </a:lnTo>
                        <a:lnTo>
                          <a:pt x="1260" y="81"/>
                        </a:lnTo>
                        <a:lnTo>
                          <a:pt x="1274" y="63"/>
                        </a:lnTo>
                        <a:lnTo>
                          <a:pt x="1323" y="58"/>
                        </a:lnTo>
                        <a:lnTo>
                          <a:pt x="1345" y="76"/>
                        </a:lnTo>
                        <a:lnTo>
                          <a:pt x="1349" y="94"/>
                        </a:lnTo>
                        <a:lnTo>
                          <a:pt x="1345" y="166"/>
                        </a:lnTo>
                        <a:lnTo>
                          <a:pt x="1332" y="184"/>
                        </a:lnTo>
                        <a:lnTo>
                          <a:pt x="1287" y="224"/>
                        </a:lnTo>
                        <a:lnTo>
                          <a:pt x="1269" y="255"/>
                        </a:lnTo>
                        <a:lnTo>
                          <a:pt x="1251" y="268"/>
                        </a:lnTo>
                        <a:lnTo>
                          <a:pt x="1251" y="273"/>
                        </a:lnTo>
                        <a:lnTo>
                          <a:pt x="1287" y="260"/>
                        </a:lnTo>
                        <a:lnTo>
                          <a:pt x="1300" y="233"/>
                        </a:lnTo>
                        <a:lnTo>
                          <a:pt x="1314" y="228"/>
                        </a:lnTo>
                        <a:lnTo>
                          <a:pt x="1314" y="242"/>
                        </a:lnTo>
                        <a:lnTo>
                          <a:pt x="1336" y="246"/>
                        </a:lnTo>
                        <a:lnTo>
                          <a:pt x="1341" y="233"/>
                        </a:lnTo>
                        <a:lnTo>
                          <a:pt x="1349" y="255"/>
                        </a:lnTo>
                        <a:lnTo>
                          <a:pt x="1372" y="242"/>
                        </a:lnTo>
                        <a:lnTo>
                          <a:pt x="1421" y="251"/>
                        </a:lnTo>
                        <a:lnTo>
                          <a:pt x="1416" y="273"/>
                        </a:lnTo>
                        <a:lnTo>
                          <a:pt x="1466" y="282"/>
                        </a:lnTo>
                        <a:lnTo>
                          <a:pt x="1479" y="286"/>
                        </a:lnTo>
                        <a:lnTo>
                          <a:pt x="1488" y="268"/>
                        </a:lnTo>
                        <a:lnTo>
                          <a:pt x="1475" y="255"/>
                        </a:lnTo>
                        <a:lnTo>
                          <a:pt x="1497" y="237"/>
                        </a:lnTo>
                        <a:lnTo>
                          <a:pt x="1528" y="255"/>
                        </a:lnTo>
                        <a:lnTo>
                          <a:pt x="1573" y="277"/>
                        </a:lnTo>
                        <a:lnTo>
                          <a:pt x="1564" y="335"/>
                        </a:lnTo>
                        <a:lnTo>
                          <a:pt x="1573" y="335"/>
                        </a:lnTo>
                        <a:lnTo>
                          <a:pt x="1577" y="344"/>
                        </a:lnTo>
                        <a:lnTo>
                          <a:pt x="1573" y="349"/>
                        </a:lnTo>
                        <a:lnTo>
                          <a:pt x="1582" y="371"/>
                        </a:lnTo>
                        <a:lnTo>
                          <a:pt x="1595" y="380"/>
                        </a:lnTo>
                        <a:lnTo>
                          <a:pt x="1600" y="394"/>
                        </a:lnTo>
                        <a:lnTo>
                          <a:pt x="1613" y="367"/>
                        </a:lnTo>
                        <a:lnTo>
                          <a:pt x="1617" y="331"/>
                        </a:lnTo>
                        <a:lnTo>
                          <a:pt x="1626" y="331"/>
                        </a:lnTo>
                        <a:lnTo>
                          <a:pt x="1635" y="358"/>
                        </a:lnTo>
                        <a:lnTo>
                          <a:pt x="1653" y="353"/>
                        </a:lnTo>
                        <a:lnTo>
                          <a:pt x="1662" y="344"/>
                        </a:lnTo>
                        <a:lnTo>
                          <a:pt x="1725" y="353"/>
                        </a:lnTo>
                        <a:lnTo>
                          <a:pt x="1720" y="331"/>
                        </a:lnTo>
                        <a:lnTo>
                          <a:pt x="1725" y="318"/>
                        </a:lnTo>
                        <a:lnTo>
                          <a:pt x="1711" y="318"/>
                        </a:lnTo>
                        <a:lnTo>
                          <a:pt x="1716" y="304"/>
                        </a:lnTo>
                        <a:lnTo>
                          <a:pt x="1734" y="304"/>
                        </a:lnTo>
                        <a:lnTo>
                          <a:pt x="1734" y="286"/>
                        </a:lnTo>
                        <a:lnTo>
                          <a:pt x="1823" y="309"/>
                        </a:lnTo>
                        <a:lnTo>
                          <a:pt x="1787" y="304"/>
                        </a:lnTo>
                        <a:lnTo>
                          <a:pt x="1783" y="322"/>
                        </a:lnTo>
                        <a:lnTo>
                          <a:pt x="1823" y="313"/>
                        </a:lnTo>
                        <a:lnTo>
                          <a:pt x="1796" y="344"/>
                        </a:lnTo>
                        <a:lnTo>
                          <a:pt x="1814" y="335"/>
                        </a:lnTo>
                        <a:lnTo>
                          <a:pt x="1832" y="313"/>
                        </a:lnTo>
                        <a:lnTo>
                          <a:pt x="1859" y="313"/>
                        </a:lnTo>
                        <a:lnTo>
                          <a:pt x="1868" y="331"/>
                        </a:lnTo>
                        <a:lnTo>
                          <a:pt x="1854" y="340"/>
                        </a:lnTo>
                        <a:lnTo>
                          <a:pt x="1868" y="349"/>
                        </a:lnTo>
                        <a:lnTo>
                          <a:pt x="1903" y="380"/>
                        </a:lnTo>
                        <a:lnTo>
                          <a:pt x="1975" y="376"/>
                        </a:lnTo>
                        <a:lnTo>
                          <a:pt x="1997" y="380"/>
                        </a:lnTo>
                        <a:lnTo>
                          <a:pt x="2011" y="411"/>
                        </a:lnTo>
                        <a:lnTo>
                          <a:pt x="2011" y="438"/>
                        </a:lnTo>
                        <a:lnTo>
                          <a:pt x="2037" y="443"/>
                        </a:lnTo>
                        <a:lnTo>
                          <a:pt x="2073" y="438"/>
                        </a:lnTo>
                        <a:lnTo>
                          <a:pt x="2078" y="447"/>
                        </a:lnTo>
                        <a:lnTo>
                          <a:pt x="2091" y="443"/>
                        </a:lnTo>
                        <a:lnTo>
                          <a:pt x="2104" y="447"/>
                        </a:lnTo>
                        <a:lnTo>
                          <a:pt x="2122" y="434"/>
                        </a:lnTo>
                        <a:lnTo>
                          <a:pt x="2122" y="420"/>
                        </a:lnTo>
                        <a:lnTo>
                          <a:pt x="2140" y="429"/>
                        </a:lnTo>
                        <a:lnTo>
                          <a:pt x="2127" y="443"/>
                        </a:lnTo>
                        <a:lnTo>
                          <a:pt x="2140" y="478"/>
                        </a:lnTo>
                        <a:lnTo>
                          <a:pt x="2167" y="470"/>
                        </a:lnTo>
                        <a:lnTo>
                          <a:pt x="2167" y="443"/>
                        </a:lnTo>
                        <a:lnTo>
                          <a:pt x="2158" y="438"/>
                        </a:lnTo>
                        <a:lnTo>
                          <a:pt x="2158" y="420"/>
                        </a:lnTo>
                        <a:lnTo>
                          <a:pt x="2203" y="429"/>
                        </a:lnTo>
                        <a:lnTo>
                          <a:pt x="2243" y="434"/>
                        </a:lnTo>
                        <a:lnTo>
                          <a:pt x="2283" y="452"/>
                        </a:lnTo>
                        <a:lnTo>
                          <a:pt x="2368" y="519"/>
                        </a:lnTo>
                        <a:lnTo>
                          <a:pt x="2377" y="537"/>
                        </a:lnTo>
                        <a:lnTo>
                          <a:pt x="2372" y="554"/>
                        </a:lnTo>
                        <a:lnTo>
                          <a:pt x="2386" y="559"/>
                        </a:lnTo>
                        <a:lnTo>
                          <a:pt x="2381" y="537"/>
                        </a:lnTo>
                        <a:lnTo>
                          <a:pt x="2422" y="541"/>
                        </a:lnTo>
                        <a:lnTo>
                          <a:pt x="2448" y="577"/>
                        </a:lnTo>
                        <a:lnTo>
                          <a:pt x="2435" y="595"/>
                        </a:lnTo>
                        <a:lnTo>
                          <a:pt x="2417" y="595"/>
                        </a:lnTo>
                        <a:lnTo>
                          <a:pt x="2417" y="617"/>
                        </a:lnTo>
                        <a:lnTo>
                          <a:pt x="2404" y="639"/>
                        </a:lnTo>
                        <a:lnTo>
                          <a:pt x="2377" y="626"/>
                        </a:lnTo>
                        <a:lnTo>
                          <a:pt x="2363" y="626"/>
                        </a:lnTo>
                        <a:lnTo>
                          <a:pt x="2359" y="604"/>
                        </a:lnTo>
                        <a:lnTo>
                          <a:pt x="2346" y="599"/>
                        </a:lnTo>
                        <a:lnTo>
                          <a:pt x="2319" y="599"/>
                        </a:lnTo>
                        <a:lnTo>
                          <a:pt x="2319" y="577"/>
                        </a:lnTo>
                        <a:lnTo>
                          <a:pt x="2305" y="581"/>
                        </a:lnTo>
                        <a:lnTo>
                          <a:pt x="2310" y="595"/>
                        </a:lnTo>
                        <a:lnTo>
                          <a:pt x="2305" y="608"/>
                        </a:lnTo>
                        <a:lnTo>
                          <a:pt x="2279" y="635"/>
                        </a:lnTo>
                        <a:lnTo>
                          <a:pt x="2256" y="621"/>
                        </a:lnTo>
                        <a:lnTo>
                          <a:pt x="2256" y="626"/>
                        </a:lnTo>
                        <a:lnTo>
                          <a:pt x="2274" y="644"/>
                        </a:lnTo>
                        <a:lnTo>
                          <a:pt x="2279" y="671"/>
                        </a:lnTo>
                        <a:lnTo>
                          <a:pt x="2292" y="684"/>
                        </a:lnTo>
                        <a:lnTo>
                          <a:pt x="2283" y="702"/>
                        </a:lnTo>
                        <a:lnTo>
                          <a:pt x="2261" y="693"/>
                        </a:lnTo>
                        <a:lnTo>
                          <a:pt x="2238" y="702"/>
                        </a:lnTo>
                        <a:lnTo>
                          <a:pt x="2207" y="724"/>
                        </a:lnTo>
                        <a:lnTo>
                          <a:pt x="2180" y="742"/>
                        </a:lnTo>
                        <a:lnTo>
                          <a:pt x="2162" y="782"/>
                        </a:lnTo>
                        <a:lnTo>
                          <a:pt x="2145" y="760"/>
                        </a:lnTo>
                        <a:lnTo>
                          <a:pt x="2127" y="760"/>
                        </a:lnTo>
                        <a:lnTo>
                          <a:pt x="2095" y="782"/>
                        </a:lnTo>
                        <a:lnTo>
                          <a:pt x="2095" y="782"/>
                        </a:lnTo>
                        <a:lnTo>
                          <a:pt x="2095" y="760"/>
                        </a:lnTo>
                        <a:lnTo>
                          <a:pt x="2082" y="787"/>
                        </a:lnTo>
                        <a:lnTo>
                          <a:pt x="2064" y="778"/>
                        </a:lnTo>
                        <a:lnTo>
                          <a:pt x="2037" y="832"/>
                        </a:lnTo>
                        <a:lnTo>
                          <a:pt x="2055" y="836"/>
                        </a:lnTo>
                        <a:lnTo>
                          <a:pt x="2046" y="863"/>
                        </a:lnTo>
                        <a:lnTo>
                          <a:pt x="2055" y="876"/>
                        </a:lnTo>
                        <a:lnTo>
                          <a:pt x="2046" y="885"/>
                        </a:lnTo>
                        <a:lnTo>
                          <a:pt x="2033" y="881"/>
                        </a:lnTo>
                        <a:lnTo>
                          <a:pt x="2028" y="907"/>
                        </a:lnTo>
                        <a:lnTo>
                          <a:pt x="2037" y="912"/>
                        </a:lnTo>
                        <a:lnTo>
                          <a:pt x="2033" y="925"/>
                        </a:lnTo>
                        <a:lnTo>
                          <a:pt x="2024" y="916"/>
                        </a:lnTo>
                        <a:lnTo>
                          <a:pt x="2011" y="930"/>
                        </a:lnTo>
                        <a:lnTo>
                          <a:pt x="2006" y="948"/>
                        </a:lnTo>
                        <a:lnTo>
                          <a:pt x="2015" y="952"/>
                        </a:lnTo>
                        <a:lnTo>
                          <a:pt x="2011" y="957"/>
                        </a:lnTo>
                        <a:lnTo>
                          <a:pt x="2006" y="952"/>
                        </a:lnTo>
                        <a:lnTo>
                          <a:pt x="1988" y="961"/>
                        </a:lnTo>
                        <a:lnTo>
                          <a:pt x="1988" y="975"/>
                        </a:lnTo>
                        <a:lnTo>
                          <a:pt x="1961" y="1015"/>
                        </a:lnTo>
                        <a:lnTo>
                          <a:pt x="1953" y="961"/>
                        </a:lnTo>
                        <a:lnTo>
                          <a:pt x="1944" y="903"/>
                        </a:lnTo>
                        <a:lnTo>
                          <a:pt x="1944" y="881"/>
                        </a:lnTo>
                        <a:lnTo>
                          <a:pt x="1953" y="854"/>
                        </a:lnTo>
                        <a:lnTo>
                          <a:pt x="1966" y="845"/>
                        </a:lnTo>
                        <a:lnTo>
                          <a:pt x="1961" y="836"/>
                        </a:lnTo>
                        <a:lnTo>
                          <a:pt x="1984" y="827"/>
                        </a:lnTo>
                        <a:lnTo>
                          <a:pt x="2060" y="747"/>
                        </a:lnTo>
                        <a:lnTo>
                          <a:pt x="2069" y="706"/>
                        </a:lnTo>
                        <a:lnTo>
                          <a:pt x="2082" y="693"/>
                        </a:lnTo>
                        <a:lnTo>
                          <a:pt x="2073" y="689"/>
                        </a:lnTo>
                        <a:lnTo>
                          <a:pt x="2055" y="697"/>
                        </a:lnTo>
                        <a:lnTo>
                          <a:pt x="2055" y="724"/>
                        </a:lnTo>
                        <a:lnTo>
                          <a:pt x="2042" y="724"/>
                        </a:lnTo>
                        <a:lnTo>
                          <a:pt x="2011" y="760"/>
                        </a:lnTo>
                        <a:lnTo>
                          <a:pt x="2006" y="742"/>
                        </a:lnTo>
                        <a:lnTo>
                          <a:pt x="2020" y="715"/>
                        </a:lnTo>
                        <a:lnTo>
                          <a:pt x="2006" y="724"/>
                        </a:lnTo>
                        <a:lnTo>
                          <a:pt x="1997" y="715"/>
                        </a:lnTo>
                        <a:lnTo>
                          <a:pt x="1961" y="729"/>
                        </a:lnTo>
                        <a:lnTo>
                          <a:pt x="1961" y="738"/>
                        </a:lnTo>
                        <a:lnTo>
                          <a:pt x="1935" y="764"/>
                        </a:lnTo>
                        <a:lnTo>
                          <a:pt x="1926" y="791"/>
                        </a:lnTo>
                        <a:lnTo>
                          <a:pt x="1939" y="791"/>
                        </a:lnTo>
                        <a:lnTo>
                          <a:pt x="1944" y="800"/>
                        </a:lnTo>
                        <a:lnTo>
                          <a:pt x="1886" y="809"/>
                        </a:lnTo>
                        <a:lnTo>
                          <a:pt x="1881" y="800"/>
                        </a:lnTo>
                        <a:lnTo>
                          <a:pt x="1899" y="796"/>
                        </a:lnTo>
                        <a:lnTo>
                          <a:pt x="1886" y="787"/>
                        </a:lnTo>
                        <a:lnTo>
                          <a:pt x="1854" y="782"/>
                        </a:lnTo>
                        <a:lnTo>
                          <a:pt x="1850" y="796"/>
                        </a:lnTo>
                        <a:lnTo>
                          <a:pt x="1760" y="796"/>
                        </a:lnTo>
                        <a:lnTo>
                          <a:pt x="1747" y="814"/>
                        </a:lnTo>
                        <a:lnTo>
                          <a:pt x="1734" y="814"/>
                        </a:lnTo>
                        <a:lnTo>
                          <a:pt x="1662" y="912"/>
                        </a:lnTo>
                        <a:lnTo>
                          <a:pt x="1671" y="916"/>
                        </a:lnTo>
                        <a:lnTo>
                          <a:pt x="1680" y="907"/>
                        </a:lnTo>
                        <a:lnTo>
                          <a:pt x="1698" y="907"/>
                        </a:lnTo>
                        <a:lnTo>
                          <a:pt x="1689" y="930"/>
                        </a:lnTo>
                        <a:lnTo>
                          <a:pt x="1689" y="939"/>
                        </a:lnTo>
                        <a:lnTo>
                          <a:pt x="1707" y="921"/>
                        </a:lnTo>
                        <a:lnTo>
                          <a:pt x="1720" y="925"/>
                        </a:lnTo>
                        <a:lnTo>
                          <a:pt x="1743" y="948"/>
                        </a:lnTo>
                        <a:lnTo>
                          <a:pt x="1743" y="983"/>
                        </a:lnTo>
                        <a:lnTo>
                          <a:pt x="1734" y="1001"/>
                        </a:lnTo>
                        <a:lnTo>
                          <a:pt x="1729" y="1064"/>
                        </a:lnTo>
                        <a:lnTo>
                          <a:pt x="1716" y="1091"/>
                        </a:lnTo>
                        <a:lnTo>
                          <a:pt x="1711" y="1091"/>
                        </a:lnTo>
                        <a:lnTo>
                          <a:pt x="1662" y="1158"/>
                        </a:lnTo>
                        <a:lnTo>
                          <a:pt x="1644" y="1176"/>
                        </a:lnTo>
                        <a:lnTo>
                          <a:pt x="1626" y="1180"/>
                        </a:lnTo>
                        <a:lnTo>
                          <a:pt x="1613" y="1180"/>
                        </a:lnTo>
                        <a:lnTo>
                          <a:pt x="1613" y="1171"/>
                        </a:lnTo>
                        <a:lnTo>
                          <a:pt x="1604" y="1180"/>
                        </a:lnTo>
                        <a:lnTo>
                          <a:pt x="1600" y="1180"/>
                        </a:lnTo>
                        <a:lnTo>
                          <a:pt x="1591" y="1185"/>
                        </a:lnTo>
                        <a:lnTo>
                          <a:pt x="1586" y="1176"/>
                        </a:lnTo>
                        <a:lnTo>
                          <a:pt x="1595" y="1167"/>
                        </a:lnTo>
                        <a:lnTo>
                          <a:pt x="1600" y="1162"/>
                        </a:lnTo>
                        <a:lnTo>
                          <a:pt x="1595" y="1140"/>
                        </a:lnTo>
                        <a:lnTo>
                          <a:pt x="1604" y="1131"/>
                        </a:lnTo>
                        <a:lnTo>
                          <a:pt x="1622" y="1131"/>
                        </a:lnTo>
                        <a:lnTo>
                          <a:pt x="1653" y="1082"/>
                        </a:lnTo>
                        <a:lnTo>
                          <a:pt x="1649" y="1068"/>
                        </a:lnTo>
                        <a:lnTo>
                          <a:pt x="1640" y="1064"/>
                        </a:lnTo>
                        <a:lnTo>
                          <a:pt x="1617" y="1082"/>
                        </a:lnTo>
                        <a:lnTo>
                          <a:pt x="1595" y="1073"/>
                        </a:lnTo>
                        <a:lnTo>
                          <a:pt x="1591" y="1055"/>
                        </a:lnTo>
                        <a:lnTo>
                          <a:pt x="1573" y="1042"/>
                        </a:lnTo>
                        <a:lnTo>
                          <a:pt x="1564" y="1042"/>
                        </a:lnTo>
                        <a:lnTo>
                          <a:pt x="1559" y="1037"/>
                        </a:lnTo>
                        <a:lnTo>
                          <a:pt x="1546" y="1037"/>
                        </a:lnTo>
                        <a:lnTo>
                          <a:pt x="1542" y="1015"/>
                        </a:lnTo>
                        <a:lnTo>
                          <a:pt x="1519" y="957"/>
                        </a:lnTo>
                        <a:lnTo>
                          <a:pt x="1492" y="943"/>
                        </a:lnTo>
                        <a:lnTo>
                          <a:pt x="1479" y="939"/>
                        </a:lnTo>
                        <a:lnTo>
                          <a:pt x="1452" y="943"/>
                        </a:lnTo>
                        <a:lnTo>
                          <a:pt x="1439" y="961"/>
                        </a:lnTo>
                        <a:lnTo>
                          <a:pt x="1439" y="966"/>
                        </a:lnTo>
                        <a:lnTo>
                          <a:pt x="1448" y="966"/>
                        </a:lnTo>
                        <a:lnTo>
                          <a:pt x="1448" y="979"/>
                        </a:lnTo>
                        <a:lnTo>
                          <a:pt x="1421" y="1015"/>
                        </a:lnTo>
                        <a:lnTo>
                          <a:pt x="1430" y="1024"/>
                        </a:lnTo>
                        <a:lnTo>
                          <a:pt x="1416" y="1028"/>
                        </a:lnTo>
                        <a:lnTo>
                          <a:pt x="1403" y="1042"/>
                        </a:lnTo>
                        <a:lnTo>
                          <a:pt x="1390" y="1033"/>
                        </a:lnTo>
                        <a:lnTo>
                          <a:pt x="1385" y="1028"/>
                        </a:lnTo>
                        <a:lnTo>
                          <a:pt x="1376" y="1028"/>
                        </a:lnTo>
                        <a:lnTo>
                          <a:pt x="1358" y="1019"/>
                        </a:lnTo>
                        <a:lnTo>
                          <a:pt x="1349" y="1024"/>
                        </a:lnTo>
                        <a:lnTo>
                          <a:pt x="1336" y="1037"/>
                        </a:lnTo>
                        <a:lnTo>
                          <a:pt x="1305" y="1046"/>
                        </a:lnTo>
                        <a:lnTo>
                          <a:pt x="1274" y="1042"/>
                        </a:lnTo>
                        <a:lnTo>
                          <a:pt x="1233" y="1019"/>
                        </a:lnTo>
                        <a:lnTo>
                          <a:pt x="1211" y="1024"/>
                        </a:lnTo>
                        <a:lnTo>
                          <a:pt x="1189" y="1019"/>
                        </a:lnTo>
                        <a:lnTo>
                          <a:pt x="1184" y="992"/>
                        </a:lnTo>
                        <a:lnTo>
                          <a:pt x="1140" y="979"/>
                        </a:lnTo>
                        <a:lnTo>
                          <a:pt x="1126" y="1001"/>
                        </a:lnTo>
                        <a:lnTo>
                          <a:pt x="1131" y="1010"/>
                        </a:lnTo>
                        <a:lnTo>
                          <a:pt x="1126" y="1033"/>
                        </a:lnTo>
                        <a:lnTo>
                          <a:pt x="1086" y="1033"/>
                        </a:lnTo>
                        <a:lnTo>
                          <a:pt x="1068" y="1015"/>
                        </a:lnTo>
                        <a:lnTo>
                          <a:pt x="1055" y="1015"/>
                        </a:lnTo>
                        <a:lnTo>
                          <a:pt x="1050" y="1010"/>
                        </a:lnTo>
                        <a:lnTo>
                          <a:pt x="1023" y="1019"/>
                        </a:lnTo>
                        <a:lnTo>
                          <a:pt x="997" y="1037"/>
                        </a:lnTo>
                        <a:lnTo>
                          <a:pt x="988" y="1037"/>
                        </a:lnTo>
                        <a:lnTo>
                          <a:pt x="983" y="1046"/>
                        </a:lnTo>
                        <a:lnTo>
                          <a:pt x="974" y="1046"/>
                        </a:lnTo>
                        <a:lnTo>
                          <a:pt x="974" y="1042"/>
                        </a:lnTo>
                        <a:lnTo>
                          <a:pt x="952" y="1037"/>
                        </a:lnTo>
                        <a:lnTo>
                          <a:pt x="943" y="1037"/>
                        </a:lnTo>
                        <a:lnTo>
                          <a:pt x="939" y="1024"/>
                        </a:lnTo>
                        <a:lnTo>
                          <a:pt x="934" y="1028"/>
                        </a:lnTo>
                        <a:lnTo>
                          <a:pt x="921" y="1010"/>
                        </a:lnTo>
                        <a:lnTo>
                          <a:pt x="912" y="1006"/>
                        </a:lnTo>
                        <a:lnTo>
                          <a:pt x="907" y="1006"/>
                        </a:lnTo>
                        <a:lnTo>
                          <a:pt x="903" y="1010"/>
                        </a:lnTo>
                        <a:lnTo>
                          <a:pt x="898" y="1015"/>
                        </a:lnTo>
                        <a:lnTo>
                          <a:pt x="889" y="1010"/>
                        </a:lnTo>
                        <a:lnTo>
                          <a:pt x="889" y="1001"/>
                        </a:lnTo>
                        <a:lnTo>
                          <a:pt x="880" y="1001"/>
                        </a:lnTo>
                        <a:lnTo>
                          <a:pt x="876" y="1006"/>
                        </a:lnTo>
                        <a:lnTo>
                          <a:pt x="872" y="1010"/>
                        </a:lnTo>
                        <a:lnTo>
                          <a:pt x="840" y="957"/>
                        </a:lnTo>
                        <a:lnTo>
                          <a:pt x="822" y="934"/>
                        </a:lnTo>
                        <a:lnTo>
                          <a:pt x="827" y="925"/>
                        </a:lnTo>
                        <a:lnTo>
                          <a:pt x="822" y="921"/>
                        </a:lnTo>
                        <a:lnTo>
                          <a:pt x="813" y="925"/>
                        </a:lnTo>
                        <a:lnTo>
                          <a:pt x="805" y="930"/>
                        </a:lnTo>
                        <a:lnTo>
                          <a:pt x="800" y="934"/>
                        </a:lnTo>
                        <a:lnTo>
                          <a:pt x="791" y="943"/>
                        </a:lnTo>
                        <a:lnTo>
                          <a:pt x="782" y="939"/>
                        </a:lnTo>
                        <a:lnTo>
                          <a:pt x="773" y="943"/>
                        </a:lnTo>
                        <a:lnTo>
                          <a:pt x="773" y="939"/>
                        </a:lnTo>
                        <a:lnTo>
                          <a:pt x="778" y="934"/>
                        </a:lnTo>
                        <a:lnTo>
                          <a:pt x="764" y="930"/>
                        </a:lnTo>
                        <a:lnTo>
                          <a:pt x="760" y="934"/>
                        </a:lnTo>
                        <a:lnTo>
                          <a:pt x="760" y="925"/>
                        </a:lnTo>
                        <a:lnTo>
                          <a:pt x="746" y="930"/>
                        </a:lnTo>
                        <a:lnTo>
                          <a:pt x="742" y="925"/>
                        </a:lnTo>
                        <a:lnTo>
                          <a:pt x="742" y="916"/>
                        </a:lnTo>
                        <a:lnTo>
                          <a:pt x="738" y="903"/>
                        </a:lnTo>
                        <a:lnTo>
                          <a:pt x="729" y="903"/>
                        </a:lnTo>
                        <a:lnTo>
                          <a:pt x="711" y="899"/>
                        </a:lnTo>
                        <a:lnTo>
                          <a:pt x="706" y="903"/>
                        </a:lnTo>
                        <a:lnTo>
                          <a:pt x="702" y="894"/>
                        </a:lnTo>
                        <a:lnTo>
                          <a:pt x="697" y="912"/>
                        </a:lnTo>
                        <a:lnTo>
                          <a:pt x="693" y="907"/>
                        </a:lnTo>
                        <a:lnTo>
                          <a:pt x="688" y="912"/>
                        </a:lnTo>
                        <a:lnTo>
                          <a:pt x="666" y="916"/>
                        </a:lnTo>
                        <a:lnTo>
                          <a:pt x="657" y="916"/>
                        </a:lnTo>
                        <a:lnTo>
                          <a:pt x="653" y="921"/>
                        </a:lnTo>
                        <a:lnTo>
                          <a:pt x="653" y="916"/>
                        </a:lnTo>
                        <a:lnTo>
                          <a:pt x="635" y="925"/>
                        </a:lnTo>
                        <a:lnTo>
                          <a:pt x="626" y="930"/>
                        </a:lnTo>
                        <a:lnTo>
                          <a:pt x="604" y="930"/>
                        </a:lnTo>
                        <a:lnTo>
                          <a:pt x="599" y="934"/>
                        </a:lnTo>
                        <a:lnTo>
                          <a:pt x="595" y="943"/>
                        </a:lnTo>
                        <a:lnTo>
                          <a:pt x="608" y="943"/>
                        </a:lnTo>
                        <a:lnTo>
                          <a:pt x="599" y="948"/>
                        </a:lnTo>
                        <a:lnTo>
                          <a:pt x="608" y="948"/>
                        </a:lnTo>
                        <a:lnTo>
                          <a:pt x="612" y="957"/>
                        </a:lnTo>
                        <a:lnTo>
                          <a:pt x="599" y="957"/>
                        </a:lnTo>
                        <a:lnTo>
                          <a:pt x="590" y="961"/>
                        </a:lnTo>
                        <a:lnTo>
                          <a:pt x="595" y="970"/>
                        </a:lnTo>
                        <a:lnTo>
                          <a:pt x="581" y="979"/>
                        </a:lnTo>
                        <a:lnTo>
                          <a:pt x="590" y="988"/>
                        </a:lnTo>
                        <a:lnTo>
                          <a:pt x="595" y="997"/>
                        </a:lnTo>
                        <a:lnTo>
                          <a:pt x="604" y="997"/>
                        </a:lnTo>
                        <a:lnTo>
                          <a:pt x="604" y="1006"/>
                        </a:lnTo>
                        <a:lnTo>
                          <a:pt x="604" y="1010"/>
                        </a:lnTo>
                        <a:lnTo>
                          <a:pt x="590" y="1015"/>
                        </a:lnTo>
                        <a:lnTo>
                          <a:pt x="581" y="1006"/>
                        </a:lnTo>
                        <a:lnTo>
                          <a:pt x="572" y="1019"/>
                        </a:lnTo>
                        <a:lnTo>
                          <a:pt x="572" y="1010"/>
                        </a:lnTo>
                        <a:lnTo>
                          <a:pt x="568" y="1006"/>
                        </a:lnTo>
                        <a:lnTo>
                          <a:pt x="563" y="1001"/>
                        </a:lnTo>
                        <a:lnTo>
                          <a:pt x="554" y="1001"/>
                        </a:lnTo>
                        <a:lnTo>
                          <a:pt x="545" y="1006"/>
                        </a:lnTo>
                        <a:lnTo>
                          <a:pt x="541" y="1001"/>
                        </a:lnTo>
                        <a:lnTo>
                          <a:pt x="532" y="1001"/>
                        </a:lnTo>
                        <a:lnTo>
                          <a:pt x="528" y="1010"/>
                        </a:lnTo>
                        <a:lnTo>
                          <a:pt x="523" y="1015"/>
                        </a:lnTo>
                        <a:lnTo>
                          <a:pt x="514" y="1010"/>
                        </a:lnTo>
                        <a:lnTo>
                          <a:pt x="510" y="1010"/>
                        </a:lnTo>
                        <a:lnTo>
                          <a:pt x="510" y="1015"/>
                        </a:lnTo>
                        <a:lnTo>
                          <a:pt x="505" y="1015"/>
                        </a:lnTo>
                        <a:lnTo>
                          <a:pt x="501" y="1010"/>
                        </a:lnTo>
                        <a:lnTo>
                          <a:pt x="496" y="997"/>
                        </a:lnTo>
                        <a:lnTo>
                          <a:pt x="483" y="992"/>
                        </a:lnTo>
                        <a:lnTo>
                          <a:pt x="478" y="997"/>
                        </a:lnTo>
                        <a:lnTo>
                          <a:pt x="474" y="988"/>
                        </a:lnTo>
                        <a:lnTo>
                          <a:pt x="465" y="992"/>
                        </a:lnTo>
                        <a:lnTo>
                          <a:pt x="461" y="997"/>
                        </a:lnTo>
                        <a:lnTo>
                          <a:pt x="461" y="992"/>
                        </a:lnTo>
                        <a:lnTo>
                          <a:pt x="456" y="988"/>
                        </a:lnTo>
                        <a:lnTo>
                          <a:pt x="452" y="997"/>
                        </a:lnTo>
                        <a:lnTo>
                          <a:pt x="434" y="1010"/>
                        </a:lnTo>
                        <a:lnTo>
                          <a:pt x="425" y="1015"/>
                        </a:lnTo>
                        <a:lnTo>
                          <a:pt x="420" y="1010"/>
                        </a:lnTo>
                        <a:lnTo>
                          <a:pt x="425" y="1028"/>
                        </a:lnTo>
                        <a:lnTo>
                          <a:pt x="420" y="1033"/>
                        </a:lnTo>
                        <a:lnTo>
                          <a:pt x="407" y="1019"/>
                        </a:lnTo>
                        <a:lnTo>
                          <a:pt x="402" y="1019"/>
                        </a:lnTo>
                        <a:lnTo>
                          <a:pt x="402" y="1033"/>
                        </a:lnTo>
                        <a:lnTo>
                          <a:pt x="398" y="1033"/>
                        </a:lnTo>
                        <a:lnTo>
                          <a:pt x="394" y="1046"/>
                        </a:lnTo>
                        <a:lnTo>
                          <a:pt x="394" y="1050"/>
                        </a:lnTo>
                        <a:lnTo>
                          <a:pt x="389" y="1064"/>
                        </a:lnTo>
                        <a:lnTo>
                          <a:pt x="398" y="1068"/>
                        </a:lnTo>
                        <a:lnTo>
                          <a:pt x="398" y="1073"/>
                        </a:lnTo>
                        <a:lnTo>
                          <a:pt x="402" y="1082"/>
                        </a:lnTo>
                        <a:lnTo>
                          <a:pt x="402" y="1073"/>
                        </a:lnTo>
                        <a:lnTo>
                          <a:pt x="411" y="1077"/>
                        </a:lnTo>
                        <a:lnTo>
                          <a:pt x="420" y="1091"/>
                        </a:lnTo>
                        <a:lnTo>
                          <a:pt x="425" y="1095"/>
                        </a:lnTo>
                        <a:lnTo>
                          <a:pt x="420" y="1095"/>
                        </a:lnTo>
                        <a:lnTo>
                          <a:pt x="416" y="1100"/>
                        </a:lnTo>
                        <a:lnTo>
                          <a:pt x="425" y="1100"/>
                        </a:lnTo>
                        <a:lnTo>
                          <a:pt x="425" y="1104"/>
                        </a:lnTo>
                        <a:lnTo>
                          <a:pt x="416" y="1118"/>
                        </a:lnTo>
                        <a:lnTo>
                          <a:pt x="402" y="1118"/>
                        </a:lnTo>
                        <a:lnTo>
                          <a:pt x="394" y="1144"/>
                        </a:lnTo>
                        <a:lnTo>
                          <a:pt x="398" y="1144"/>
                        </a:lnTo>
                        <a:lnTo>
                          <a:pt x="402" y="1158"/>
                        </a:lnTo>
                        <a:lnTo>
                          <a:pt x="407" y="1153"/>
                        </a:lnTo>
                        <a:lnTo>
                          <a:pt x="402" y="1176"/>
                        </a:lnTo>
                        <a:lnTo>
                          <a:pt x="420" y="1198"/>
                        </a:lnTo>
                        <a:lnTo>
                          <a:pt x="425" y="1202"/>
                        </a:lnTo>
                        <a:lnTo>
                          <a:pt x="416" y="1207"/>
                        </a:lnTo>
                        <a:lnTo>
                          <a:pt x="416" y="1207"/>
                        </a:lnTo>
                        <a:lnTo>
                          <a:pt x="411" y="1211"/>
                        </a:lnTo>
                        <a:lnTo>
                          <a:pt x="407" y="1211"/>
                        </a:lnTo>
                        <a:lnTo>
                          <a:pt x="398" y="1198"/>
                        </a:lnTo>
                        <a:lnTo>
                          <a:pt x="394" y="1198"/>
                        </a:lnTo>
                        <a:lnTo>
                          <a:pt x="389" y="1193"/>
                        </a:lnTo>
                        <a:lnTo>
                          <a:pt x="389" y="1193"/>
                        </a:lnTo>
                        <a:lnTo>
                          <a:pt x="380" y="1189"/>
                        </a:lnTo>
                        <a:lnTo>
                          <a:pt x="385" y="1185"/>
                        </a:lnTo>
                        <a:lnTo>
                          <a:pt x="371" y="1185"/>
                        </a:lnTo>
                        <a:lnTo>
                          <a:pt x="371" y="1180"/>
                        </a:lnTo>
                        <a:lnTo>
                          <a:pt x="362" y="1180"/>
                        </a:lnTo>
                        <a:lnTo>
                          <a:pt x="362" y="1185"/>
                        </a:lnTo>
                        <a:lnTo>
                          <a:pt x="358" y="1180"/>
                        </a:lnTo>
                        <a:lnTo>
                          <a:pt x="353" y="1185"/>
                        </a:lnTo>
                        <a:lnTo>
                          <a:pt x="349" y="1176"/>
                        </a:lnTo>
                        <a:lnTo>
                          <a:pt x="344" y="1180"/>
                        </a:lnTo>
                        <a:lnTo>
                          <a:pt x="340" y="1171"/>
                        </a:lnTo>
                        <a:lnTo>
                          <a:pt x="322" y="1171"/>
                        </a:lnTo>
                        <a:lnTo>
                          <a:pt x="313" y="1167"/>
                        </a:lnTo>
                        <a:lnTo>
                          <a:pt x="300" y="1167"/>
                        </a:lnTo>
                        <a:lnTo>
                          <a:pt x="295" y="1167"/>
                        </a:lnTo>
                        <a:lnTo>
                          <a:pt x="291" y="1167"/>
                        </a:lnTo>
                        <a:lnTo>
                          <a:pt x="255" y="1131"/>
                        </a:lnTo>
                        <a:lnTo>
                          <a:pt x="251" y="1126"/>
                        </a:lnTo>
                        <a:lnTo>
                          <a:pt x="251" y="1122"/>
                        </a:lnTo>
                        <a:lnTo>
                          <a:pt x="260" y="1122"/>
                        </a:lnTo>
                        <a:lnTo>
                          <a:pt x="264" y="1122"/>
                        </a:lnTo>
                        <a:lnTo>
                          <a:pt x="264" y="1113"/>
                        </a:lnTo>
                        <a:lnTo>
                          <a:pt x="268" y="1109"/>
                        </a:lnTo>
                        <a:lnTo>
                          <a:pt x="273" y="1109"/>
                        </a:lnTo>
                        <a:lnTo>
                          <a:pt x="268" y="1104"/>
                        </a:lnTo>
                        <a:lnTo>
                          <a:pt x="264" y="1104"/>
                        </a:lnTo>
                        <a:lnTo>
                          <a:pt x="260" y="1100"/>
                        </a:lnTo>
                        <a:lnTo>
                          <a:pt x="268" y="1095"/>
                        </a:lnTo>
                        <a:lnTo>
                          <a:pt x="273" y="1091"/>
                        </a:lnTo>
                        <a:lnTo>
                          <a:pt x="286" y="1086"/>
                        </a:lnTo>
                        <a:lnTo>
                          <a:pt x="282" y="1082"/>
                        </a:lnTo>
                        <a:lnTo>
                          <a:pt x="273" y="1086"/>
                        </a:lnTo>
                        <a:lnTo>
                          <a:pt x="282" y="1073"/>
                        </a:lnTo>
                        <a:lnTo>
                          <a:pt x="291" y="1068"/>
                        </a:lnTo>
                        <a:lnTo>
                          <a:pt x="295" y="1059"/>
                        </a:lnTo>
                        <a:lnTo>
                          <a:pt x="291" y="1055"/>
                        </a:lnTo>
                        <a:lnTo>
                          <a:pt x="295" y="1050"/>
                        </a:lnTo>
                        <a:lnTo>
                          <a:pt x="291" y="1046"/>
                        </a:lnTo>
                        <a:lnTo>
                          <a:pt x="295" y="1042"/>
                        </a:lnTo>
                        <a:lnTo>
                          <a:pt x="282" y="1033"/>
                        </a:lnTo>
                        <a:lnTo>
                          <a:pt x="277" y="1028"/>
                        </a:lnTo>
                        <a:lnTo>
                          <a:pt x="273" y="1033"/>
                        </a:lnTo>
                        <a:lnTo>
                          <a:pt x="273" y="1028"/>
                        </a:lnTo>
                        <a:lnTo>
                          <a:pt x="264" y="1028"/>
                        </a:lnTo>
                        <a:lnTo>
                          <a:pt x="264" y="1024"/>
                        </a:lnTo>
                        <a:lnTo>
                          <a:pt x="260" y="1019"/>
                        </a:lnTo>
                        <a:lnTo>
                          <a:pt x="251" y="1019"/>
                        </a:lnTo>
                        <a:lnTo>
                          <a:pt x="246" y="1024"/>
                        </a:lnTo>
                        <a:lnTo>
                          <a:pt x="242" y="1019"/>
                        </a:lnTo>
                        <a:lnTo>
                          <a:pt x="233" y="1019"/>
                        </a:lnTo>
                        <a:lnTo>
                          <a:pt x="228" y="1006"/>
                        </a:lnTo>
                        <a:lnTo>
                          <a:pt x="228" y="997"/>
                        </a:lnTo>
                        <a:lnTo>
                          <a:pt x="210" y="992"/>
                        </a:lnTo>
                        <a:lnTo>
                          <a:pt x="215" y="983"/>
                        </a:lnTo>
                        <a:lnTo>
                          <a:pt x="210" y="983"/>
                        </a:lnTo>
                        <a:lnTo>
                          <a:pt x="206" y="975"/>
                        </a:lnTo>
                        <a:lnTo>
                          <a:pt x="197" y="975"/>
                        </a:lnTo>
                        <a:lnTo>
                          <a:pt x="188" y="979"/>
                        </a:lnTo>
                        <a:lnTo>
                          <a:pt x="184" y="975"/>
                        </a:lnTo>
                        <a:lnTo>
                          <a:pt x="179" y="979"/>
                        </a:lnTo>
                        <a:lnTo>
                          <a:pt x="175" y="979"/>
                        </a:lnTo>
                        <a:lnTo>
                          <a:pt x="175" y="970"/>
                        </a:lnTo>
                        <a:lnTo>
                          <a:pt x="170" y="957"/>
                        </a:lnTo>
                        <a:lnTo>
                          <a:pt x="175" y="952"/>
                        </a:lnTo>
                        <a:lnTo>
                          <a:pt x="179" y="957"/>
                        </a:lnTo>
                        <a:lnTo>
                          <a:pt x="179" y="957"/>
                        </a:lnTo>
                        <a:lnTo>
                          <a:pt x="184" y="952"/>
                        </a:lnTo>
                        <a:lnTo>
                          <a:pt x="188" y="948"/>
                        </a:lnTo>
                        <a:lnTo>
                          <a:pt x="184" y="948"/>
                        </a:lnTo>
                        <a:lnTo>
                          <a:pt x="179" y="939"/>
                        </a:lnTo>
                        <a:lnTo>
                          <a:pt x="170" y="943"/>
                        </a:lnTo>
                        <a:lnTo>
                          <a:pt x="170" y="930"/>
                        </a:lnTo>
                        <a:lnTo>
                          <a:pt x="166" y="925"/>
                        </a:lnTo>
                        <a:lnTo>
                          <a:pt x="166" y="921"/>
                        </a:lnTo>
                        <a:lnTo>
                          <a:pt x="166" y="912"/>
                        </a:lnTo>
                        <a:lnTo>
                          <a:pt x="166" y="907"/>
                        </a:lnTo>
                        <a:lnTo>
                          <a:pt x="161" y="894"/>
                        </a:lnTo>
                        <a:lnTo>
                          <a:pt x="152" y="885"/>
                        </a:lnTo>
                        <a:lnTo>
                          <a:pt x="143" y="890"/>
                        </a:lnTo>
                        <a:lnTo>
                          <a:pt x="139" y="881"/>
                        </a:lnTo>
                        <a:lnTo>
                          <a:pt x="130" y="881"/>
                        </a:lnTo>
                        <a:lnTo>
                          <a:pt x="130" y="876"/>
                        </a:lnTo>
                        <a:lnTo>
                          <a:pt x="126" y="876"/>
                        </a:lnTo>
                        <a:lnTo>
                          <a:pt x="121" y="876"/>
                        </a:lnTo>
                        <a:lnTo>
                          <a:pt x="121" y="867"/>
                        </a:lnTo>
                        <a:lnTo>
                          <a:pt x="121" y="849"/>
                        </a:lnTo>
                        <a:lnTo>
                          <a:pt x="126" y="845"/>
                        </a:lnTo>
                        <a:lnTo>
                          <a:pt x="121" y="840"/>
                        </a:lnTo>
                        <a:lnTo>
                          <a:pt x="117" y="840"/>
                        </a:lnTo>
                        <a:close/>
                        <a:moveTo>
                          <a:pt x="157" y="724"/>
                        </a:moveTo>
                        <a:lnTo>
                          <a:pt x="166" y="715"/>
                        </a:lnTo>
                        <a:lnTo>
                          <a:pt x="175" y="724"/>
                        </a:lnTo>
                        <a:lnTo>
                          <a:pt x="184" y="724"/>
                        </a:lnTo>
                        <a:lnTo>
                          <a:pt x="188" y="733"/>
                        </a:lnTo>
                        <a:lnTo>
                          <a:pt x="197" y="747"/>
                        </a:lnTo>
                        <a:lnTo>
                          <a:pt x="188" y="751"/>
                        </a:lnTo>
                        <a:lnTo>
                          <a:pt x="188" y="764"/>
                        </a:lnTo>
                        <a:lnTo>
                          <a:pt x="184" y="760"/>
                        </a:lnTo>
                        <a:lnTo>
                          <a:pt x="175" y="760"/>
                        </a:lnTo>
                        <a:lnTo>
                          <a:pt x="175" y="769"/>
                        </a:lnTo>
                        <a:lnTo>
                          <a:pt x="170" y="769"/>
                        </a:lnTo>
                        <a:lnTo>
                          <a:pt x="157" y="738"/>
                        </a:lnTo>
                        <a:lnTo>
                          <a:pt x="152" y="742"/>
                        </a:lnTo>
                        <a:lnTo>
                          <a:pt x="148" y="733"/>
                        </a:lnTo>
                        <a:lnTo>
                          <a:pt x="157" y="733"/>
                        </a:lnTo>
                        <a:lnTo>
                          <a:pt x="157" y="724"/>
                        </a:lnTo>
                        <a:close/>
                        <a:moveTo>
                          <a:pt x="429" y="443"/>
                        </a:moveTo>
                        <a:lnTo>
                          <a:pt x="420" y="447"/>
                        </a:lnTo>
                        <a:lnTo>
                          <a:pt x="416" y="452"/>
                        </a:lnTo>
                        <a:lnTo>
                          <a:pt x="416" y="465"/>
                        </a:lnTo>
                        <a:lnTo>
                          <a:pt x="429" y="470"/>
                        </a:lnTo>
                        <a:lnTo>
                          <a:pt x="434" y="465"/>
                        </a:lnTo>
                        <a:lnTo>
                          <a:pt x="438" y="452"/>
                        </a:lnTo>
                        <a:lnTo>
                          <a:pt x="429" y="443"/>
                        </a:lnTo>
                        <a:close/>
                        <a:moveTo>
                          <a:pt x="532" y="268"/>
                        </a:moveTo>
                        <a:lnTo>
                          <a:pt x="541" y="255"/>
                        </a:lnTo>
                        <a:lnTo>
                          <a:pt x="537" y="251"/>
                        </a:lnTo>
                        <a:lnTo>
                          <a:pt x="545" y="246"/>
                        </a:lnTo>
                        <a:lnTo>
                          <a:pt x="541" y="242"/>
                        </a:lnTo>
                        <a:lnTo>
                          <a:pt x="550" y="237"/>
                        </a:lnTo>
                        <a:lnTo>
                          <a:pt x="563" y="215"/>
                        </a:lnTo>
                        <a:lnTo>
                          <a:pt x="559" y="201"/>
                        </a:lnTo>
                        <a:lnTo>
                          <a:pt x="568" y="197"/>
                        </a:lnTo>
                        <a:lnTo>
                          <a:pt x="568" y="188"/>
                        </a:lnTo>
                        <a:lnTo>
                          <a:pt x="577" y="192"/>
                        </a:lnTo>
                        <a:lnTo>
                          <a:pt x="590" y="184"/>
                        </a:lnTo>
                        <a:lnTo>
                          <a:pt x="590" y="175"/>
                        </a:lnTo>
                        <a:lnTo>
                          <a:pt x="630" y="143"/>
                        </a:lnTo>
                        <a:lnTo>
                          <a:pt x="635" y="148"/>
                        </a:lnTo>
                        <a:lnTo>
                          <a:pt x="702" y="99"/>
                        </a:lnTo>
                        <a:lnTo>
                          <a:pt x="711" y="67"/>
                        </a:lnTo>
                        <a:lnTo>
                          <a:pt x="702" y="54"/>
                        </a:lnTo>
                        <a:lnTo>
                          <a:pt x="688" y="49"/>
                        </a:lnTo>
                        <a:lnTo>
                          <a:pt x="671" y="63"/>
                        </a:lnTo>
                        <a:lnTo>
                          <a:pt x="644" y="85"/>
                        </a:lnTo>
                        <a:lnTo>
                          <a:pt x="612" y="94"/>
                        </a:lnTo>
                        <a:lnTo>
                          <a:pt x="595" y="94"/>
                        </a:lnTo>
                        <a:lnTo>
                          <a:pt x="595" y="108"/>
                        </a:lnTo>
                        <a:lnTo>
                          <a:pt x="586" y="103"/>
                        </a:lnTo>
                        <a:lnTo>
                          <a:pt x="563" y="125"/>
                        </a:lnTo>
                        <a:lnTo>
                          <a:pt x="554" y="143"/>
                        </a:lnTo>
                        <a:lnTo>
                          <a:pt x="528" y="166"/>
                        </a:lnTo>
                        <a:lnTo>
                          <a:pt x="519" y="161"/>
                        </a:lnTo>
                        <a:lnTo>
                          <a:pt x="519" y="179"/>
                        </a:lnTo>
                        <a:lnTo>
                          <a:pt x="523" y="175"/>
                        </a:lnTo>
                        <a:lnTo>
                          <a:pt x="528" y="179"/>
                        </a:lnTo>
                        <a:lnTo>
                          <a:pt x="519" y="188"/>
                        </a:lnTo>
                        <a:lnTo>
                          <a:pt x="528" y="188"/>
                        </a:lnTo>
                        <a:lnTo>
                          <a:pt x="514" y="192"/>
                        </a:lnTo>
                        <a:lnTo>
                          <a:pt x="523" y="201"/>
                        </a:lnTo>
                        <a:lnTo>
                          <a:pt x="514" y="201"/>
                        </a:lnTo>
                        <a:lnTo>
                          <a:pt x="519" y="215"/>
                        </a:lnTo>
                        <a:lnTo>
                          <a:pt x="510" y="215"/>
                        </a:lnTo>
                        <a:lnTo>
                          <a:pt x="505" y="219"/>
                        </a:lnTo>
                        <a:lnTo>
                          <a:pt x="505" y="224"/>
                        </a:lnTo>
                        <a:lnTo>
                          <a:pt x="487" y="237"/>
                        </a:lnTo>
                        <a:lnTo>
                          <a:pt x="496" y="246"/>
                        </a:lnTo>
                        <a:lnTo>
                          <a:pt x="514" y="242"/>
                        </a:lnTo>
                        <a:lnTo>
                          <a:pt x="496" y="260"/>
                        </a:lnTo>
                        <a:lnTo>
                          <a:pt x="501" y="260"/>
                        </a:lnTo>
                        <a:lnTo>
                          <a:pt x="514" y="255"/>
                        </a:lnTo>
                        <a:lnTo>
                          <a:pt x="528" y="264"/>
                        </a:lnTo>
                        <a:lnTo>
                          <a:pt x="532" y="268"/>
                        </a:lnTo>
                        <a:close/>
                        <a:moveTo>
                          <a:pt x="550" y="385"/>
                        </a:moveTo>
                        <a:lnTo>
                          <a:pt x="537" y="376"/>
                        </a:lnTo>
                        <a:lnTo>
                          <a:pt x="519" y="349"/>
                        </a:lnTo>
                        <a:lnTo>
                          <a:pt x="519" y="327"/>
                        </a:lnTo>
                        <a:lnTo>
                          <a:pt x="523" y="300"/>
                        </a:lnTo>
                        <a:lnTo>
                          <a:pt x="528" y="268"/>
                        </a:lnTo>
                        <a:lnTo>
                          <a:pt x="510" y="260"/>
                        </a:lnTo>
                        <a:lnTo>
                          <a:pt x="501" y="264"/>
                        </a:lnTo>
                        <a:lnTo>
                          <a:pt x="487" y="268"/>
                        </a:lnTo>
                        <a:lnTo>
                          <a:pt x="483" y="282"/>
                        </a:lnTo>
                        <a:lnTo>
                          <a:pt x="478" y="282"/>
                        </a:lnTo>
                        <a:lnTo>
                          <a:pt x="470" y="291"/>
                        </a:lnTo>
                        <a:lnTo>
                          <a:pt x="474" y="295"/>
                        </a:lnTo>
                        <a:lnTo>
                          <a:pt x="470" y="322"/>
                        </a:lnTo>
                        <a:lnTo>
                          <a:pt x="461" y="322"/>
                        </a:lnTo>
                        <a:lnTo>
                          <a:pt x="456" y="335"/>
                        </a:lnTo>
                        <a:lnTo>
                          <a:pt x="461" y="344"/>
                        </a:lnTo>
                        <a:lnTo>
                          <a:pt x="465" y="349"/>
                        </a:lnTo>
                        <a:lnTo>
                          <a:pt x="483" y="353"/>
                        </a:lnTo>
                        <a:lnTo>
                          <a:pt x="487" y="358"/>
                        </a:lnTo>
                        <a:lnTo>
                          <a:pt x="474" y="358"/>
                        </a:lnTo>
                        <a:lnTo>
                          <a:pt x="474" y="362"/>
                        </a:lnTo>
                        <a:lnTo>
                          <a:pt x="478" y="362"/>
                        </a:lnTo>
                        <a:lnTo>
                          <a:pt x="483" y="380"/>
                        </a:lnTo>
                        <a:lnTo>
                          <a:pt x="483" y="367"/>
                        </a:lnTo>
                        <a:lnTo>
                          <a:pt x="492" y="367"/>
                        </a:lnTo>
                        <a:lnTo>
                          <a:pt x="501" y="371"/>
                        </a:lnTo>
                        <a:lnTo>
                          <a:pt x="492" y="376"/>
                        </a:lnTo>
                        <a:lnTo>
                          <a:pt x="487" y="389"/>
                        </a:lnTo>
                        <a:lnTo>
                          <a:pt x="501" y="398"/>
                        </a:lnTo>
                        <a:lnTo>
                          <a:pt x="514" y="403"/>
                        </a:lnTo>
                        <a:lnTo>
                          <a:pt x="519" y="394"/>
                        </a:lnTo>
                        <a:lnTo>
                          <a:pt x="532" y="398"/>
                        </a:lnTo>
                        <a:lnTo>
                          <a:pt x="528" y="385"/>
                        </a:lnTo>
                        <a:lnTo>
                          <a:pt x="541" y="394"/>
                        </a:lnTo>
                        <a:lnTo>
                          <a:pt x="550" y="385"/>
                        </a:lnTo>
                        <a:close/>
                        <a:moveTo>
                          <a:pt x="729" y="255"/>
                        </a:moveTo>
                        <a:lnTo>
                          <a:pt x="729" y="277"/>
                        </a:lnTo>
                        <a:lnTo>
                          <a:pt x="733" y="277"/>
                        </a:lnTo>
                        <a:lnTo>
                          <a:pt x="751" y="268"/>
                        </a:lnTo>
                        <a:lnTo>
                          <a:pt x="751" y="260"/>
                        </a:lnTo>
                        <a:lnTo>
                          <a:pt x="738" y="251"/>
                        </a:lnTo>
                        <a:lnTo>
                          <a:pt x="729" y="255"/>
                        </a:lnTo>
                        <a:close/>
                        <a:moveTo>
                          <a:pt x="1224" y="979"/>
                        </a:moveTo>
                        <a:lnTo>
                          <a:pt x="1229" y="979"/>
                        </a:lnTo>
                        <a:lnTo>
                          <a:pt x="1256" y="957"/>
                        </a:lnTo>
                        <a:lnTo>
                          <a:pt x="1265" y="948"/>
                        </a:lnTo>
                        <a:lnTo>
                          <a:pt x="1260" y="943"/>
                        </a:lnTo>
                        <a:lnTo>
                          <a:pt x="1278" y="921"/>
                        </a:lnTo>
                        <a:lnTo>
                          <a:pt x="1282" y="912"/>
                        </a:lnTo>
                        <a:lnTo>
                          <a:pt x="1282" y="894"/>
                        </a:lnTo>
                        <a:lnTo>
                          <a:pt x="1291" y="885"/>
                        </a:lnTo>
                        <a:lnTo>
                          <a:pt x="1296" y="890"/>
                        </a:lnTo>
                        <a:lnTo>
                          <a:pt x="1287" y="925"/>
                        </a:lnTo>
                        <a:lnTo>
                          <a:pt x="1291" y="930"/>
                        </a:lnTo>
                        <a:lnTo>
                          <a:pt x="1287" y="939"/>
                        </a:lnTo>
                        <a:lnTo>
                          <a:pt x="1282" y="934"/>
                        </a:lnTo>
                        <a:lnTo>
                          <a:pt x="1278" y="939"/>
                        </a:lnTo>
                        <a:lnTo>
                          <a:pt x="1278" y="943"/>
                        </a:lnTo>
                        <a:lnTo>
                          <a:pt x="1265" y="961"/>
                        </a:lnTo>
                        <a:lnTo>
                          <a:pt x="1256" y="970"/>
                        </a:lnTo>
                        <a:lnTo>
                          <a:pt x="1251" y="979"/>
                        </a:lnTo>
                        <a:lnTo>
                          <a:pt x="1247" y="975"/>
                        </a:lnTo>
                        <a:lnTo>
                          <a:pt x="1238" y="988"/>
                        </a:lnTo>
                        <a:lnTo>
                          <a:pt x="1224" y="992"/>
                        </a:lnTo>
                        <a:lnTo>
                          <a:pt x="1207" y="988"/>
                        </a:lnTo>
                        <a:lnTo>
                          <a:pt x="1220" y="983"/>
                        </a:lnTo>
                        <a:lnTo>
                          <a:pt x="1224" y="979"/>
                        </a:lnTo>
                        <a:close/>
                        <a:moveTo>
                          <a:pt x="1716" y="108"/>
                        </a:moveTo>
                        <a:lnTo>
                          <a:pt x="1693" y="121"/>
                        </a:lnTo>
                        <a:lnTo>
                          <a:pt x="1680" y="139"/>
                        </a:lnTo>
                        <a:lnTo>
                          <a:pt x="1676" y="166"/>
                        </a:lnTo>
                        <a:lnTo>
                          <a:pt x="1680" y="179"/>
                        </a:lnTo>
                        <a:lnTo>
                          <a:pt x="1698" y="192"/>
                        </a:lnTo>
                        <a:lnTo>
                          <a:pt x="1716" y="201"/>
                        </a:lnTo>
                        <a:lnTo>
                          <a:pt x="1725" y="188"/>
                        </a:lnTo>
                        <a:lnTo>
                          <a:pt x="1729" y="197"/>
                        </a:lnTo>
                        <a:lnTo>
                          <a:pt x="1738" y="192"/>
                        </a:lnTo>
                        <a:lnTo>
                          <a:pt x="1747" y="184"/>
                        </a:lnTo>
                        <a:lnTo>
                          <a:pt x="1751" y="188"/>
                        </a:lnTo>
                        <a:lnTo>
                          <a:pt x="1760" y="184"/>
                        </a:lnTo>
                        <a:lnTo>
                          <a:pt x="1765" y="188"/>
                        </a:lnTo>
                        <a:lnTo>
                          <a:pt x="1769" y="184"/>
                        </a:lnTo>
                        <a:lnTo>
                          <a:pt x="1760" y="179"/>
                        </a:lnTo>
                        <a:lnTo>
                          <a:pt x="1756" y="166"/>
                        </a:lnTo>
                        <a:lnTo>
                          <a:pt x="1756" y="148"/>
                        </a:lnTo>
                        <a:lnTo>
                          <a:pt x="1760" y="130"/>
                        </a:lnTo>
                        <a:lnTo>
                          <a:pt x="1765" y="139"/>
                        </a:lnTo>
                        <a:lnTo>
                          <a:pt x="1760" y="152"/>
                        </a:lnTo>
                        <a:lnTo>
                          <a:pt x="1765" y="175"/>
                        </a:lnTo>
                        <a:lnTo>
                          <a:pt x="1774" y="179"/>
                        </a:lnTo>
                        <a:lnTo>
                          <a:pt x="1783" y="175"/>
                        </a:lnTo>
                        <a:lnTo>
                          <a:pt x="1792" y="161"/>
                        </a:lnTo>
                        <a:lnTo>
                          <a:pt x="1787" y="148"/>
                        </a:lnTo>
                        <a:lnTo>
                          <a:pt x="1796" y="139"/>
                        </a:lnTo>
                        <a:lnTo>
                          <a:pt x="1765" y="121"/>
                        </a:lnTo>
                        <a:lnTo>
                          <a:pt x="1747" y="103"/>
                        </a:lnTo>
                        <a:lnTo>
                          <a:pt x="1738" y="121"/>
                        </a:lnTo>
                        <a:lnTo>
                          <a:pt x="1734" y="134"/>
                        </a:lnTo>
                        <a:lnTo>
                          <a:pt x="1729" y="134"/>
                        </a:lnTo>
                        <a:lnTo>
                          <a:pt x="1716" y="108"/>
                        </a:lnTo>
                        <a:close/>
                        <a:moveTo>
                          <a:pt x="1729" y="219"/>
                        </a:moveTo>
                        <a:lnTo>
                          <a:pt x="1729" y="237"/>
                        </a:lnTo>
                        <a:lnTo>
                          <a:pt x="1734" y="242"/>
                        </a:lnTo>
                        <a:lnTo>
                          <a:pt x="1738" y="233"/>
                        </a:lnTo>
                        <a:lnTo>
                          <a:pt x="1738" y="224"/>
                        </a:lnTo>
                        <a:lnTo>
                          <a:pt x="1729" y="219"/>
                        </a:lnTo>
                        <a:close/>
                        <a:moveTo>
                          <a:pt x="1738" y="242"/>
                        </a:moveTo>
                        <a:lnTo>
                          <a:pt x="1734" y="255"/>
                        </a:lnTo>
                        <a:lnTo>
                          <a:pt x="1720" y="260"/>
                        </a:lnTo>
                        <a:lnTo>
                          <a:pt x="1720" y="264"/>
                        </a:lnTo>
                        <a:lnTo>
                          <a:pt x="1734" y="264"/>
                        </a:lnTo>
                        <a:lnTo>
                          <a:pt x="1774" y="268"/>
                        </a:lnTo>
                        <a:lnTo>
                          <a:pt x="1774" y="251"/>
                        </a:lnTo>
                        <a:lnTo>
                          <a:pt x="1760" y="246"/>
                        </a:lnTo>
                        <a:lnTo>
                          <a:pt x="1760" y="242"/>
                        </a:lnTo>
                        <a:lnTo>
                          <a:pt x="1751" y="237"/>
                        </a:lnTo>
                        <a:lnTo>
                          <a:pt x="1738" y="242"/>
                        </a:lnTo>
                        <a:close/>
                        <a:moveTo>
                          <a:pt x="1765" y="921"/>
                        </a:moveTo>
                        <a:lnTo>
                          <a:pt x="1756" y="921"/>
                        </a:lnTo>
                        <a:lnTo>
                          <a:pt x="1756" y="939"/>
                        </a:lnTo>
                        <a:lnTo>
                          <a:pt x="1747" y="948"/>
                        </a:lnTo>
                        <a:lnTo>
                          <a:pt x="1747" y="988"/>
                        </a:lnTo>
                        <a:lnTo>
                          <a:pt x="1751" y="1006"/>
                        </a:lnTo>
                        <a:lnTo>
                          <a:pt x="1747" y="1055"/>
                        </a:lnTo>
                        <a:lnTo>
                          <a:pt x="1756" y="1068"/>
                        </a:lnTo>
                        <a:lnTo>
                          <a:pt x="1747" y="1082"/>
                        </a:lnTo>
                        <a:lnTo>
                          <a:pt x="1751" y="1091"/>
                        </a:lnTo>
                        <a:lnTo>
                          <a:pt x="1747" y="1104"/>
                        </a:lnTo>
                        <a:lnTo>
                          <a:pt x="1751" y="1118"/>
                        </a:lnTo>
                        <a:lnTo>
                          <a:pt x="1760" y="1100"/>
                        </a:lnTo>
                        <a:lnTo>
                          <a:pt x="1769" y="1104"/>
                        </a:lnTo>
                        <a:lnTo>
                          <a:pt x="1774" y="1113"/>
                        </a:lnTo>
                        <a:lnTo>
                          <a:pt x="1774" y="1095"/>
                        </a:lnTo>
                        <a:lnTo>
                          <a:pt x="1760" y="1077"/>
                        </a:lnTo>
                        <a:lnTo>
                          <a:pt x="1769" y="1046"/>
                        </a:lnTo>
                        <a:lnTo>
                          <a:pt x="1783" y="1046"/>
                        </a:lnTo>
                        <a:lnTo>
                          <a:pt x="1792" y="1055"/>
                        </a:lnTo>
                        <a:lnTo>
                          <a:pt x="1792" y="1055"/>
                        </a:lnTo>
                        <a:lnTo>
                          <a:pt x="1787" y="1046"/>
                        </a:lnTo>
                        <a:lnTo>
                          <a:pt x="1778" y="1019"/>
                        </a:lnTo>
                        <a:lnTo>
                          <a:pt x="1769" y="952"/>
                        </a:lnTo>
                        <a:lnTo>
                          <a:pt x="1765" y="921"/>
                        </a:lnTo>
                        <a:close/>
                        <a:moveTo>
                          <a:pt x="1805" y="1158"/>
                        </a:moveTo>
                        <a:lnTo>
                          <a:pt x="1805" y="1162"/>
                        </a:lnTo>
                        <a:lnTo>
                          <a:pt x="1819" y="1144"/>
                        </a:lnTo>
                        <a:lnTo>
                          <a:pt x="1814" y="1144"/>
                        </a:lnTo>
                        <a:lnTo>
                          <a:pt x="1805" y="1158"/>
                        </a:lnTo>
                        <a:close/>
                        <a:moveTo>
                          <a:pt x="1850" y="1118"/>
                        </a:moveTo>
                        <a:lnTo>
                          <a:pt x="1841" y="1126"/>
                        </a:lnTo>
                        <a:lnTo>
                          <a:pt x="1836" y="1122"/>
                        </a:lnTo>
                        <a:lnTo>
                          <a:pt x="1827" y="1131"/>
                        </a:lnTo>
                        <a:lnTo>
                          <a:pt x="1823" y="1140"/>
                        </a:lnTo>
                        <a:lnTo>
                          <a:pt x="1819" y="1144"/>
                        </a:lnTo>
                        <a:lnTo>
                          <a:pt x="1823" y="1144"/>
                        </a:lnTo>
                        <a:lnTo>
                          <a:pt x="1836" y="1135"/>
                        </a:lnTo>
                        <a:lnTo>
                          <a:pt x="1850" y="1126"/>
                        </a:lnTo>
                        <a:lnTo>
                          <a:pt x="1850" y="1118"/>
                        </a:lnTo>
                        <a:close/>
                        <a:moveTo>
                          <a:pt x="1854" y="161"/>
                        </a:moveTo>
                        <a:lnTo>
                          <a:pt x="1850" y="166"/>
                        </a:lnTo>
                        <a:lnTo>
                          <a:pt x="1845" y="166"/>
                        </a:lnTo>
                        <a:lnTo>
                          <a:pt x="1850" y="152"/>
                        </a:lnTo>
                        <a:lnTo>
                          <a:pt x="1832" y="152"/>
                        </a:lnTo>
                        <a:lnTo>
                          <a:pt x="1827" y="157"/>
                        </a:lnTo>
                        <a:lnTo>
                          <a:pt x="1819" y="157"/>
                        </a:lnTo>
                        <a:lnTo>
                          <a:pt x="1823" y="143"/>
                        </a:lnTo>
                        <a:lnTo>
                          <a:pt x="1814" y="143"/>
                        </a:lnTo>
                        <a:lnTo>
                          <a:pt x="1814" y="157"/>
                        </a:lnTo>
                        <a:lnTo>
                          <a:pt x="1810" y="161"/>
                        </a:lnTo>
                        <a:lnTo>
                          <a:pt x="1810" y="170"/>
                        </a:lnTo>
                        <a:lnTo>
                          <a:pt x="1823" y="184"/>
                        </a:lnTo>
                        <a:lnTo>
                          <a:pt x="1832" y="188"/>
                        </a:lnTo>
                        <a:lnTo>
                          <a:pt x="1841" y="197"/>
                        </a:lnTo>
                        <a:lnTo>
                          <a:pt x="1863" y="197"/>
                        </a:lnTo>
                        <a:lnTo>
                          <a:pt x="1868" y="192"/>
                        </a:lnTo>
                        <a:lnTo>
                          <a:pt x="1877" y="188"/>
                        </a:lnTo>
                        <a:lnTo>
                          <a:pt x="1872" y="184"/>
                        </a:lnTo>
                        <a:lnTo>
                          <a:pt x="1877" y="175"/>
                        </a:lnTo>
                        <a:lnTo>
                          <a:pt x="1872" y="175"/>
                        </a:lnTo>
                        <a:lnTo>
                          <a:pt x="1868" y="175"/>
                        </a:lnTo>
                        <a:lnTo>
                          <a:pt x="1868" y="170"/>
                        </a:lnTo>
                        <a:lnTo>
                          <a:pt x="1854" y="161"/>
                        </a:lnTo>
                        <a:close/>
                        <a:moveTo>
                          <a:pt x="1877" y="1109"/>
                        </a:moveTo>
                        <a:lnTo>
                          <a:pt x="1872" y="1109"/>
                        </a:lnTo>
                        <a:lnTo>
                          <a:pt x="1859" y="1122"/>
                        </a:lnTo>
                        <a:lnTo>
                          <a:pt x="1863" y="1126"/>
                        </a:lnTo>
                        <a:lnTo>
                          <a:pt x="1877" y="1109"/>
                        </a:lnTo>
                        <a:close/>
                        <a:moveTo>
                          <a:pt x="1899" y="1086"/>
                        </a:moveTo>
                        <a:lnTo>
                          <a:pt x="1903" y="1086"/>
                        </a:lnTo>
                        <a:lnTo>
                          <a:pt x="1899" y="1082"/>
                        </a:lnTo>
                        <a:lnTo>
                          <a:pt x="1890" y="1091"/>
                        </a:lnTo>
                        <a:lnTo>
                          <a:pt x="1890" y="1100"/>
                        </a:lnTo>
                        <a:lnTo>
                          <a:pt x="1899" y="1091"/>
                        </a:lnTo>
                        <a:lnTo>
                          <a:pt x="1899" y="1086"/>
                        </a:lnTo>
                        <a:close/>
                        <a:moveTo>
                          <a:pt x="1935" y="1037"/>
                        </a:moveTo>
                        <a:lnTo>
                          <a:pt x="1930" y="1042"/>
                        </a:lnTo>
                        <a:lnTo>
                          <a:pt x="1935" y="1046"/>
                        </a:lnTo>
                        <a:lnTo>
                          <a:pt x="1939" y="1037"/>
                        </a:lnTo>
                        <a:lnTo>
                          <a:pt x="1935" y="1037"/>
                        </a:lnTo>
                        <a:close/>
                        <a:moveTo>
                          <a:pt x="1957" y="1015"/>
                        </a:moveTo>
                        <a:lnTo>
                          <a:pt x="1957" y="1019"/>
                        </a:lnTo>
                        <a:lnTo>
                          <a:pt x="1961" y="1015"/>
                        </a:lnTo>
                        <a:lnTo>
                          <a:pt x="1957" y="1010"/>
                        </a:lnTo>
                        <a:lnTo>
                          <a:pt x="1953" y="1015"/>
                        </a:lnTo>
                        <a:lnTo>
                          <a:pt x="1957" y="1015"/>
                        </a:lnTo>
                        <a:lnTo>
                          <a:pt x="1953" y="1015"/>
                        </a:lnTo>
                        <a:lnTo>
                          <a:pt x="1948" y="1024"/>
                        </a:lnTo>
                        <a:lnTo>
                          <a:pt x="1944" y="1024"/>
                        </a:lnTo>
                        <a:lnTo>
                          <a:pt x="1944" y="1033"/>
                        </a:lnTo>
                        <a:lnTo>
                          <a:pt x="1948" y="1028"/>
                        </a:lnTo>
                        <a:lnTo>
                          <a:pt x="1957" y="1019"/>
                        </a:lnTo>
                        <a:lnTo>
                          <a:pt x="1957" y="1015"/>
                        </a:lnTo>
                        <a:close/>
                        <a:moveTo>
                          <a:pt x="2064" y="800"/>
                        </a:moveTo>
                        <a:lnTo>
                          <a:pt x="2060" y="809"/>
                        </a:lnTo>
                        <a:lnTo>
                          <a:pt x="2055" y="818"/>
                        </a:lnTo>
                        <a:lnTo>
                          <a:pt x="2060" y="823"/>
                        </a:lnTo>
                        <a:lnTo>
                          <a:pt x="2078" y="805"/>
                        </a:lnTo>
                        <a:lnTo>
                          <a:pt x="2073" y="796"/>
                        </a:lnTo>
                        <a:lnTo>
                          <a:pt x="2069" y="796"/>
                        </a:lnTo>
                        <a:lnTo>
                          <a:pt x="2069" y="800"/>
                        </a:lnTo>
                        <a:lnTo>
                          <a:pt x="2064" y="800"/>
                        </a:lnTo>
                        <a:close/>
                        <a:moveTo>
                          <a:pt x="2100" y="903"/>
                        </a:moveTo>
                        <a:lnTo>
                          <a:pt x="2091" y="903"/>
                        </a:lnTo>
                        <a:lnTo>
                          <a:pt x="2095" y="907"/>
                        </a:lnTo>
                        <a:lnTo>
                          <a:pt x="2104" y="921"/>
                        </a:lnTo>
                        <a:lnTo>
                          <a:pt x="2104" y="912"/>
                        </a:lnTo>
                        <a:lnTo>
                          <a:pt x="2100" y="903"/>
                        </a:lnTo>
                        <a:close/>
                        <a:moveTo>
                          <a:pt x="2274" y="371"/>
                        </a:moveTo>
                        <a:lnTo>
                          <a:pt x="2279" y="385"/>
                        </a:lnTo>
                        <a:lnTo>
                          <a:pt x="2288" y="380"/>
                        </a:lnTo>
                        <a:lnTo>
                          <a:pt x="2292" y="380"/>
                        </a:lnTo>
                        <a:lnTo>
                          <a:pt x="2301" y="376"/>
                        </a:lnTo>
                        <a:lnTo>
                          <a:pt x="2305" y="380"/>
                        </a:lnTo>
                        <a:lnTo>
                          <a:pt x="2319" y="380"/>
                        </a:lnTo>
                        <a:lnTo>
                          <a:pt x="2337" y="367"/>
                        </a:lnTo>
                        <a:lnTo>
                          <a:pt x="2328" y="353"/>
                        </a:lnTo>
                        <a:lnTo>
                          <a:pt x="2305" y="349"/>
                        </a:lnTo>
                        <a:lnTo>
                          <a:pt x="2296" y="349"/>
                        </a:lnTo>
                        <a:lnTo>
                          <a:pt x="2274" y="37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53" name="Freeform 150"/>
                  <p:cNvSpPr>
                    <a:spLocks/>
                  </p:cNvSpPr>
                  <p:nvPr/>
                </p:nvSpPr>
                <p:spPr bwMode="gray">
                  <a:xfrm>
                    <a:off x="3174" y="2288"/>
                    <a:ext cx="326" cy="268"/>
                  </a:xfrm>
                  <a:custGeom>
                    <a:avLst/>
                    <a:gdLst>
                      <a:gd name="T0" fmla="*/ 9 w 326"/>
                      <a:gd name="T1" fmla="*/ 49 h 268"/>
                      <a:gd name="T2" fmla="*/ 31 w 326"/>
                      <a:gd name="T3" fmla="*/ 49 h 268"/>
                      <a:gd name="T4" fmla="*/ 36 w 326"/>
                      <a:gd name="T5" fmla="*/ 40 h 268"/>
                      <a:gd name="T6" fmla="*/ 49 w 326"/>
                      <a:gd name="T7" fmla="*/ 31 h 268"/>
                      <a:gd name="T8" fmla="*/ 45 w 326"/>
                      <a:gd name="T9" fmla="*/ 13 h 268"/>
                      <a:gd name="T10" fmla="*/ 71 w 326"/>
                      <a:gd name="T11" fmla="*/ 0 h 268"/>
                      <a:gd name="T12" fmla="*/ 94 w 326"/>
                      <a:gd name="T13" fmla="*/ 4 h 268"/>
                      <a:gd name="T14" fmla="*/ 125 w 326"/>
                      <a:gd name="T15" fmla="*/ 27 h 268"/>
                      <a:gd name="T16" fmla="*/ 125 w 326"/>
                      <a:gd name="T17" fmla="*/ 35 h 268"/>
                      <a:gd name="T18" fmla="*/ 134 w 326"/>
                      <a:gd name="T19" fmla="*/ 35 h 268"/>
                      <a:gd name="T20" fmla="*/ 134 w 326"/>
                      <a:gd name="T21" fmla="*/ 49 h 268"/>
                      <a:gd name="T22" fmla="*/ 147 w 326"/>
                      <a:gd name="T23" fmla="*/ 53 h 268"/>
                      <a:gd name="T24" fmla="*/ 174 w 326"/>
                      <a:gd name="T25" fmla="*/ 53 h 268"/>
                      <a:gd name="T26" fmla="*/ 187 w 326"/>
                      <a:gd name="T27" fmla="*/ 58 h 268"/>
                      <a:gd name="T28" fmla="*/ 192 w 326"/>
                      <a:gd name="T29" fmla="*/ 62 h 268"/>
                      <a:gd name="T30" fmla="*/ 205 w 326"/>
                      <a:gd name="T31" fmla="*/ 58 h 268"/>
                      <a:gd name="T32" fmla="*/ 214 w 326"/>
                      <a:gd name="T33" fmla="*/ 71 h 268"/>
                      <a:gd name="T34" fmla="*/ 214 w 326"/>
                      <a:gd name="T35" fmla="*/ 80 h 268"/>
                      <a:gd name="T36" fmla="*/ 228 w 326"/>
                      <a:gd name="T37" fmla="*/ 89 h 268"/>
                      <a:gd name="T38" fmla="*/ 228 w 326"/>
                      <a:gd name="T39" fmla="*/ 102 h 268"/>
                      <a:gd name="T40" fmla="*/ 237 w 326"/>
                      <a:gd name="T41" fmla="*/ 116 h 268"/>
                      <a:gd name="T42" fmla="*/ 246 w 326"/>
                      <a:gd name="T43" fmla="*/ 143 h 268"/>
                      <a:gd name="T44" fmla="*/ 259 w 326"/>
                      <a:gd name="T45" fmla="*/ 152 h 268"/>
                      <a:gd name="T46" fmla="*/ 281 w 326"/>
                      <a:gd name="T47" fmla="*/ 143 h 268"/>
                      <a:gd name="T48" fmla="*/ 299 w 326"/>
                      <a:gd name="T49" fmla="*/ 134 h 268"/>
                      <a:gd name="T50" fmla="*/ 299 w 326"/>
                      <a:gd name="T51" fmla="*/ 161 h 268"/>
                      <a:gd name="T52" fmla="*/ 308 w 326"/>
                      <a:gd name="T53" fmla="*/ 156 h 268"/>
                      <a:gd name="T54" fmla="*/ 322 w 326"/>
                      <a:gd name="T55" fmla="*/ 161 h 268"/>
                      <a:gd name="T56" fmla="*/ 326 w 326"/>
                      <a:gd name="T57" fmla="*/ 183 h 268"/>
                      <a:gd name="T58" fmla="*/ 322 w 326"/>
                      <a:gd name="T59" fmla="*/ 196 h 268"/>
                      <a:gd name="T60" fmla="*/ 308 w 326"/>
                      <a:gd name="T61" fmla="*/ 201 h 268"/>
                      <a:gd name="T62" fmla="*/ 268 w 326"/>
                      <a:gd name="T63" fmla="*/ 223 h 268"/>
                      <a:gd name="T64" fmla="*/ 255 w 326"/>
                      <a:gd name="T65" fmla="*/ 237 h 268"/>
                      <a:gd name="T66" fmla="*/ 232 w 326"/>
                      <a:gd name="T67" fmla="*/ 241 h 268"/>
                      <a:gd name="T68" fmla="*/ 161 w 326"/>
                      <a:gd name="T69" fmla="*/ 268 h 268"/>
                      <a:gd name="T70" fmla="*/ 165 w 326"/>
                      <a:gd name="T71" fmla="*/ 245 h 268"/>
                      <a:gd name="T72" fmla="*/ 134 w 326"/>
                      <a:gd name="T73" fmla="*/ 237 h 268"/>
                      <a:gd name="T74" fmla="*/ 129 w 326"/>
                      <a:gd name="T75" fmla="*/ 250 h 268"/>
                      <a:gd name="T76" fmla="*/ 125 w 326"/>
                      <a:gd name="T77" fmla="*/ 250 h 268"/>
                      <a:gd name="T78" fmla="*/ 120 w 326"/>
                      <a:gd name="T79" fmla="*/ 245 h 268"/>
                      <a:gd name="T80" fmla="*/ 120 w 326"/>
                      <a:gd name="T81" fmla="*/ 245 h 268"/>
                      <a:gd name="T82" fmla="*/ 94 w 326"/>
                      <a:gd name="T83" fmla="*/ 205 h 268"/>
                      <a:gd name="T84" fmla="*/ 89 w 326"/>
                      <a:gd name="T85" fmla="*/ 196 h 268"/>
                      <a:gd name="T86" fmla="*/ 80 w 326"/>
                      <a:gd name="T87" fmla="*/ 192 h 268"/>
                      <a:gd name="T88" fmla="*/ 67 w 326"/>
                      <a:gd name="T89" fmla="*/ 178 h 268"/>
                      <a:gd name="T90" fmla="*/ 67 w 326"/>
                      <a:gd name="T91" fmla="*/ 170 h 268"/>
                      <a:gd name="T92" fmla="*/ 62 w 326"/>
                      <a:gd name="T93" fmla="*/ 165 h 268"/>
                      <a:gd name="T94" fmla="*/ 62 w 326"/>
                      <a:gd name="T95" fmla="*/ 161 h 268"/>
                      <a:gd name="T96" fmla="*/ 67 w 326"/>
                      <a:gd name="T97" fmla="*/ 165 h 268"/>
                      <a:gd name="T98" fmla="*/ 67 w 326"/>
                      <a:gd name="T99" fmla="*/ 156 h 268"/>
                      <a:gd name="T100" fmla="*/ 62 w 326"/>
                      <a:gd name="T101" fmla="*/ 152 h 268"/>
                      <a:gd name="T102" fmla="*/ 58 w 326"/>
                      <a:gd name="T103" fmla="*/ 138 h 268"/>
                      <a:gd name="T104" fmla="*/ 49 w 326"/>
                      <a:gd name="T105" fmla="*/ 129 h 268"/>
                      <a:gd name="T106" fmla="*/ 40 w 326"/>
                      <a:gd name="T107" fmla="*/ 125 h 268"/>
                      <a:gd name="T108" fmla="*/ 36 w 326"/>
                      <a:gd name="T109" fmla="*/ 116 h 268"/>
                      <a:gd name="T110" fmla="*/ 40 w 326"/>
                      <a:gd name="T111" fmla="*/ 116 h 268"/>
                      <a:gd name="T112" fmla="*/ 36 w 326"/>
                      <a:gd name="T113" fmla="*/ 107 h 268"/>
                      <a:gd name="T114" fmla="*/ 27 w 326"/>
                      <a:gd name="T115" fmla="*/ 98 h 268"/>
                      <a:gd name="T116" fmla="*/ 9 w 326"/>
                      <a:gd name="T117" fmla="*/ 67 h 268"/>
                      <a:gd name="T118" fmla="*/ 0 w 326"/>
                      <a:gd name="T119" fmla="*/ 67 h 268"/>
                      <a:gd name="T120" fmla="*/ 0 w 326"/>
                      <a:gd name="T121" fmla="*/ 62 h 268"/>
                      <a:gd name="T122" fmla="*/ 9 w 326"/>
                      <a:gd name="T123" fmla="*/ 4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6" h="268">
                        <a:moveTo>
                          <a:pt x="9" y="49"/>
                        </a:moveTo>
                        <a:lnTo>
                          <a:pt x="31" y="49"/>
                        </a:lnTo>
                        <a:lnTo>
                          <a:pt x="36" y="40"/>
                        </a:lnTo>
                        <a:lnTo>
                          <a:pt x="49" y="31"/>
                        </a:lnTo>
                        <a:lnTo>
                          <a:pt x="45" y="13"/>
                        </a:lnTo>
                        <a:lnTo>
                          <a:pt x="71" y="0"/>
                        </a:lnTo>
                        <a:lnTo>
                          <a:pt x="94" y="4"/>
                        </a:lnTo>
                        <a:lnTo>
                          <a:pt x="125" y="27"/>
                        </a:lnTo>
                        <a:lnTo>
                          <a:pt x="125" y="35"/>
                        </a:lnTo>
                        <a:lnTo>
                          <a:pt x="134" y="35"/>
                        </a:lnTo>
                        <a:lnTo>
                          <a:pt x="134" y="49"/>
                        </a:lnTo>
                        <a:lnTo>
                          <a:pt x="147" y="53"/>
                        </a:lnTo>
                        <a:lnTo>
                          <a:pt x="174" y="53"/>
                        </a:lnTo>
                        <a:lnTo>
                          <a:pt x="187" y="58"/>
                        </a:lnTo>
                        <a:lnTo>
                          <a:pt x="192" y="62"/>
                        </a:lnTo>
                        <a:lnTo>
                          <a:pt x="205" y="58"/>
                        </a:lnTo>
                        <a:lnTo>
                          <a:pt x="214" y="71"/>
                        </a:lnTo>
                        <a:lnTo>
                          <a:pt x="214" y="80"/>
                        </a:lnTo>
                        <a:lnTo>
                          <a:pt x="228" y="89"/>
                        </a:lnTo>
                        <a:lnTo>
                          <a:pt x="228" y="102"/>
                        </a:lnTo>
                        <a:lnTo>
                          <a:pt x="237" y="116"/>
                        </a:lnTo>
                        <a:lnTo>
                          <a:pt x="246" y="143"/>
                        </a:lnTo>
                        <a:lnTo>
                          <a:pt x="259" y="152"/>
                        </a:lnTo>
                        <a:lnTo>
                          <a:pt x="281" y="143"/>
                        </a:lnTo>
                        <a:lnTo>
                          <a:pt x="299" y="134"/>
                        </a:lnTo>
                        <a:lnTo>
                          <a:pt x="299" y="161"/>
                        </a:lnTo>
                        <a:lnTo>
                          <a:pt x="308" y="156"/>
                        </a:lnTo>
                        <a:lnTo>
                          <a:pt x="322" y="161"/>
                        </a:lnTo>
                        <a:lnTo>
                          <a:pt x="326" y="183"/>
                        </a:lnTo>
                        <a:lnTo>
                          <a:pt x="322" y="196"/>
                        </a:lnTo>
                        <a:lnTo>
                          <a:pt x="308" y="201"/>
                        </a:lnTo>
                        <a:lnTo>
                          <a:pt x="268" y="223"/>
                        </a:lnTo>
                        <a:lnTo>
                          <a:pt x="255" y="237"/>
                        </a:lnTo>
                        <a:lnTo>
                          <a:pt x="232" y="241"/>
                        </a:lnTo>
                        <a:lnTo>
                          <a:pt x="161" y="268"/>
                        </a:lnTo>
                        <a:lnTo>
                          <a:pt x="165" y="245"/>
                        </a:lnTo>
                        <a:lnTo>
                          <a:pt x="134" y="237"/>
                        </a:lnTo>
                        <a:lnTo>
                          <a:pt x="129" y="250"/>
                        </a:lnTo>
                        <a:lnTo>
                          <a:pt x="125" y="250"/>
                        </a:lnTo>
                        <a:lnTo>
                          <a:pt x="120" y="245"/>
                        </a:lnTo>
                        <a:lnTo>
                          <a:pt x="120" y="245"/>
                        </a:lnTo>
                        <a:lnTo>
                          <a:pt x="94" y="205"/>
                        </a:lnTo>
                        <a:lnTo>
                          <a:pt x="89" y="196"/>
                        </a:lnTo>
                        <a:lnTo>
                          <a:pt x="80" y="192"/>
                        </a:lnTo>
                        <a:lnTo>
                          <a:pt x="67" y="178"/>
                        </a:lnTo>
                        <a:lnTo>
                          <a:pt x="67" y="170"/>
                        </a:lnTo>
                        <a:lnTo>
                          <a:pt x="62" y="165"/>
                        </a:lnTo>
                        <a:lnTo>
                          <a:pt x="62" y="161"/>
                        </a:lnTo>
                        <a:lnTo>
                          <a:pt x="67" y="165"/>
                        </a:lnTo>
                        <a:lnTo>
                          <a:pt x="67" y="156"/>
                        </a:lnTo>
                        <a:lnTo>
                          <a:pt x="62" y="152"/>
                        </a:lnTo>
                        <a:lnTo>
                          <a:pt x="58" y="138"/>
                        </a:lnTo>
                        <a:lnTo>
                          <a:pt x="49" y="129"/>
                        </a:lnTo>
                        <a:lnTo>
                          <a:pt x="40" y="125"/>
                        </a:lnTo>
                        <a:lnTo>
                          <a:pt x="36" y="116"/>
                        </a:lnTo>
                        <a:lnTo>
                          <a:pt x="40" y="116"/>
                        </a:lnTo>
                        <a:lnTo>
                          <a:pt x="36" y="107"/>
                        </a:lnTo>
                        <a:lnTo>
                          <a:pt x="27" y="98"/>
                        </a:lnTo>
                        <a:lnTo>
                          <a:pt x="9" y="67"/>
                        </a:lnTo>
                        <a:lnTo>
                          <a:pt x="0" y="67"/>
                        </a:lnTo>
                        <a:lnTo>
                          <a:pt x="0" y="62"/>
                        </a:lnTo>
                        <a:lnTo>
                          <a:pt x="9" y="4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54" name="Freeform 151"/>
                  <p:cNvSpPr>
                    <a:spLocks/>
                  </p:cNvSpPr>
                  <p:nvPr/>
                </p:nvSpPr>
                <p:spPr bwMode="gray">
                  <a:xfrm>
                    <a:off x="4166" y="2757"/>
                    <a:ext cx="8" cy="9"/>
                  </a:xfrm>
                  <a:custGeom>
                    <a:avLst/>
                    <a:gdLst>
                      <a:gd name="T0" fmla="*/ 0 w 8"/>
                      <a:gd name="T1" fmla="*/ 4 h 9"/>
                      <a:gd name="T2" fmla="*/ 4 w 8"/>
                      <a:gd name="T3" fmla="*/ 0 h 9"/>
                      <a:gd name="T4" fmla="*/ 8 w 8"/>
                      <a:gd name="T5" fmla="*/ 4 h 9"/>
                      <a:gd name="T6" fmla="*/ 4 w 8"/>
                      <a:gd name="T7" fmla="*/ 9 h 9"/>
                      <a:gd name="T8" fmla="*/ 0 w 8"/>
                      <a:gd name="T9" fmla="*/ 4 h 9"/>
                    </a:gdLst>
                    <a:ahLst/>
                    <a:cxnLst>
                      <a:cxn ang="0">
                        <a:pos x="T0" y="T1"/>
                      </a:cxn>
                      <a:cxn ang="0">
                        <a:pos x="T2" y="T3"/>
                      </a:cxn>
                      <a:cxn ang="0">
                        <a:pos x="T4" y="T5"/>
                      </a:cxn>
                      <a:cxn ang="0">
                        <a:pos x="T6" y="T7"/>
                      </a:cxn>
                      <a:cxn ang="0">
                        <a:pos x="T8" y="T9"/>
                      </a:cxn>
                    </a:cxnLst>
                    <a:rect l="0" t="0" r="r" b="b"/>
                    <a:pathLst>
                      <a:path w="8" h="9">
                        <a:moveTo>
                          <a:pt x="0" y="4"/>
                        </a:moveTo>
                        <a:lnTo>
                          <a:pt x="4" y="0"/>
                        </a:lnTo>
                        <a:lnTo>
                          <a:pt x="8" y="4"/>
                        </a:lnTo>
                        <a:lnTo>
                          <a:pt x="4" y="9"/>
                        </a:lnTo>
                        <a:lnTo>
                          <a:pt x="0" y="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55" name="Freeform 152"/>
                  <p:cNvSpPr>
                    <a:spLocks/>
                  </p:cNvSpPr>
                  <p:nvPr/>
                </p:nvSpPr>
                <p:spPr bwMode="gray">
                  <a:xfrm>
                    <a:off x="4143" y="2435"/>
                    <a:ext cx="107" cy="224"/>
                  </a:xfrm>
                  <a:custGeom>
                    <a:avLst/>
                    <a:gdLst>
                      <a:gd name="T0" fmla="*/ 0 w 107"/>
                      <a:gd name="T1" fmla="*/ 14 h 224"/>
                      <a:gd name="T2" fmla="*/ 5 w 107"/>
                      <a:gd name="T3" fmla="*/ 9 h 224"/>
                      <a:gd name="T4" fmla="*/ 27 w 107"/>
                      <a:gd name="T5" fmla="*/ 9 h 224"/>
                      <a:gd name="T6" fmla="*/ 36 w 107"/>
                      <a:gd name="T7" fmla="*/ 5 h 224"/>
                      <a:gd name="T8" fmla="*/ 49 w 107"/>
                      <a:gd name="T9" fmla="*/ 0 h 224"/>
                      <a:gd name="T10" fmla="*/ 67 w 107"/>
                      <a:gd name="T11" fmla="*/ 9 h 224"/>
                      <a:gd name="T12" fmla="*/ 63 w 107"/>
                      <a:gd name="T13" fmla="*/ 18 h 224"/>
                      <a:gd name="T14" fmla="*/ 81 w 107"/>
                      <a:gd name="T15" fmla="*/ 18 h 224"/>
                      <a:gd name="T16" fmla="*/ 81 w 107"/>
                      <a:gd name="T17" fmla="*/ 23 h 224"/>
                      <a:gd name="T18" fmla="*/ 76 w 107"/>
                      <a:gd name="T19" fmla="*/ 31 h 224"/>
                      <a:gd name="T20" fmla="*/ 76 w 107"/>
                      <a:gd name="T21" fmla="*/ 36 h 224"/>
                      <a:gd name="T22" fmla="*/ 67 w 107"/>
                      <a:gd name="T23" fmla="*/ 36 h 224"/>
                      <a:gd name="T24" fmla="*/ 67 w 107"/>
                      <a:gd name="T25" fmla="*/ 40 h 224"/>
                      <a:gd name="T26" fmla="*/ 54 w 107"/>
                      <a:gd name="T27" fmla="*/ 49 h 224"/>
                      <a:gd name="T28" fmla="*/ 49 w 107"/>
                      <a:gd name="T29" fmla="*/ 67 h 224"/>
                      <a:gd name="T30" fmla="*/ 63 w 107"/>
                      <a:gd name="T31" fmla="*/ 76 h 224"/>
                      <a:gd name="T32" fmla="*/ 67 w 107"/>
                      <a:gd name="T33" fmla="*/ 94 h 224"/>
                      <a:gd name="T34" fmla="*/ 98 w 107"/>
                      <a:gd name="T35" fmla="*/ 125 h 224"/>
                      <a:gd name="T36" fmla="*/ 107 w 107"/>
                      <a:gd name="T37" fmla="*/ 161 h 224"/>
                      <a:gd name="T38" fmla="*/ 107 w 107"/>
                      <a:gd name="T39" fmla="*/ 166 h 224"/>
                      <a:gd name="T40" fmla="*/ 107 w 107"/>
                      <a:gd name="T41" fmla="*/ 170 h 224"/>
                      <a:gd name="T42" fmla="*/ 103 w 107"/>
                      <a:gd name="T43" fmla="*/ 188 h 224"/>
                      <a:gd name="T44" fmla="*/ 90 w 107"/>
                      <a:gd name="T45" fmla="*/ 188 h 224"/>
                      <a:gd name="T46" fmla="*/ 81 w 107"/>
                      <a:gd name="T47" fmla="*/ 197 h 224"/>
                      <a:gd name="T48" fmla="*/ 72 w 107"/>
                      <a:gd name="T49" fmla="*/ 197 h 224"/>
                      <a:gd name="T50" fmla="*/ 67 w 107"/>
                      <a:gd name="T51" fmla="*/ 197 h 224"/>
                      <a:gd name="T52" fmla="*/ 67 w 107"/>
                      <a:gd name="T53" fmla="*/ 210 h 224"/>
                      <a:gd name="T54" fmla="*/ 58 w 107"/>
                      <a:gd name="T55" fmla="*/ 206 h 224"/>
                      <a:gd name="T56" fmla="*/ 58 w 107"/>
                      <a:gd name="T57" fmla="*/ 210 h 224"/>
                      <a:gd name="T58" fmla="*/ 49 w 107"/>
                      <a:gd name="T59" fmla="*/ 215 h 224"/>
                      <a:gd name="T60" fmla="*/ 45 w 107"/>
                      <a:gd name="T61" fmla="*/ 224 h 224"/>
                      <a:gd name="T62" fmla="*/ 36 w 107"/>
                      <a:gd name="T63" fmla="*/ 224 h 224"/>
                      <a:gd name="T64" fmla="*/ 40 w 107"/>
                      <a:gd name="T65" fmla="*/ 224 h 224"/>
                      <a:gd name="T66" fmla="*/ 40 w 107"/>
                      <a:gd name="T67" fmla="*/ 210 h 224"/>
                      <a:gd name="T68" fmla="*/ 45 w 107"/>
                      <a:gd name="T69" fmla="*/ 206 h 224"/>
                      <a:gd name="T70" fmla="*/ 36 w 107"/>
                      <a:gd name="T71" fmla="*/ 197 h 224"/>
                      <a:gd name="T72" fmla="*/ 45 w 107"/>
                      <a:gd name="T73" fmla="*/ 183 h 224"/>
                      <a:gd name="T74" fmla="*/ 58 w 107"/>
                      <a:gd name="T75" fmla="*/ 183 h 224"/>
                      <a:gd name="T76" fmla="*/ 58 w 107"/>
                      <a:gd name="T77" fmla="*/ 174 h 224"/>
                      <a:gd name="T78" fmla="*/ 67 w 107"/>
                      <a:gd name="T79" fmla="*/ 174 h 224"/>
                      <a:gd name="T80" fmla="*/ 76 w 107"/>
                      <a:gd name="T81" fmla="*/ 166 h 224"/>
                      <a:gd name="T82" fmla="*/ 76 w 107"/>
                      <a:gd name="T83" fmla="*/ 139 h 224"/>
                      <a:gd name="T84" fmla="*/ 72 w 107"/>
                      <a:gd name="T85" fmla="*/ 134 h 224"/>
                      <a:gd name="T86" fmla="*/ 67 w 107"/>
                      <a:gd name="T87" fmla="*/ 107 h 224"/>
                      <a:gd name="T88" fmla="*/ 58 w 107"/>
                      <a:gd name="T89" fmla="*/ 103 h 224"/>
                      <a:gd name="T90" fmla="*/ 40 w 107"/>
                      <a:gd name="T91" fmla="*/ 72 h 224"/>
                      <a:gd name="T92" fmla="*/ 27 w 107"/>
                      <a:gd name="T93" fmla="*/ 63 h 224"/>
                      <a:gd name="T94" fmla="*/ 27 w 107"/>
                      <a:gd name="T95" fmla="*/ 49 h 224"/>
                      <a:gd name="T96" fmla="*/ 31 w 107"/>
                      <a:gd name="T97" fmla="*/ 54 h 224"/>
                      <a:gd name="T98" fmla="*/ 36 w 107"/>
                      <a:gd name="T99" fmla="*/ 45 h 224"/>
                      <a:gd name="T100" fmla="*/ 27 w 107"/>
                      <a:gd name="T101" fmla="*/ 36 h 224"/>
                      <a:gd name="T102" fmla="*/ 14 w 107"/>
                      <a:gd name="T103" fmla="*/ 36 h 224"/>
                      <a:gd name="T104" fmla="*/ 9 w 107"/>
                      <a:gd name="T105" fmla="*/ 23 h 224"/>
                      <a:gd name="T106" fmla="*/ 0 w 107"/>
                      <a:gd name="T107" fmla="*/ 1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7" h="224">
                        <a:moveTo>
                          <a:pt x="0" y="14"/>
                        </a:moveTo>
                        <a:lnTo>
                          <a:pt x="5" y="9"/>
                        </a:lnTo>
                        <a:lnTo>
                          <a:pt x="27" y="9"/>
                        </a:lnTo>
                        <a:lnTo>
                          <a:pt x="36" y="5"/>
                        </a:lnTo>
                        <a:lnTo>
                          <a:pt x="49" y="0"/>
                        </a:lnTo>
                        <a:lnTo>
                          <a:pt x="67" y="9"/>
                        </a:lnTo>
                        <a:lnTo>
                          <a:pt x="63" y="18"/>
                        </a:lnTo>
                        <a:lnTo>
                          <a:pt x="81" y="18"/>
                        </a:lnTo>
                        <a:lnTo>
                          <a:pt x="81" y="23"/>
                        </a:lnTo>
                        <a:lnTo>
                          <a:pt x="76" y="31"/>
                        </a:lnTo>
                        <a:lnTo>
                          <a:pt x="76" y="36"/>
                        </a:lnTo>
                        <a:lnTo>
                          <a:pt x="67" y="36"/>
                        </a:lnTo>
                        <a:lnTo>
                          <a:pt x="67" y="40"/>
                        </a:lnTo>
                        <a:lnTo>
                          <a:pt x="54" y="49"/>
                        </a:lnTo>
                        <a:lnTo>
                          <a:pt x="49" y="67"/>
                        </a:lnTo>
                        <a:lnTo>
                          <a:pt x="63" y="76"/>
                        </a:lnTo>
                        <a:lnTo>
                          <a:pt x="67" y="94"/>
                        </a:lnTo>
                        <a:lnTo>
                          <a:pt x="98" y="125"/>
                        </a:lnTo>
                        <a:lnTo>
                          <a:pt x="107" y="161"/>
                        </a:lnTo>
                        <a:lnTo>
                          <a:pt x="107" y="166"/>
                        </a:lnTo>
                        <a:lnTo>
                          <a:pt x="107" y="170"/>
                        </a:lnTo>
                        <a:lnTo>
                          <a:pt x="103" y="188"/>
                        </a:lnTo>
                        <a:lnTo>
                          <a:pt x="90" y="188"/>
                        </a:lnTo>
                        <a:lnTo>
                          <a:pt x="81" y="197"/>
                        </a:lnTo>
                        <a:lnTo>
                          <a:pt x="72" y="197"/>
                        </a:lnTo>
                        <a:lnTo>
                          <a:pt x="67" y="197"/>
                        </a:lnTo>
                        <a:lnTo>
                          <a:pt x="67" y="210"/>
                        </a:lnTo>
                        <a:lnTo>
                          <a:pt x="58" y="206"/>
                        </a:lnTo>
                        <a:lnTo>
                          <a:pt x="58" y="210"/>
                        </a:lnTo>
                        <a:lnTo>
                          <a:pt x="49" y="215"/>
                        </a:lnTo>
                        <a:lnTo>
                          <a:pt x="45" y="224"/>
                        </a:lnTo>
                        <a:lnTo>
                          <a:pt x="36" y="224"/>
                        </a:lnTo>
                        <a:lnTo>
                          <a:pt x="40" y="224"/>
                        </a:lnTo>
                        <a:lnTo>
                          <a:pt x="40" y="210"/>
                        </a:lnTo>
                        <a:lnTo>
                          <a:pt x="45" y="206"/>
                        </a:lnTo>
                        <a:lnTo>
                          <a:pt x="36" y="197"/>
                        </a:lnTo>
                        <a:lnTo>
                          <a:pt x="45" y="183"/>
                        </a:lnTo>
                        <a:lnTo>
                          <a:pt x="58" y="183"/>
                        </a:lnTo>
                        <a:lnTo>
                          <a:pt x="58" y="174"/>
                        </a:lnTo>
                        <a:lnTo>
                          <a:pt x="67" y="174"/>
                        </a:lnTo>
                        <a:lnTo>
                          <a:pt x="76" y="166"/>
                        </a:lnTo>
                        <a:lnTo>
                          <a:pt x="76" y="139"/>
                        </a:lnTo>
                        <a:lnTo>
                          <a:pt x="72" y="134"/>
                        </a:lnTo>
                        <a:lnTo>
                          <a:pt x="67" y="107"/>
                        </a:lnTo>
                        <a:lnTo>
                          <a:pt x="58" y="103"/>
                        </a:lnTo>
                        <a:lnTo>
                          <a:pt x="40" y="72"/>
                        </a:lnTo>
                        <a:lnTo>
                          <a:pt x="27" y="63"/>
                        </a:lnTo>
                        <a:lnTo>
                          <a:pt x="27" y="49"/>
                        </a:lnTo>
                        <a:lnTo>
                          <a:pt x="31" y="54"/>
                        </a:lnTo>
                        <a:lnTo>
                          <a:pt x="36" y="45"/>
                        </a:lnTo>
                        <a:lnTo>
                          <a:pt x="27" y="36"/>
                        </a:lnTo>
                        <a:lnTo>
                          <a:pt x="14" y="36"/>
                        </a:lnTo>
                        <a:lnTo>
                          <a:pt x="9" y="23"/>
                        </a:lnTo>
                        <a:lnTo>
                          <a:pt x="0" y="1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56" name="Freeform 153"/>
                  <p:cNvSpPr>
                    <a:spLocks/>
                  </p:cNvSpPr>
                  <p:nvPr/>
                </p:nvSpPr>
                <p:spPr bwMode="gray">
                  <a:xfrm>
                    <a:off x="3192" y="2198"/>
                    <a:ext cx="102" cy="90"/>
                  </a:xfrm>
                  <a:custGeom>
                    <a:avLst/>
                    <a:gdLst>
                      <a:gd name="T0" fmla="*/ 0 w 102"/>
                      <a:gd name="T1" fmla="*/ 27 h 90"/>
                      <a:gd name="T2" fmla="*/ 0 w 102"/>
                      <a:gd name="T3" fmla="*/ 36 h 90"/>
                      <a:gd name="T4" fmla="*/ 4 w 102"/>
                      <a:gd name="T5" fmla="*/ 41 h 90"/>
                      <a:gd name="T6" fmla="*/ 0 w 102"/>
                      <a:gd name="T7" fmla="*/ 45 h 90"/>
                      <a:gd name="T8" fmla="*/ 9 w 102"/>
                      <a:gd name="T9" fmla="*/ 45 h 90"/>
                      <a:gd name="T10" fmla="*/ 13 w 102"/>
                      <a:gd name="T11" fmla="*/ 54 h 90"/>
                      <a:gd name="T12" fmla="*/ 4 w 102"/>
                      <a:gd name="T13" fmla="*/ 67 h 90"/>
                      <a:gd name="T14" fmla="*/ 4 w 102"/>
                      <a:gd name="T15" fmla="*/ 81 h 90"/>
                      <a:gd name="T16" fmla="*/ 18 w 102"/>
                      <a:gd name="T17" fmla="*/ 90 h 90"/>
                      <a:gd name="T18" fmla="*/ 35 w 102"/>
                      <a:gd name="T19" fmla="*/ 76 h 90"/>
                      <a:gd name="T20" fmla="*/ 40 w 102"/>
                      <a:gd name="T21" fmla="*/ 72 h 90"/>
                      <a:gd name="T22" fmla="*/ 44 w 102"/>
                      <a:gd name="T23" fmla="*/ 72 h 90"/>
                      <a:gd name="T24" fmla="*/ 80 w 102"/>
                      <a:gd name="T25" fmla="*/ 45 h 90"/>
                      <a:gd name="T26" fmla="*/ 85 w 102"/>
                      <a:gd name="T27" fmla="*/ 18 h 90"/>
                      <a:gd name="T28" fmla="*/ 98 w 102"/>
                      <a:gd name="T29" fmla="*/ 9 h 90"/>
                      <a:gd name="T30" fmla="*/ 102 w 102"/>
                      <a:gd name="T31" fmla="*/ 5 h 90"/>
                      <a:gd name="T32" fmla="*/ 94 w 102"/>
                      <a:gd name="T33" fmla="*/ 0 h 90"/>
                      <a:gd name="T34" fmla="*/ 71 w 102"/>
                      <a:gd name="T35" fmla="*/ 5 h 90"/>
                      <a:gd name="T36" fmla="*/ 58 w 102"/>
                      <a:gd name="T37" fmla="*/ 9 h 90"/>
                      <a:gd name="T38" fmla="*/ 40 w 102"/>
                      <a:gd name="T39" fmla="*/ 5 h 90"/>
                      <a:gd name="T40" fmla="*/ 18 w 102"/>
                      <a:gd name="T41" fmla="*/ 9 h 90"/>
                      <a:gd name="T42" fmla="*/ 18 w 102"/>
                      <a:gd name="T43" fmla="*/ 18 h 90"/>
                      <a:gd name="T44" fmla="*/ 9 w 102"/>
                      <a:gd name="T45" fmla="*/ 27 h 90"/>
                      <a:gd name="T46" fmla="*/ 0 w 102"/>
                      <a:gd name="T47"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0">
                        <a:moveTo>
                          <a:pt x="0" y="27"/>
                        </a:moveTo>
                        <a:lnTo>
                          <a:pt x="0" y="36"/>
                        </a:lnTo>
                        <a:lnTo>
                          <a:pt x="4" y="41"/>
                        </a:lnTo>
                        <a:lnTo>
                          <a:pt x="0" y="45"/>
                        </a:lnTo>
                        <a:lnTo>
                          <a:pt x="9" y="45"/>
                        </a:lnTo>
                        <a:lnTo>
                          <a:pt x="13" y="54"/>
                        </a:lnTo>
                        <a:lnTo>
                          <a:pt x="4" y="67"/>
                        </a:lnTo>
                        <a:lnTo>
                          <a:pt x="4" y="81"/>
                        </a:lnTo>
                        <a:lnTo>
                          <a:pt x="18" y="90"/>
                        </a:lnTo>
                        <a:lnTo>
                          <a:pt x="35" y="76"/>
                        </a:lnTo>
                        <a:lnTo>
                          <a:pt x="40" y="72"/>
                        </a:lnTo>
                        <a:lnTo>
                          <a:pt x="44" y="72"/>
                        </a:lnTo>
                        <a:lnTo>
                          <a:pt x="80" y="45"/>
                        </a:lnTo>
                        <a:lnTo>
                          <a:pt x="85" y="18"/>
                        </a:lnTo>
                        <a:lnTo>
                          <a:pt x="98" y="9"/>
                        </a:lnTo>
                        <a:lnTo>
                          <a:pt x="102" y="5"/>
                        </a:lnTo>
                        <a:lnTo>
                          <a:pt x="94" y="0"/>
                        </a:lnTo>
                        <a:lnTo>
                          <a:pt x="71" y="5"/>
                        </a:lnTo>
                        <a:lnTo>
                          <a:pt x="58" y="9"/>
                        </a:lnTo>
                        <a:lnTo>
                          <a:pt x="40" y="5"/>
                        </a:lnTo>
                        <a:lnTo>
                          <a:pt x="18" y="9"/>
                        </a:lnTo>
                        <a:lnTo>
                          <a:pt x="18" y="18"/>
                        </a:lnTo>
                        <a:lnTo>
                          <a:pt x="9" y="27"/>
                        </a:lnTo>
                        <a:lnTo>
                          <a:pt x="0" y="27"/>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57" name="Freeform 154"/>
                  <p:cNvSpPr>
                    <a:spLocks/>
                  </p:cNvSpPr>
                  <p:nvPr/>
                </p:nvSpPr>
                <p:spPr bwMode="gray">
                  <a:xfrm>
                    <a:off x="3647" y="2122"/>
                    <a:ext cx="112" cy="85"/>
                  </a:xfrm>
                  <a:custGeom>
                    <a:avLst/>
                    <a:gdLst>
                      <a:gd name="T0" fmla="*/ 54 w 112"/>
                      <a:gd name="T1" fmla="*/ 18 h 85"/>
                      <a:gd name="T2" fmla="*/ 50 w 112"/>
                      <a:gd name="T3" fmla="*/ 18 h 85"/>
                      <a:gd name="T4" fmla="*/ 45 w 112"/>
                      <a:gd name="T5" fmla="*/ 18 h 85"/>
                      <a:gd name="T6" fmla="*/ 45 w 112"/>
                      <a:gd name="T7" fmla="*/ 9 h 85"/>
                      <a:gd name="T8" fmla="*/ 45 w 112"/>
                      <a:gd name="T9" fmla="*/ 9 h 85"/>
                      <a:gd name="T10" fmla="*/ 45 w 112"/>
                      <a:gd name="T11" fmla="*/ 0 h 85"/>
                      <a:gd name="T12" fmla="*/ 41 w 112"/>
                      <a:gd name="T13" fmla="*/ 0 h 85"/>
                      <a:gd name="T14" fmla="*/ 41 w 112"/>
                      <a:gd name="T15" fmla="*/ 5 h 85"/>
                      <a:gd name="T16" fmla="*/ 27 w 112"/>
                      <a:gd name="T17" fmla="*/ 5 h 85"/>
                      <a:gd name="T18" fmla="*/ 32 w 112"/>
                      <a:gd name="T19" fmla="*/ 9 h 85"/>
                      <a:gd name="T20" fmla="*/ 23 w 112"/>
                      <a:gd name="T21" fmla="*/ 18 h 85"/>
                      <a:gd name="T22" fmla="*/ 9 w 112"/>
                      <a:gd name="T23" fmla="*/ 27 h 85"/>
                      <a:gd name="T24" fmla="*/ 9 w 112"/>
                      <a:gd name="T25" fmla="*/ 27 h 85"/>
                      <a:gd name="T26" fmla="*/ 5 w 112"/>
                      <a:gd name="T27" fmla="*/ 32 h 85"/>
                      <a:gd name="T28" fmla="*/ 0 w 112"/>
                      <a:gd name="T29" fmla="*/ 36 h 85"/>
                      <a:gd name="T30" fmla="*/ 5 w 112"/>
                      <a:gd name="T31" fmla="*/ 41 h 85"/>
                      <a:gd name="T32" fmla="*/ 5 w 112"/>
                      <a:gd name="T33" fmla="*/ 41 h 85"/>
                      <a:gd name="T34" fmla="*/ 9 w 112"/>
                      <a:gd name="T35" fmla="*/ 45 h 85"/>
                      <a:gd name="T36" fmla="*/ 14 w 112"/>
                      <a:gd name="T37" fmla="*/ 45 h 85"/>
                      <a:gd name="T38" fmla="*/ 9 w 112"/>
                      <a:gd name="T39" fmla="*/ 54 h 85"/>
                      <a:gd name="T40" fmla="*/ 14 w 112"/>
                      <a:gd name="T41" fmla="*/ 58 h 85"/>
                      <a:gd name="T42" fmla="*/ 9 w 112"/>
                      <a:gd name="T43" fmla="*/ 67 h 85"/>
                      <a:gd name="T44" fmla="*/ 5 w 112"/>
                      <a:gd name="T45" fmla="*/ 76 h 85"/>
                      <a:gd name="T46" fmla="*/ 9 w 112"/>
                      <a:gd name="T47" fmla="*/ 76 h 85"/>
                      <a:gd name="T48" fmla="*/ 23 w 112"/>
                      <a:gd name="T49" fmla="*/ 72 h 85"/>
                      <a:gd name="T50" fmla="*/ 36 w 112"/>
                      <a:gd name="T51" fmla="*/ 67 h 85"/>
                      <a:gd name="T52" fmla="*/ 41 w 112"/>
                      <a:gd name="T53" fmla="*/ 67 h 85"/>
                      <a:gd name="T54" fmla="*/ 54 w 112"/>
                      <a:gd name="T55" fmla="*/ 50 h 85"/>
                      <a:gd name="T56" fmla="*/ 58 w 112"/>
                      <a:gd name="T57" fmla="*/ 54 h 85"/>
                      <a:gd name="T58" fmla="*/ 63 w 112"/>
                      <a:gd name="T59" fmla="*/ 67 h 85"/>
                      <a:gd name="T60" fmla="*/ 58 w 112"/>
                      <a:gd name="T61" fmla="*/ 85 h 85"/>
                      <a:gd name="T62" fmla="*/ 81 w 112"/>
                      <a:gd name="T63" fmla="*/ 72 h 85"/>
                      <a:gd name="T64" fmla="*/ 108 w 112"/>
                      <a:gd name="T65" fmla="*/ 76 h 85"/>
                      <a:gd name="T66" fmla="*/ 112 w 112"/>
                      <a:gd name="T67" fmla="*/ 72 h 85"/>
                      <a:gd name="T68" fmla="*/ 112 w 112"/>
                      <a:gd name="T69" fmla="*/ 67 h 85"/>
                      <a:gd name="T70" fmla="*/ 108 w 112"/>
                      <a:gd name="T71" fmla="*/ 67 h 85"/>
                      <a:gd name="T72" fmla="*/ 108 w 112"/>
                      <a:gd name="T73" fmla="*/ 54 h 85"/>
                      <a:gd name="T74" fmla="*/ 90 w 112"/>
                      <a:gd name="T75" fmla="*/ 50 h 85"/>
                      <a:gd name="T76" fmla="*/ 90 w 112"/>
                      <a:gd name="T77" fmla="*/ 32 h 85"/>
                      <a:gd name="T78" fmla="*/ 81 w 112"/>
                      <a:gd name="T79" fmla="*/ 32 h 85"/>
                      <a:gd name="T80" fmla="*/ 76 w 112"/>
                      <a:gd name="T81" fmla="*/ 36 h 85"/>
                      <a:gd name="T82" fmla="*/ 63 w 112"/>
                      <a:gd name="T83" fmla="*/ 36 h 85"/>
                      <a:gd name="T84" fmla="*/ 63 w 112"/>
                      <a:gd name="T85" fmla="*/ 32 h 85"/>
                      <a:gd name="T86" fmla="*/ 58 w 112"/>
                      <a:gd name="T87" fmla="*/ 32 h 85"/>
                      <a:gd name="T88" fmla="*/ 54 w 112"/>
                      <a:gd name="T89" fmla="*/ 36 h 85"/>
                      <a:gd name="T90" fmla="*/ 50 w 112"/>
                      <a:gd name="T91" fmla="*/ 32 h 85"/>
                      <a:gd name="T92" fmla="*/ 45 w 112"/>
                      <a:gd name="T93" fmla="*/ 32 h 85"/>
                      <a:gd name="T94" fmla="*/ 41 w 112"/>
                      <a:gd name="T95" fmla="*/ 32 h 85"/>
                      <a:gd name="T96" fmla="*/ 27 w 112"/>
                      <a:gd name="T97" fmla="*/ 32 h 85"/>
                      <a:gd name="T98" fmla="*/ 27 w 112"/>
                      <a:gd name="T99" fmla="*/ 27 h 85"/>
                      <a:gd name="T100" fmla="*/ 32 w 112"/>
                      <a:gd name="T101" fmla="*/ 23 h 85"/>
                      <a:gd name="T102" fmla="*/ 32 w 112"/>
                      <a:gd name="T103" fmla="*/ 18 h 85"/>
                      <a:gd name="T104" fmla="*/ 41 w 112"/>
                      <a:gd name="T105" fmla="*/ 18 h 85"/>
                      <a:gd name="T106" fmla="*/ 45 w 112"/>
                      <a:gd name="T107" fmla="*/ 23 h 85"/>
                      <a:gd name="T108" fmla="*/ 45 w 112"/>
                      <a:gd name="T109" fmla="*/ 27 h 85"/>
                      <a:gd name="T110" fmla="*/ 50 w 112"/>
                      <a:gd name="T111" fmla="*/ 27 h 85"/>
                      <a:gd name="T112" fmla="*/ 50 w 112"/>
                      <a:gd name="T113" fmla="*/ 23 h 85"/>
                      <a:gd name="T114" fmla="*/ 54 w 112"/>
                      <a:gd name="T115"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85">
                        <a:moveTo>
                          <a:pt x="54" y="18"/>
                        </a:moveTo>
                        <a:lnTo>
                          <a:pt x="50" y="18"/>
                        </a:lnTo>
                        <a:lnTo>
                          <a:pt x="45" y="18"/>
                        </a:lnTo>
                        <a:lnTo>
                          <a:pt x="45" y="9"/>
                        </a:lnTo>
                        <a:lnTo>
                          <a:pt x="45" y="9"/>
                        </a:lnTo>
                        <a:lnTo>
                          <a:pt x="45" y="0"/>
                        </a:lnTo>
                        <a:lnTo>
                          <a:pt x="41" y="0"/>
                        </a:lnTo>
                        <a:lnTo>
                          <a:pt x="41" y="5"/>
                        </a:lnTo>
                        <a:lnTo>
                          <a:pt x="27" y="5"/>
                        </a:lnTo>
                        <a:lnTo>
                          <a:pt x="32" y="9"/>
                        </a:lnTo>
                        <a:lnTo>
                          <a:pt x="23" y="18"/>
                        </a:lnTo>
                        <a:lnTo>
                          <a:pt x="9" y="27"/>
                        </a:lnTo>
                        <a:lnTo>
                          <a:pt x="9" y="27"/>
                        </a:lnTo>
                        <a:lnTo>
                          <a:pt x="5" y="32"/>
                        </a:lnTo>
                        <a:lnTo>
                          <a:pt x="0" y="36"/>
                        </a:lnTo>
                        <a:lnTo>
                          <a:pt x="5" y="41"/>
                        </a:lnTo>
                        <a:lnTo>
                          <a:pt x="5" y="41"/>
                        </a:lnTo>
                        <a:lnTo>
                          <a:pt x="9" y="45"/>
                        </a:lnTo>
                        <a:lnTo>
                          <a:pt x="14" y="45"/>
                        </a:lnTo>
                        <a:lnTo>
                          <a:pt x="9" y="54"/>
                        </a:lnTo>
                        <a:lnTo>
                          <a:pt x="14" y="58"/>
                        </a:lnTo>
                        <a:lnTo>
                          <a:pt x="9" y="67"/>
                        </a:lnTo>
                        <a:lnTo>
                          <a:pt x="5" y="76"/>
                        </a:lnTo>
                        <a:lnTo>
                          <a:pt x="9" y="76"/>
                        </a:lnTo>
                        <a:lnTo>
                          <a:pt x="23" y="72"/>
                        </a:lnTo>
                        <a:lnTo>
                          <a:pt x="36" y="67"/>
                        </a:lnTo>
                        <a:lnTo>
                          <a:pt x="41" y="67"/>
                        </a:lnTo>
                        <a:lnTo>
                          <a:pt x="54" y="50"/>
                        </a:lnTo>
                        <a:lnTo>
                          <a:pt x="58" y="54"/>
                        </a:lnTo>
                        <a:lnTo>
                          <a:pt x="63" y="67"/>
                        </a:lnTo>
                        <a:lnTo>
                          <a:pt x="58" y="85"/>
                        </a:lnTo>
                        <a:lnTo>
                          <a:pt x="81" y="72"/>
                        </a:lnTo>
                        <a:lnTo>
                          <a:pt x="108" y="76"/>
                        </a:lnTo>
                        <a:lnTo>
                          <a:pt x="112" y="72"/>
                        </a:lnTo>
                        <a:lnTo>
                          <a:pt x="112" y="67"/>
                        </a:lnTo>
                        <a:lnTo>
                          <a:pt x="108" y="67"/>
                        </a:lnTo>
                        <a:lnTo>
                          <a:pt x="108" y="54"/>
                        </a:lnTo>
                        <a:lnTo>
                          <a:pt x="90" y="50"/>
                        </a:lnTo>
                        <a:lnTo>
                          <a:pt x="90" y="32"/>
                        </a:lnTo>
                        <a:lnTo>
                          <a:pt x="81" y="32"/>
                        </a:lnTo>
                        <a:lnTo>
                          <a:pt x="76" y="36"/>
                        </a:lnTo>
                        <a:lnTo>
                          <a:pt x="63" y="36"/>
                        </a:lnTo>
                        <a:lnTo>
                          <a:pt x="63" y="32"/>
                        </a:lnTo>
                        <a:lnTo>
                          <a:pt x="58" y="32"/>
                        </a:lnTo>
                        <a:lnTo>
                          <a:pt x="54" y="36"/>
                        </a:lnTo>
                        <a:lnTo>
                          <a:pt x="50" y="32"/>
                        </a:lnTo>
                        <a:lnTo>
                          <a:pt x="45" y="32"/>
                        </a:lnTo>
                        <a:lnTo>
                          <a:pt x="41" y="32"/>
                        </a:lnTo>
                        <a:lnTo>
                          <a:pt x="27" y="32"/>
                        </a:lnTo>
                        <a:lnTo>
                          <a:pt x="27" y="27"/>
                        </a:lnTo>
                        <a:lnTo>
                          <a:pt x="32" y="23"/>
                        </a:lnTo>
                        <a:lnTo>
                          <a:pt x="32" y="18"/>
                        </a:lnTo>
                        <a:lnTo>
                          <a:pt x="41" y="18"/>
                        </a:lnTo>
                        <a:lnTo>
                          <a:pt x="45" y="23"/>
                        </a:lnTo>
                        <a:lnTo>
                          <a:pt x="45" y="27"/>
                        </a:lnTo>
                        <a:lnTo>
                          <a:pt x="50" y="27"/>
                        </a:lnTo>
                        <a:lnTo>
                          <a:pt x="50" y="23"/>
                        </a:lnTo>
                        <a:lnTo>
                          <a:pt x="54" y="1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58" name="Freeform 155"/>
                  <p:cNvSpPr>
                    <a:spLocks/>
                  </p:cNvSpPr>
                  <p:nvPr/>
                </p:nvSpPr>
                <p:spPr bwMode="gray">
                  <a:xfrm>
                    <a:off x="4076" y="2480"/>
                    <a:ext cx="116" cy="219"/>
                  </a:xfrm>
                  <a:custGeom>
                    <a:avLst/>
                    <a:gdLst>
                      <a:gd name="T0" fmla="*/ 18 w 116"/>
                      <a:gd name="T1" fmla="*/ 156 h 219"/>
                      <a:gd name="T2" fmla="*/ 23 w 116"/>
                      <a:gd name="T3" fmla="*/ 147 h 219"/>
                      <a:gd name="T4" fmla="*/ 27 w 116"/>
                      <a:gd name="T5" fmla="*/ 143 h 219"/>
                      <a:gd name="T6" fmla="*/ 31 w 116"/>
                      <a:gd name="T7" fmla="*/ 134 h 219"/>
                      <a:gd name="T8" fmla="*/ 27 w 116"/>
                      <a:gd name="T9" fmla="*/ 121 h 219"/>
                      <a:gd name="T10" fmla="*/ 31 w 116"/>
                      <a:gd name="T11" fmla="*/ 103 h 219"/>
                      <a:gd name="T12" fmla="*/ 14 w 116"/>
                      <a:gd name="T13" fmla="*/ 85 h 219"/>
                      <a:gd name="T14" fmla="*/ 9 w 116"/>
                      <a:gd name="T15" fmla="*/ 80 h 219"/>
                      <a:gd name="T16" fmla="*/ 18 w 116"/>
                      <a:gd name="T17" fmla="*/ 71 h 219"/>
                      <a:gd name="T18" fmla="*/ 14 w 116"/>
                      <a:gd name="T19" fmla="*/ 58 h 219"/>
                      <a:gd name="T20" fmla="*/ 5 w 116"/>
                      <a:gd name="T21" fmla="*/ 49 h 219"/>
                      <a:gd name="T22" fmla="*/ 5 w 116"/>
                      <a:gd name="T23" fmla="*/ 36 h 219"/>
                      <a:gd name="T24" fmla="*/ 0 w 116"/>
                      <a:gd name="T25" fmla="*/ 31 h 219"/>
                      <a:gd name="T26" fmla="*/ 9 w 116"/>
                      <a:gd name="T27" fmla="*/ 13 h 219"/>
                      <a:gd name="T28" fmla="*/ 18 w 116"/>
                      <a:gd name="T29" fmla="*/ 9 h 219"/>
                      <a:gd name="T30" fmla="*/ 31 w 116"/>
                      <a:gd name="T31" fmla="*/ 0 h 219"/>
                      <a:gd name="T32" fmla="*/ 40 w 116"/>
                      <a:gd name="T33" fmla="*/ 0 h 219"/>
                      <a:gd name="T34" fmla="*/ 49 w 116"/>
                      <a:gd name="T35" fmla="*/ 4 h 219"/>
                      <a:gd name="T36" fmla="*/ 45 w 116"/>
                      <a:gd name="T37" fmla="*/ 9 h 219"/>
                      <a:gd name="T38" fmla="*/ 54 w 116"/>
                      <a:gd name="T39" fmla="*/ 13 h 219"/>
                      <a:gd name="T40" fmla="*/ 54 w 116"/>
                      <a:gd name="T41" fmla="*/ 49 h 219"/>
                      <a:gd name="T42" fmla="*/ 67 w 116"/>
                      <a:gd name="T43" fmla="*/ 36 h 219"/>
                      <a:gd name="T44" fmla="*/ 76 w 116"/>
                      <a:gd name="T45" fmla="*/ 40 h 219"/>
                      <a:gd name="T46" fmla="*/ 85 w 116"/>
                      <a:gd name="T47" fmla="*/ 31 h 219"/>
                      <a:gd name="T48" fmla="*/ 94 w 116"/>
                      <a:gd name="T49" fmla="*/ 31 h 219"/>
                      <a:gd name="T50" fmla="*/ 103 w 116"/>
                      <a:gd name="T51" fmla="*/ 58 h 219"/>
                      <a:gd name="T52" fmla="*/ 116 w 116"/>
                      <a:gd name="T53" fmla="*/ 71 h 219"/>
                      <a:gd name="T54" fmla="*/ 107 w 116"/>
                      <a:gd name="T55" fmla="*/ 89 h 219"/>
                      <a:gd name="T56" fmla="*/ 81 w 116"/>
                      <a:gd name="T57" fmla="*/ 94 h 219"/>
                      <a:gd name="T58" fmla="*/ 72 w 116"/>
                      <a:gd name="T59" fmla="*/ 107 h 219"/>
                      <a:gd name="T60" fmla="*/ 81 w 116"/>
                      <a:gd name="T61" fmla="*/ 125 h 219"/>
                      <a:gd name="T62" fmla="*/ 81 w 116"/>
                      <a:gd name="T63" fmla="*/ 134 h 219"/>
                      <a:gd name="T64" fmla="*/ 72 w 116"/>
                      <a:gd name="T65" fmla="*/ 129 h 219"/>
                      <a:gd name="T66" fmla="*/ 63 w 116"/>
                      <a:gd name="T67" fmla="*/ 121 h 219"/>
                      <a:gd name="T68" fmla="*/ 49 w 116"/>
                      <a:gd name="T69" fmla="*/ 121 h 219"/>
                      <a:gd name="T70" fmla="*/ 49 w 116"/>
                      <a:gd name="T71" fmla="*/ 107 h 219"/>
                      <a:gd name="T72" fmla="*/ 40 w 116"/>
                      <a:gd name="T73" fmla="*/ 107 h 219"/>
                      <a:gd name="T74" fmla="*/ 40 w 116"/>
                      <a:gd name="T75" fmla="*/ 125 h 219"/>
                      <a:gd name="T76" fmla="*/ 31 w 116"/>
                      <a:gd name="T77" fmla="*/ 138 h 219"/>
                      <a:gd name="T78" fmla="*/ 27 w 116"/>
                      <a:gd name="T79" fmla="*/ 170 h 219"/>
                      <a:gd name="T80" fmla="*/ 36 w 116"/>
                      <a:gd name="T81" fmla="*/ 170 h 219"/>
                      <a:gd name="T82" fmla="*/ 45 w 116"/>
                      <a:gd name="T83" fmla="*/ 183 h 219"/>
                      <a:gd name="T84" fmla="*/ 49 w 116"/>
                      <a:gd name="T85" fmla="*/ 196 h 219"/>
                      <a:gd name="T86" fmla="*/ 58 w 116"/>
                      <a:gd name="T87" fmla="*/ 201 h 219"/>
                      <a:gd name="T88" fmla="*/ 67 w 116"/>
                      <a:gd name="T89" fmla="*/ 210 h 219"/>
                      <a:gd name="T90" fmla="*/ 63 w 116"/>
                      <a:gd name="T91" fmla="*/ 219 h 219"/>
                      <a:gd name="T92" fmla="*/ 54 w 116"/>
                      <a:gd name="T93" fmla="*/ 219 h 219"/>
                      <a:gd name="T94" fmla="*/ 45 w 116"/>
                      <a:gd name="T95" fmla="*/ 205 h 219"/>
                      <a:gd name="T96" fmla="*/ 40 w 116"/>
                      <a:gd name="T97" fmla="*/ 210 h 219"/>
                      <a:gd name="T98" fmla="*/ 31 w 116"/>
                      <a:gd name="T99" fmla="*/ 205 h 219"/>
                      <a:gd name="T100" fmla="*/ 27 w 116"/>
                      <a:gd name="T101" fmla="*/ 196 h 219"/>
                      <a:gd name="T102" fmla="*/ 23 w 116"/>
                      <a:gd name="T103" fmla="*/ 201 h 219"/>
                      <a:gd name="T104" fmla="*/ 18 w 116"/>
                      <a:gd name="T105" fmla="*/ 196 h 219"/>
                      <a:gd name="T106" fmla="*/ 23 w 116"/>
                      <a:gd name="T107" fmla="*/ 192 h 219"/>
                      <a:gd name="T108" fmla="*/ 18 w 116"/>
                      <a:gd name="T109" fmla="*/ 188 h 219"/>
                      <a:gd name="T110" fmla="*/ 14 w 116"/>
                      <a:gd name="T111" fmla="*/ 192 h 219"/>
                      <a:gd name="T112" fmla="*/ 9 w 116"/>
                      <a:gd name="T113" fmla="*/ 183 h 219"/>
                      <a:gd name="T114" fmla="*/ 14 w 116"/>
                      <a:gd name="T115" fmla="*/ 170 h 219"/>
                      <a:gd name="T116" fmla="*/ 18 w 116"/>
                      <a:gd name="T117" fmla="*/ 15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6" h="219">
                        <a:moveTo>
                          <a:pt x="18" y="156"/>
                        </a:moveTo>
                        <a:lnTo>
                          <a:pt x="23" y="147"/>
                        </a:lnTo>
                        <a:lnTo>
                          <a:pt x="27" y="143"/>
                        </a:lnTo>
                        <a:lnTo>
                          <a:pt x="31" y="134"/>
                        </a:lnTo>
                        <a:lnTo>
                          <a:pt x="27" y="121"/>
                        </a:lnTo>
                        <a:lnTo>
                          <a:pt x="31" y="103"/>
                        </a:lnTo>
                        <a:lnTo>
                          <a:pt x="14" y="85"/>
                        </a:lnTo>
                        <a:lnTo>
                          <a:pt x="9" y="80"/>
                        </a:lnTo>
                        <a:lnTo>
                          <a:pt x="18" y="71"/>
                        </a:lnTo>
                        <a:lnTo>
                          <a:pt x="14" y="58"/>
                        </a:lnTo>
                        <a:lnTo>
                          <a:pt x="5" y="49"/>
                        </a:lnTo>
                        <a:lnTo>
                          <a:pt x="5" y="36"/>
                        </a:lnTo>
                        <a:lnTo>
                          <a:pt x="0" y="31"/>
                        </a:lnTo>
                        <a:lnTo>
                          <a:pt x="9" y="13"/>
                        </a:lnTo>
                        <a:lnTo>
                          <a:pt x="18" y="9"/>
                        </a:lnTo>
                        <a:lnTo>
                          <a:pt x="31" y="0"/>
                        </a:lnTo>
                        <a:lnTo>
                          <a:pt x="40" y="0"/>
                        </a:lnTo>
                        <a:lnTo>
                          <a:pt x="49" y="4"/>
                        </a:lnTo>
                        <a:lnTo>
                          <a:pt x="45" y="9"/>
                        </a:lnTo>
                        <a:lnTo>
                          <a:pt x="54" y="13"/>
                        </a:lnTo>
                        <a:lnTo>
                          <a:pt x="54" y="49"/>
                        </a:lnTo>
                        <a:lnTo>
                          <a:pt x="67" y="36"/>
                        </a:lnTo>
                        <a:lnTo>
                          <a:pt x="76" y="40"/>
                        </a:lnTo>
                        <a:lnTo>
                          <a:pt x="85" y="31"/>
                        </a:lnTo>
                        <a:lnTo>
                          <a:pt x="94" y="31"/>
                        </a:lnTo>
                        <a:lnTo>
                          <a:pt x="103" y="58"/>
                        </a:lnTo>
                        <a:lnTo>
                          <a:pt x="116" y="71"/>
                        </a:lnTo>
                        <a:lnTo>
                          <a:pt x="107" y="89"/>
                        </a:lnTo>
                        <a:lnTo>
                          <a:pt x="81" y="94"/>
                        </a:lnTo>
                        <a:lnTo>
                          <a:pt x="72" y="107"/>
                        </a:lnTo>
                        <a:lnTo>
                          <a:pt x="81" y="125"/>
                        </a:lnTo>
                        <a:lnTo>
                          <a:pt x="81" y="134"/>
                        </a:lnTo>
                        <a:lnTo>
                          <a:pt x="72" y="129"/>
                        </a:lnTo>
                        <a:lnTo>
                          <a:pt x="63" y="121"/>
                        </a:lnTo>
                        <a:lnTo>
                          <a:pt x="49" y="121"/>
                        </a:lnTo>
                        <a:lnTo>
                          <a:pt x="49" y="107"/>
                        </a:lnTo>
                        <a:lnTo>
                          <a:pt x="40" y="107"/>
                        </a:lnTo>
                        <a:lnTo>
                          <a:pt x="40" y="125"/>
                        </a:lnTo>
                        <a:lnTo>
                          <a:pt x="31" y="138"/>
                        </a:lnTo>
                        <a:lnTo>
                          <a:pt x="27" y="170"/>
                        </a:lnTo>
                        <a:lnTo>
                          <a:pt x="36" y="170"/>
                        </a:lnTo>
                        <a:lnTo>
                          <a:pt x="45" y="183"/>
                        </a:lnTo>
                        <a:lnTo>
                          <a:pt x="49" y="196"/>
                        </a:lnTo>
                        <a:lnTo>
                          <a:pt x="58" y="201"/>
                        </a:lnTo>
                        <a:lnTo>
                          <a:pt x="67" y="210"/>
                        </a:lnTo>
                        <a:lnTo>
                          <a:pt x="63" y="219"/>
                        </a:lnTo>
                        <a:lnTo>
                          <a:pt x="54" y="219"/>
                        </a:lnTo>
                        <a:lnTo>
                          <a:pt x="45" y="205"/>
                        </a:lnTo>
                        <a:lnTo>
                          <a:pt x="40" y="210"/>
                        </a:lnTo>
                        <a:lnTo>
                          <a:pt x="31" y="205"/>
                        </a:lnTo>
                        <a:lnTo>
                          <a:pt x="27" y="196"/>
                        </a:lnTo>
                        <a:lnTo>
                          <a:pt x="23" y="201"/>
                        </a:lnTo>
                        <a:lnTo>
                          <a:pt x="18" y="196"/>
                        </a:lnTo>
                        <a:lnTo>
                          <a:pt x="23" y="192"/>
                        </a:lnTo>
                        <a:lnTo>
                          <a:pt x="18" y="188"/>
                        </a:lnTo>
                        <a:lnTo>
                          <a:pt x="14" y="192"/>
                        </a:lnTo>
                        <a:lnTo>
                          <a:pt x="9" y="183"/>
                        </a:lnTo>
                        <a:lnTo>
                          <a:pt x="14" y="170"/>
                        </a:lnTo>
                        <a:lnTo>
                          <a:pt x="18" y="15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59" name="Freeform 156"/>
                  <p:cNvSpPr>
                    <a:spLocks/>
                  </p:cNvSpPr>
                  <p:nvPr/>
                </p:nvSpPr>
                <p:spPr bwMode="gray">
                  <a:xfrm>
                    <a:off x="3411" y="2390"/>
                    <a:ext cx="80" cy="50"/>
                  </a:xfrm>
                  <a:custGeom>
                    <a:avLst/>
                    <a:gdLst>
                      <a:gd name="T0" fmla="*/ 0 w 80"/>
                      <a:gd name="T1" fmla="*/ 14 h 50"/>
                      <a:gd name="T2" fmla="*/ 9 w 80"/>
                      <a:gd name="T3" fmla="*/ 18 h 50"/>
                      <a:gd name="T4" fmla="*/ 13 w 80"/>
                      <a:gd name="T5" fmla="*/ 18 h 50"/>
                      <a:gd name="T6" fmla="*/ 26 w 80"/>
                      <a:gd name="T7" fmla="*/ 23 h 50"/>
                      <a:gd name="T8" fmla="*/ 40 w 80"/>
                      <a:gd name="T9" fmla="*/ 23 h 50"/>
                      <a:gd name="T10" fmla="*/ 44 w 80"/>
                      <a:gd name="T11" fmla="*/ 32 h 50"/>
                      <a:gd name="T12" fmla="*/ 49 w 80"/>
                      <a:gd name="T13" fmla="*/ 27 h 50"/>
                      <a:gd name="T14" fmla="*/ 49 w 80"/>
                      <a:gd name="T15" fmla="*/ 23 h 50"/>
                      <a:gd name="T16" fmla="*/ 53 w 80"/>
                      <a:gd name="T17" fmla="*/ 23 h 50"/>
                      <a:gd name="T18" fmla="*/ 71 w 80"/>
                      <a:gd name="T19" fmla="*/ 0 h 50"/>
                      <a:gd name="T20" fmla="*/ 76 w 80"/>
                      <a:gd name="T21" fmla="*/ 0 h 50"/>
                      <a:gd name="T22" fmla="*/ 80 w 80"/>
                      <a:gd name="T23" fmla="*/ 5 h 50"/>
                      <a:gd name="T24" fmla="*/ 76 w 80"/>
                      <a:gd name="T25" fmla="*/ 14 h 50"/>
                      <a:gd name="T26" fmla="*/ 76 w 80"/>
                      <a:gd name="T27" fmla="*/ 14 h 50"/>
                      <a:gd name="T28" fmla="*/ 71 w 80"/>
                      <a:gd name="T29" fmla="*/ 18 h 50"/>
                      <a:gd name="T30" fmla="*/ 62 w 80"/>
                      <a:gd name="T31" fmla="*/ 32 h 50"/>
                      <a:gd name="T32" fmla="*/ 44 w 80"/>
                      <a:gd name="T33" fmla="*/ 41 h 50"/>
                      <a:gd name="T34" fmla="*/ 22 w 80"/>
                      <a:gd name="T35" fmla="*/ 50 h 50"/>
                      <a:gd name="T36" fmla="*/ 9 w 80"/>
                      <a:gd name="T37" fmla="*/ 41 h 50"/>
                      <a:gd name="T38" fmla="*/ 0 w 80"/>
                      <a:gd name="T39"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50">
                        <a:moveTo>
                          <a:pt x="0" y="14"/>
                        </a:moveTo>
                        <a:lnTo>
                          <a:pt x="9" y="18"/>
                        </a:lnTo>
                        <a:lnTo>
                          <a:pt x="13" y="18"/>
                        </a:lnTo>
                        <a:lnTo>
                          <a:pt x="26" y="23"/>
                        </a:lnTo>
                        <a:lnTo>
                          <a:pt x="40" y="23"/>
                        </a:lnTo>
                        <a:lnTo>
                          <a:pt x="44" y="32"/>
                        </a:lnTo>
                        <a:lnTo>
                          <a:pt x="49" y="27"/>
                        </a:lnTo>
                        <a:lnTo>
                          <a:pt x="49" y="23"/>
                        </a:lnTo>
                        <a:lnTo>
                          <a:pt x="53" y="23"/>
                        </a:lnTo>
                        <a:lnTo>
                          <a:pt x="71" y="0"/>
                        </a:lnTo>
                        <a:lnTo>
                          <a:pt x="76" y="0"/>
                        </a:lnTo>
                        <a:lnTo>
                          <a:pt x="80" y="5"/>
                        </a:lnTo>
                        <a:lnTo>
                          <a:pt x="76" y="14"/>
                        </a:lnTo>
                        <a:lnTo>
                          <a:pt x="76" y="14"/>
                        </a:lnTo>
                        <a:lnTo>
                          <a:pt x="71" y="18"/>
                        </a:lnTo>
                        <a:lnTo>
                          <a:pt x="62" y="32"/>
                        </a:lnTo>
                        <a:lnTo>
                          <a:pt x="44" y="41"/>
                        </a:lnTo>
                        <a:lnTo>
                          <a:pt x="22" y="50"/>
                        </a:lnTo>
                        <a:lnTo>
                          <a:pt x="9" y="41"/>
                        </a:lnTo>
                        <a:lnTo>
                          <a:pt x="0" y="1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60" name="Freeform 157"/>
                  <p:cNvSpPr>
                    <a:spLocks/>
                  </p:cNvSpPr>
                  <p:nvPr/>
                </p:nvSpPr>
                <p:spPr bwMode="gray">
                  <a:xfrm>
                    <a:off x="3437" y="2091"/>
                    <a:ext cx="197" cy="143"/>
                  </a:xfrm>
                  <a:custGeom>
                    <a:avLst/>
                    <a:gdLst>
                      <a:gd name="T0" fmla="*/ 5 w 197"/>
                      <a:gd name="T1" fmla="*/ 31 h 143"/>
                      <a:gd name="T2" fmla="*/ 18 w 197"/>
                      <a:gd name="T3" fmla="*/ 9 h 143"/>
                      <a:gd name="T4" fmla="*/ 32 w 197"/>
                      <a:gd name="T5" fmla="*/ 31 h 143"/>
                      <a:gd name="T6" fmla="*/ 9 w 197"/>
                      <a:gd name="T7" fmla="*/ 40 h 143"/>
                      <a:gd name="T8" fmla="*/ 0 w 197"/>
                      <a:gd name="T9" fmla="*/ 49 h 143"/>
                      <a:gd name="T10" fmla="*/ 9 w 197"/>
                      <a:gd name="T11" fmla="*/ 54 h 143"/>
                      <a:gd name="T12" fmla="*/ 18 w 197"/>
                      <a:gd name="T13" fmla="*/ 67 h 143"/>
                      <a:gd name="T14" fmla="*/ 5 w 197"/>
                      <a:gd name="T15" fmla="*/ 67 h 143"/>
                      <a:gd name="T16" fmla="*/ 14 w 197"/>
                      <a:gd name="T17" fmla="*/ 72 h 143"/>
                      <a:gd name="T18" fmla="*/ 18 w 197"/>
                      <a:gd name="T19" fmla="*/ 98 h 143"/>
                      <a:gd name="T20" fmla="*/ 32 w 197"/>
                      <a:gd name="T21" fmla="*/ 103 h 143"/>
                      <a:gd name="T22" fmla="*/ 54 w 197"/>
                      <a:gd name="T23" fmla="*/ 94 h 143"/>
                      <a:gd name="T24" fmla="*/ 72 w 197"/>
                      <a:gd name="T25" fmla="*/ 94 h 143"/>
                      <a:gd name="T26" fmla="*/ 108 w 197"/>
                      <a:gd name="T27" fmla="*/ 116 h 143"/>
                      <a:gd name="T28" fmla="*/ 121 w 197"/>
                      <a:gd name="T29" fmla="*/ 134 h 143"/>
                      <a:gd name="T30" fmla="*/ 139 w 197"/>
                      <a:gd name="T31" fmla="*/ 143 h 143"/>
                      <a:gd name="T32" fmla="*/ 170 w 197"/>
                      <a:gd name="T33" fmla="*/ 125 h 143"/>
                      <a:gd name="T34" fmla="*/ 188 w 197"/>
                      <a:gd name="T35" fmla="*/ 103 h 143"/>
                      <a:gd name="T36" fmla="*/ 197 w 197"/>
                      <a:gd name="T37" fmla="*/ 103 h 143"/>
                      <a:gd name="T38" fmla="*/ 188 w 197"/>
                      <a:gd name="T39" fmla="*/ 89 h 143"/>
                      <a:gd name="T40" fmla="*/ 175 w 197"/>
                      <a:gd name="T41" fmla="*/ 81 h 143"/>
                      <a:gd name="T42" fmla="*/ 152 w 197"/>
                      <a:gd name="T43" fmla="*/ 63 h 143"/>
                      <a:gd name="T44" fmla="*/ 134 w 197"/>
                      <a:gd name="T45" fmla="*/ 45 h 143"/>
                      <a:gd name="T46" fmla="*/ 130 w 197"/>
                      <a:gd name="T47" fmla="*/ 27 h 143"/>
                      <a:gd name="T48" fmla="*/ 108 w 197"/>
                      <a:gd name="T49" fmla="*/ 31 h 143"/>
                      <a:gd name="T50" fmla="*/ 108 w 197"/>
                      <a:gd name="T51" fmla="*/ 13 h 143"/>
                      <a:gd name="T52" fmla="*/ 99 w 197"/>
                      <a:gd name="T53" fmla="*/ 5 h 143"/>
                      <a:gd name="T54" fmla="*/ 81 w 197"/>
                      <a:gd name="T55" fmla="*/ 5 h 143"/>
                      <a:gd name="T56" fmla="*/ 81 w 197"/>
                      <a:gd name="T57" fmla="*/ 13 h 143"/>
                      <a:gd name="T58" fmla="*/ 72 w 197"/>
                      <a:gd name="T59" fmla="*/ 9 h 143"/>
                      <a:gd name="T60" fmla="*/ 67 w 197"/>
                      <a:gd name="T61" fmla="*/ 13 h 143"/>
                      <a:gd name="T62" fmla="*/ 63 w 197"/>
                      <a:gd name="T63" fmla="*/ 22 h 143"/>
                      <a:gd name="T64" fmla="*/ 59 w 197"/>
                      <a:gd name="T65" fmla="*/ 27 h 143"/>
                      <a:gd name="T66" fmla="*/ 41 w 197"/>
                      <a:gd name="T67" fmla="*/ 27 h 143"/>
                      <a:gd name="T68" fmla="*/ 32 w 197"/>
                      <a:gd name="T69" fmla="*/ 13 h 143"/>
                      <a:gd name="T70" fmla="*/ 9 w 197"/>
                      <a:gd name="T71" fmla="*/ 9 h 143"/>
                      <a:gd name="T72" fmla="*/ 0 w 197"/>
                      <a:gd name="T73" fmla="*/ 1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7" h="143">
                        <a:moveTo>
                          <a:pt x="0" y="18"/>
                        </a:moveTo>
                        <a:lnTo>
                          <a:pt x="5" y="31"/>
                        </a:lnTo>
                        <a:lnTo>
                          <a:pt x="5" y="13"/>
                        </a:lnTo>
                        <a:lnTo>
                          <a:pt x="18" y="9"/>
                        </a:lnTo>
                        <a:lnTo>
                          <a:pt x="23" y="22"/>
                        </a:lnTo>
                        <a:lnTo>
                          <a:pt x="32" y="31"/>
                        </a:lnTo>
                        <a:lnTo>
                          <a:pt x="23" y="36"/>
                        </a:lnTo>
                        <a:lnTo>
                          <a:pt x="9" y="40"/>
                        </a:lnTo>
                        <a:lnTo>
                          <a:pt x="5" y="36"/>
                        </a:lnTo>
                        <a:lnTo>
                          <a:pt x="0" y="49"/>
                        </a:lnTo>
                        <a:lnTo>
                          <a:pt x="5" y="58"/>
                        </a:lnTo>
                        <a:lnTo>
                          <a:pt x="9" y="54"/>
                        </a:lnTo>
                        <a:lnTo>
                          <a:pt x="18" y="54"/>
                        </a:lnTo>
                        <a:lnTo>
                          <a:pt x="18" y="67"/>
                        </a:lnTo>
                        <a:lnTo>
                          <a:pt x="9" y="63"/>
                        </a:lnTo>
                        <a:lnTo>
                          <a:pt x="5" y="67"/>
                        </a:lnTo>
                        <a:lnTo>
                          <a:pt x="9" y="72"/>
                        </a:lnTo>
                        <a:lnTo>
                          <a:pt x="14" y="72"/>
                        </a:lnTo>
                        <a:lnTo>
                          <a:pt x="18" y="76"/>
                        </a:lnTo>
                        <a:lnTo>
                          <a:pt x="18" y="98"/>
                        </a:lnTo>
                        <a:lnTo>
                          <a:pt x="23" y="107"/>
                        </a:lnTo>
                        <a:lnTo>
                          <a:pt x="32" y="103"/>
                        </a:lnTo>
                        <a:lnTo>
                          <a:pt x="41" y="94"/>
                        </a:lnTo>
                        <a:lnTo>
                          <a:pt x="54" y="94"/>
                        </a:lnTo>
                        <a:lnTo>
                          <a:pt x="63" y="85"/>
                        </a:lnTo>
                        <a:lnTo>
                          <a:pt x="72" y="94"/>
                        </a:lnTo>
                        <a:lnTo>
                          <a:pt x="94" y="98"/>
                        </a:lnTo>
                        <a:lnTo>
                          <a:pt x="108" y="116"/>
                        </a:lnTo>
                        <a:lnTo>
                          <a:pt x="121" y="116"/>
                        </a:lnTo>
                        <a:lnTo>
                          <a:pt x="121" y="134"/>
                        </a:lnTo>
                        <a:lnTo>
                          <a:pt x="134" y="134"/>
                        </a:lnTo>
                        <a:lnTo>
                          <a:pt x="139" y="143"/>
                        </a:lnTo>
                        <a:lnTo>
                          <a:pt x="152" y="130"/>
                        </a:lnTo>
                        <a:lnTo>
                          <a:pt x="170" y="125"/>
                        </a:lnTo>
                        <a:lnTo>
                          <a:pt x="179" y="107"/>
                        </a:lnTo>
                        <a:lnTo>
                          <a:pt x="188" y="103"/>
                        </a:lnTo>
                        <a:lnTo>
                          <a:pt x="197" y="107"/>
                        </a:lnTo>
                        <a:lnTo>
                          <a:pt x="197" y="103"/>
                        </a:lnTo>
                        <a:lnTo>
                          <a:pt x="197" y="94"/>
                        </a:lnTo>
                        <a:lnTo>
                          <a:pt x="188" y="89"/>
                        </a:lnTo>
                        <a:lnTo>
                          <a:pt x="184" y="89"/>
                        </a:lnTo>
                        <a:lnTo>
                          <a:pt x="175" y="81"/>
                        </a:lnTo>
                        <a:lnTo>
                          <a:pt x="166" y="76"/>
                        </a:lnTo>
                        <a:lnTo>
                          <a:pt x="152" y="63"/>
                        </a:lnTo>
                        <a:lnTo>
                          <a:pt x="143" y="54"/>
                        </a:lnTo>
                        <a:lnTo>
                          <a:pt x="134" y="45"/>
                        </a:lnTo>
                        <a:lnTo>
                          <a:pt x="134" y="36"/>
                        </a:lnTo>
                        <a:lnTo>
                          <a:pt x="130" y="27"/>
                        </a:lnTo>
                        <a:lnTo>
                          <a:pt x="126" y="31"/>
                        </a:lnTo>
                        <a:lnTo>
                          <a:pt x="108" y="31"/>
                        </a:lnTo>
                        <a:lnTo>
                          <a:pt x="103" y="18"/>
                        </a:lnTo>
                        <a:lnTo>
                          <a:pt x="108" y="13"/>
                        </a:lnTo>
                        <a:lnTo>
                          <a:pt x="108" y="9"/>
                        </a:lnTo>
                        <a:lnTo>
                          <a:pt x="99" y="5"/>
                        </a:lnTo>
                        <a:lnTo>
                          <a:pt x="81" y="0"/>
                        </a:lnTo>
                        <a:lnTo>
                          <a:pt x="81" y="5"/>
                        </a:lnTo>
                        <a:lnTo>
                          <a:pt x="85" y="9"/>
                        </a:lnTo>
                        <a:lnTo>
                          <a:pt x="81" y="13"/>
                        </a:lnTo>
                        <a:lnTo>
                          <a:pt x="76" y="5"/>
                        </a:lnTo>
                        <a:lnTo>
                          <a:pt x="72" y="9"/>
                        </a:lnTo>
                        <a:lnTo>
                          <a:pt x="72" y="13"/>
                        </a:lnTo>
                        <a:lnTo>
                          <a:pt x="67" y="13"/>
                        </a:lnTo>
                        <a:lnTo>
                          <a:pt x="63" y="18"/>
                        </a:lnTo>
                        <a:lnTo>
                          <a:pt x="63" y="22"/>
                        </a:lnTo>
                        <a:lnTo>
                          <a:pt x="63" y="27"/>
                        </a:lnTo>
                        <a:lnTo>
                          <a:pt x="59" y="27"/>
                        </a:lnTo>
                        <a:lnTo>
                          <a:pt x="45" y="27"/>
                        </a:lnTo>
                        <a:lnTo>
                          <a:pt x="41" y="27"/>
                        </a:lnTo>
                        <a:lnTo>
                          <a:pt x="36" y="22"/>
                        </a:lnTo>
                        <a:lnTo>
                          <a:pt x="32" y="13"/>
                        </a:lnTo>
                        <a:lnTo>
                          <a:pt x="23" y="5"/>
                        </a:lnTo>
                        <a:lnTo>
                          <a:pt x="9" y="9"/>
                        </a:lnTo>
                        <a:lnTo>
                          <a:pt x="0" y="13"/>
                        </a:lnTo>
                        <a:lnTo>
                          <a:pt x="0" y="18"/>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61" name="Freeform 158"/>
                  <p:cNvSpPr>
                    <a:spLocks/>
                  </p:cNvSpPr>
                  <p:nvPr/>
                </p:nvSpPr>
                <p:spPr bwMode="gray">
                  <a:xfrm>
                    <a:off x="3482" y="2033"/>
                    <a:ext cx="250" cy="165"/>
                  </a:xfrm>
                  <a:custGeom>
                    <a:avLst/>
                    <a:gdLst>
                      <a:gd name="T0" fmla="*/ 0 w 250"/>
                      <a:gd name="T1" fmla="*/ 13 h 165"/>
                      <a:gd name="T2" fmla="*/ 36 w 250"/>
                      <a:gd name="T3" fmla="*/ 9 h 165"/>
                      <a:gd name="T4" fmla="*/ 45 w 250"/>
                      <a:gd name="T5" fmla="*/ 40 h 165"/>
                      <a:gd name="T6" fmla="*/ 49 w 250"/>
                      <a:gd name="T7" fmla="*/ 40 h 165"/>
                      <a:gd name="T8" fmla="*/ 63 w 250"/>
                      <a:gd name="T9" fmla="*/ 45 h 165"/>
                      <a:gd name="T10" fmla="*/ 76 w 250"/>
                      <a:gd name="T11" fmla="*/ 31 h 165"/>
                      <a:gd name="T12" fmla="*/ 89 w 250"/>
                      <a:gd name="T13" fmla="*/ 40 h 165"/>
                      <a:gd name="T14" fmla="*/ 125 w 250"/>
                      <a:gd name="T15" fmla="*/ 36 h 165"/>
                      <a:gd name="T16" fmla="*/ 139 w 250"/>
                      <a:gd name="T17" fmla="*/ 54 h 165"/>
                      <a:gd name="T18" fmla="*/ 143 w 250"/>
                      <a:gd name="T19" fmla="*/ 67 h 165"/>
                      <a:gd name="T20" fmla="*/ 139 w 250"/>
                      <a:gd name="T21" fmla="*/ 76 h 165"/>
                      <a:gd name="T22" fmla="*/ 152 w 250"/>
                      <a:gd name="T23" fmla="*/ 85 h 165"/>
                      <a:gd name="T24" fmla="*/ 188 w 250"/>
                      <a:gd name="T25" fmla="*/ 85 h 165"/>
                      <a:gd name="T26" fmla="*/ 219 w 250"/>
                      <a:gd name="T27" fmla="*/ 63 h 165"/>
                      <a:gd name="T28" fmla="*/ 223 w 250"/>
                      <a:gd name="T29" fmla="*/ 71 h 165"/>
                      <a:gd name="T30" fmla="*/ 210 w 250"/>
                      <a:gd name="T31" fmla="*/ 85 h 165"/>
                      <a:gd name="T32" fmla="*/ 215 w 250"/>
                      <a:gd name="T33" fmla="*/ 89 h 165"/>
                      <a:gd name="T34" fmla="*/ 232 w 250"/>
                      <a:gd name="T35" fmla="*/ 89 h 165"/>
                      <a:gd name="T36" fmla="*/ 250 w 250"/>
                      <a:gd name="T37" fmla="*/ 94 h 165"/>
                      <a:gd name="T38" fmla="*/ 246 w 250"/>
                      <a:gd name="T39" fmla="*/ 103 h 165"/>
                      <a:gd name="T40" fmla="*/ 237 w 250"/>
                      <a:gd name="T41" fmla="*/ 103 h 165"/>
                      <a:gd name="T42" fmla="*/ 223 w 250"/>
                      <a:gd name="T43" fmla="*/ 103 h 165"/>
                      <a:gd name="T44" fmla="*/ 223 w 250"/>
                      <a:gd name="T45" fmla="*/ 116 h 165"/>
                      <a:gd name="T46" fmla="*/ 219 w 250"/>
                      <a:gd name="T47" fmla="*/ 107 h 165"/>
                      <a:gd name="T48" fmla="*/ 210 w 250"/>
                      <a:gd name="T49" fmla="*/ 107 h 165"/>
                      <a:gd name="T50" fmla="*/ 210 w 250"/>
                      <a:gd name="T51" fmla="*/ 98 h 165"/>
                      <a:gd name="T52" fmla="*/ 206 w 250"/>
                      <a:gd name="T53" fmla="*/ 89 h 165"/>
                      <a:gd name="T54" fmla="*/ 192 w 250"/>
                      <a:gd name="T55" fmla="*/ 94 h 165"/>
                      <a:gd name="T56" fmla="*/ 188 w 250"/>
                      <a:gd name="T57" fmla="*/ 107 h 165"/>
                      <a:gd name="T58" fmla="*/ 174 w 250"/>
                      <a:gd name="T59" fmla="*/ 116 h 165"/>
                      <a:gd name="T60" fmla="*/ 165 w 250"/>
                      <a:gd name="T61" fmla="*/ 125 h 165"/>
                      <a:gd name="T62" fmla="*/ 170 w 250"/>
                      <a:gd name="T63" fmla="*/ 130 h 165"/>
                      <a:gd name="T64" fmla="*/ 179 w 250"/>
                      <a:gd name="T65" fmla="*/ 134 h 165"/>
                      <a:gd name="T66" fmla="*/ 179 w 250"/>
                      <a:gd name="T67" fmla="*/ 147 h 165"/>
                      <a:gd name="T68" fmla="*/ 170 w 250"/>
                      <a:gd name="T69" fmla="*/ 165 h 165"/>
                      <a:gd name="T70" fmla="*/ 152 w 250"/>
                      <a:gd name="T71" fmla="*/ 161 h 165"/>
                      <a:gd name="T72" fmla="*/ 143 w 250"/>
                      <a:gd name="T73" fmla="*/ 147 h 165"/>
                      <a:gd name="T74" fmla="*/ 130 w 250"/>
                      <a:gd name="T75" fmla="*/ 139 h 165"/>
                      <a:gd name="T76" fmla="*/ 107 w 250"/>
                      <a:gd name="T77" fmla="*/ 121 h 165"/>
                      <a:gd name="T78" fmla="*/ 89 w 250"/>
                      <a:gd name="T79" fmla="*/ 103 h 165"/>
                      <a:gd name="T80" fmla="*/ 85 w 250"/>
                      <a:gd name="T81" fmla="*/ 85 h 165"/>
                      <a:gd name="T82" fmla="*/ 63 w 250"/>
                      <a:gd name="T83" fmla="*/ 89 h 165"/>
                      <a:gd name="T84" fmla="*/ 63 w 250"/>
                      <a:gd name="T85" fmla="*/ 71 h 165"/>
                      <a:gd name="T86" fmla="*/ 54 w 250"/>
                      <a:gd name="T87" fmla="*/ 63 h 165"/>
                      <a:gd name="T88" fmla="*/ 36 w 250"/>
                      <a:gd name="T89" fmla="*/ 63 h 165"/>
                      <a:gd name="T90" fmla="*/ 36 w 250"/>
                      <a:gd name="T91" fmla="*/ 71 h 165"/>
                      <a:gd name="T92" fmla="*/ 27 w 250"/>
                      <a:gd name="T93" fmla="*/ 67 h 165"/>
                      <a:gd name="T94" fmla="*/ 22 w 250"/>
                      <a:gd name="T95" fmla="*/ 71 h 165"/>
                      <a:gd name="T96" fmla="*/ 18 w 250"/>
                      <a:gd name="T97" fmla="*/ 80 h 165"/>
                      <a:gd name="T98" fmla="*/ 14 w 250"/>
                      <a:gd name="T99" fmla="*/ 8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0" h="165">
                        <a:moveTo>
                          <a:pt x="0" y="85"/>
                        </a:moveTo>
                        <a:lnTo>
                          <a:pt x="0" y="13"/>
                        </a:lnTo>
                        <a:lnTo>
                          <a:pt x="40" y="0"/>
                        </a:lnTo>
                        <a:lnTo>
                          <a:pt x="36" y="9"/>
                        </a:lnTo>
                        <a:lnTo>
                          <a:pt x="36" y="40"/>
                        </a:lnTo>
                        <a:lnTo>
                          <a:pt x="45" y="40"/>
                        </a:lnTo>
                        <a:lnTo>
                          <a:pt x="45" y="49"/>
                        </a:lnTo>
                        <a:lnTo>
                          <a:pt x="49" y="40"/>
                        </a:lnTo>
                        <a:lnTo>
                          <a:pt x="58" y="40"/>
                        </a:lnTo>
                        <a:lnTo>
                          <a:pt x="63" y="45"/>
                        </a:lnTo>
                        <a:lnTo>
                          <a:pt x="72" y="31"/>
                        </a:lnTo>
                        <a:lnTo>
                          <a:pt x="76" y="31"/>
                        </a:lnTo>
                        <a:lnTo>
                          <a:pt x="81" y="27"/>
                        </a:lnTo>
                        <a:lnTo>
                          <a:pt x="89" y="40"/>
                        </a:lnTo>
                        <a:lnTo>
                          <a:pt x="121" y="40"/>
                        </a:lnTo>
                        <a:lnTo>
                          <a:pt x="125" y="36"/>
                        </a:lnTo>
                        <a:lnTo>
                          <a:pt x="134" y="45"/>
                        </a:lnTo>
                        <a:lnTo>
                          <a:pt x="139" y="54"/>
                        </a:lnTo>
                        <a:lnTo>
                          <a:pt x="143" y="54"/>
                        </a:lnTo>
                        <a:lnTo>
                          <a:pt x="143" y="67"/>
                        </a:lnTo>
                        <a:lnTo>
                          <a:pt x="139" y="67"/>
                        </a:lnTo>
                        <a:lnTo>
                          <a:pt x="139" y="76"/>
                        </a:lnTo>
                        <a:lnTo>
                          <a:pt x="152" y="76"/>
                        </a:lnTo>
                        <a:lnTo>
                          <a:pt x="152" y="85"/>
                        </a:lnTo>
                        <a:lnTo>
                          <a:pt x="183" y="89"/>
                        </a:lnTo>
                        <a:lnTo>
                          <a:pt x="188" y="85"/>
                        </a:lnTo>
                        <a:lnTo>
                          <a:pt x="206" y="67"/>
                        </a:lnTo>
                        <a:lnTo>
                          <a:pt x="219" y="63"/>
                        </a:lnTo>
                        <a:lnTo>
                          <a:pt x="223" y="67"/>
                        </a:lnTo>
                        <a:lnTo>
                          <a:pt x="223" y="71"/>
                        </a:lnTo>
                        <a:lnTo>
                          <a:pt x="210" y="80"/>
                        </a:lnTo>
                        <a:lnTo>
                          <a:pt x="210" y="85"/>
                        </a:lnTo>
                        <a:lnTo>
                          <a:pt x="215" y="85"/>
                        </a:lnTo>
                        <a:lnTo>
                          <a:pt x="215" y="89"/>
                        </a:lnTo>
                        <a:lnTo>
                          <a:pt x="228" y="85"/>
                        </a:lnTo>
                        <a:lnTo>
                          <a:pt x="232" y="89"/>
                        </a:lnTo>
                        <a:lnTo>
                          <a:pt x="241" y="94"/>
                        </a:lnTo>
                        <a:lnTo>
                          <a:pt x="250" y="94"/>
                        </a:lnTo>
                        <a:lnTo>
                          <a:pt x="250" y="98"/>
                        </a:lnTo>
                        <a:lnTo>
                          <a:pt x="246" y="103"/>
                        </a:lnTo>
                        <a:lnTo>
                          <a:pt x="241" y="98"/>
                        </a:lnTo>
                        <a:lnTo>
                          <a:pt x="237" y="103"/>
                        </a:lnTo>
                        <a:lnTo>
                          <a:pt x="232" y="107"/>
                        </a:lnTo>
                        <a:lnTo>
                          <a:pt x="223" y="103"/>
                        </a:lnTo>
                        <a:lnTo>
                          <a:pt x="223" y="107"/>
                        </a:lnTo>
                        <a:lnTo>
                          <a:pt x="223" y="116"/>
                        </a:lnTo>
                        <a:lnTo>
                          <a:pt x="219" y="116"/>
                        </a:lnTo>
                        <a:lnTo>
                          <a:pt x="219" y="107"/>
                        </a:lnTo>
                        <a:lnTo>
                          <a:pt x="215" y="107"/>
                        </a:lnTo>
                        <a:lnTo>
                          <a:pt x="210" y="107"/>
                        </a:lnTo>
                        <a:lnTo>
                          <a:pt x="210" y="98"/>
                        </a:lnTo>
                        <a:lnTo>
                          <a:pt x="210" y="98"/>
                        </a:lnTo>
                        <a:lnTo>
                          <a:pt x="210" y="89"/>
                        </a:lnTo>
                        <a:lnTo>
                          <a:pt x="206" y="89"/>
                        </a:lnTo>
                        <a:lnTo>
                          <a:pt x="206" y="94"/>
                        </a:lnTo>
                        <a:lnTo>
                          <a:pt x="192" y="94"/>
                        </a:lnTo>
                        <a:lnTo>
                          <a:pt x="197" y="98"/>
                        </a:lnTo>
                        <a:lnTo>
                          <a:pt x="188" y="107"/>
                        </a:lnTo>
                        <a:lnTo>
                          <a:pt x="174" y="116"/>
                        </a:lnTo>
                        <a:lnTo>
                          <a:pt x="174" y="116"/>
                        </a:lnTo>
                        <a:lnTo>
                          <a:pt x="170" y="121"/>
                        </a:lnTo>
                        <a:lnTo>
                          <a:pt x="165" y="125"/>
                        </a:lnTo>
                        <a:lnTo>
                          <a:pt x="170" y="130"/>
                        </a:lnTo>
                        <a:lnTo>
                          <a:pt x="170" y="130"/>
                        </a:lnTo>
                        <a:lnTo>
                          <a:pt x="174" y="134"/>
                        </a:lnTo>
                        <a:lnTo>
                          <a:pt x="179" y="134"/>
                        </a:lnTo>
                        <a:lnTo>
                          <a:pt x="174" y="143"/>
                        </a:lnTo>
                        <a:lnTo>
                          <a:pt x="179" y="147"/>
                        </a:lnTo>
                        <a:lnTo>
                          <a:pt x="174" y="156"/>
                        </a:lnTo>
                        <a:lnTo>
                          <a:pt x="170" y="165"/>
                        </a:lnTo>
                        <a:lnTo>
                          <a:pt x="152" y="165"/>
                        </a:lnTo>
                        <a:lnTo>
                          <a:pt x="152" y="161"/>
                        </a:lnTo>
                        <a:lnTo>
                          <a:pt x="152" y="152"/>
                        </a:lnTo>
                        <a:lnTo>
                          <a:pt x="143" y="147"/>
                        </a:lnTo>
                        <a:lnTo>
                          <a:pt x="139" y="147"/>
                        </a:lnTo>
                        <a:lnTo>
                          <a:pt x="130" y="139"/>
                        </a:lnTo>
                        <a:lnTo>
                          <a:pt x="121" y="134"/>
                        </a:lnTo>
                        <a:lnTo>
                          <a:pt x="107" y="121"/>
                        </a:lnTo>
                        <a:lnTo>
                          <a:pt x="98" y="112"/>
                        </a:lnTo>
                        <a:lnTo>
                          <a:pt x="89" y="103"/>
                        </a:lnTo>
                        <a:lnTo>
                          <a:pt x="89" y="94"/>
                        </a:lnTo>
                        <a:lnTo>
                          <a:pt x="85" y="85"/>
                        </a:lnTo>
                        <a:lnTo>
                          <a:pt x="81" y="89"/>
                        </a:lnTo>
                        <a:lnTo>
                          <a:pt x="63" y="89"/>
                        </a:lnTo>
                        <a:lnTo>
                          <a:pt x="58" y="76"/>
                        </a:lnTo>
                        <a:lnTo>
                          <a:pt x="63" y="71"/>
                        </a:lnTo>
                        <a:lnTo>
                          <a:pt x="63" y="67"/>
                        </a:lnTo>
                        <a:lnTo>
                          <a:pt x="54" y="63"/>
                        </a:lnTo>
                        <a:lnTo>
                          <a:pt x="36" y="58"/>
                        </a:lnTo>
                        <a:lnTo>
                          <a:pt x="36" y="63"/>
                        </a:lnTo>
                        <a:lnTo>
                          <a:pt x="40" y="67"/>
                        </a:lnTo>
                        <a:lnTo>
                          <a:pt x="36" y="71"/>
                        </a:lnTo>
                        <a:lnTo>
                          <a:pt x="31" y="63"/>
                        </a:lnTo>
                        <a:lnTo>
                          <a:pt x="27" y="67"/>
                        </a:lnTo>
                        <a:lnTo>
                          <a:pt x="27" y="71"/>
                        </a:lnTo>
                        <a:lnTo>
                          <a:pt x="22" y="71"/>
                        </a:lnTo>
                        <a:lnTo>
                          <a:pt x="18" y="76"/>
                        </a:lnTo>
                        <a:lnTo>
                          <a:pt x="18" y="80"/>
                        </a:lnTo>
                        <a:lnTo>
                          <a:pt x="18" y="85"/>
                        </a:lnTo>
                        <a:lnTo>
                          <a:pt x="14" y="85"/>
                        </a:lnTo>
                        <a:lnTo>
                          <a:pt x="0" y="8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62" name="Freeform 159"/>
                  <p:cNvSpPr>
                    <a:spLocks noEditPoints="1"/>
                  </p:cNvSpPr>
                  <p:nvPr/>
                </p:nvSpPr>
                <p:spPr bwMode="gray">
                  <a:xfrm>
                    <a:off x="5367" y="2976"/>
                    <a:ext cx="22" cy="9"/>
                  </a:xfrm>
                  <a:custGeom>
                    <a:avLst/>
                    <a:gdLst>
                      <a:gd name="T0" fmla="*/ 0 w 22"/>
                      <a:gd name="T1" fmla="*/ 0 h 9"/>
                      <a:gd name="T2" fmla="*/ 5 w 22"/>
                      <a:gd name="T3" fmla="*/ 4 h 9"/>
                      <a:gd name="T4" fmla="*/ 9 w 22"/>
                      <a:gd name="T5" fmla="*/ 0 h 9"/>
                      <a:gd name="T6" fmla="*/ 5 w 22"/>
                      <a:gd name="T7" fmla="*/ 0 h 9"/>
                      <a:gd name="T8" fmla="*/ 0 w 22"/>
                      <a:gd name="T9" fmla="*/ 0 h 9"/>
                      <a:gd name="T10" fmla="*/ 14 w 22"/>
                      <a:gd name="T11" fmla="*/ 4 h 9"/>
                      <a:gd name="T12" fmla="*/ 18 w 22"/>
                      <a:gd name="T13" fmla="*/ 9 h 9"/>
                      <a:gd name="T14" fmla="*/ 22 w 22"/>
                      <a:gd name="T15" fmla="*/ 9 h 9"/>
                      <a:gd name="T16" fmla="*/ 18 w 22"/>
                      <a:gd name="T17" fmla="*/ 4 h 9"/>
                      <a:gd name="T18" fmla="*/ 14 w 22"/>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9">
                        <a:moveTo>
                          <a:pt x="0" y="0"/>
                        </a:moveTo>
                        <a:lnTo>
                          <a:pt x="5" y="4"/>
                        </a:lnTo>
                        <a:lnTo>
                          <a:pt x="9" y="0"/>
                        </a:lnTo>
                        <a:lnTo>
                          <a:pt x="5" y="0"/>
                        </a:lnTo>
                        <a:lnTo>
                          <a:pt x="0" y="0"/>
                        </a:lnTo>
                        <a:close/>
                        <a:moveTo>
                          <a:pt x="14" y="4"/>
                        </a:moveTo>
                        <a:lnTo>
                          <a:pt x="18" y="9"/>
                        </a:lnTo>
                        <a:lnTo>
                          <a:pt x="22" y="9"/>
                        </a:lnTo>
                        <a:lnTo>
                          <a:pt x="18" y="4"/>
                        </a:lnTo>
                        <a:lnTo>
                          <a:pt x="14" y="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63" name="Freeform 160"/>
                  <p:cNvSpPr>
                    <a:spLocks noEditPoints="1"/>
                  </p:cNvSpPr>
                  <p:nvPr/>
                </p:nvSpPr>
                <p:spPr bwMode="gray">
                  <a:xfrm>
                    <a:off x="3294" y="2511"/>
                    <a:ext cx="175" cy="90"/>
                  </a:xfrm>
                  <a:custGeom>
                    <a:avLst/>
                    <a:gdLst>
                      <a:gd name="T0" fmla="*/ 5 w 175"/>
                      <a:gd name="T1" fmla="*/ 27 h 90"/>
                      <a:gd name="T2" fmla="*/ 5 w 175"/>
                      <a:gd name="T3" fmla="*/ 40 h 90"/>
                      <a:gd name="T4" fmla="*/ 0 w 175"/>
                      <a:gd name="T5" fmla="*/ 36 h 90"/>
                      <a:gd name="T6" fmla="*/ 0 w 175"/>
                      <a:gd name="T7" fmla="*/ 40 h 90"/>
                      <a:gd name="T8" fmla="*/ 5 w 175"/>
                      <a:gd name="T9" fmla="*/ 54 h 90"/>
                      <a:gd name="T10" fmla="*/ 5 w 175"/>
                      <a:gd name="T11" fmla="*/ 58 h 90"/>
                      <a:gd name="T12" fmla="*/ 9 w 175"/>
                      <a:gd name="T13" fmla="*/ 67 h 90"/>
                      <a:gd name="T14" fmla="*/ 9 w 175"/>
                      <a:gd name="T15" fmla="*/ 72 h 90"/>
                      <a:gd name="T16" fmla="*/ 18 w 175"/>
                      <a:gd name="T17" fmla="*/ 85 h 90"/>
                      <a:gd name="T18" fmla="*/ 18 w 175"/>
                      <a:gd name="T19" fmla="*/ 90 h 90"/>
                      <a:gd name="T20" fmla="*/ 36 w 175"/>
                      <a:gd name="T21" fmla="*/ 85 h 90"/>
                      <a:gd name="T22" fmla="*/ 54 w 175"/>
                      <a:gd name="T23" fmla="*/ 72 h 90"/>
                      <a:gd name="T24" fmla="*/ 67 w 175"/>
                      <a:gd name="T25" fmla="*/ 72 h 90"/>
                      <a:gd name="T26" fmla="*/ 81 w 175"/>
                      <a:gd name="T27" fmla="*/ 63 h 90"/>
                      <a:gd name="T28" fmla="*/ 94 w 175"/>
                      <a:gd name="T29" fmla="*/ 63 h 90"/>
                      <a:gd name="T30" fmla="*/ 103 w 175"/>
                      <a:gd name="T31" fmla="*/ 54 h 90"/>
                      <a:gd name="T32" fmla="*/ 143 w 175"/>
                      <a:gd name="T33" fmla="*/ 40 h 90"/>
                      <a:gd name="T34" fmla="*/ 139 w 175"/>
                      <a:gd name="T35" fmla="*/ 31 h 90"/>
                      <a:gd name="T36" fmla="*/ 152 w 175"/>
                      <a:gd name="T37" fmla="*/ 22 h 90"/>
                      <a:gd name="T38" fmla="*/ 148 w 175"/>
                      <a:gd name="T39" fmla="*/ 0 h 90"/>
                      <a:gd name="T40" fmla="*/ 135 w 175"/>
                      <a:gd name="T41" fmla="*/ 14 h 90"/>
                      <a:gd name="T42" fmla="*/ 112 w 175"/>
                      <a:gd name="T43" fmla="*/ 18 h 90"/>
                      <a:gd name="T44" fmla="*/ 41 w 175"/>
                      <a:gd name="T45" fmla="*/ 45 h 90"/>
                      <a:gd name="T46" fmla="*/ 45 w 175"/>
                      <a:gd name="T47" fmla="*/ 22 h 90"/>
                      <a:gd name="T48" fmla="*/ 14 w 175"/>
                      <a:gd name="T49" fmla="*/ 14 h 90"/>
                      <a:gd name="T50" fmla="*/ 9 w 175"/>
                      <a:gd name="T51" fmla="*/ 27 h 90"/>
                      <a:gd name="T52" fmla="*/ 5 w 175"/>
                      <a:gd name="T53" fmla="*/ 27 h 90"/>
                      <a:gd name="T54" fmla="*/ 157 w 175"/>
                      <a:gd name="T55" fmla="*/ 85 h 90"/>
                      <a:gd name="T56" fmla="*/ 166 w 175"/>
                      <a:gd name="T57" fmla="*/ 90 h 90"/>
                      <a:gd name="T58" fmla="*/ 175 w 175"/>
                      <a:gd name="T59" fmla="*/ 85 h 90"/>
                      <a:gd name="T60" fmla="*/ 161 w 175"/>
                      <a:gd name="T61" fmla="*/ 81 h 90"/>
                      <a:gd name="T62" fmla="*/ 157 w 175"/>
                      <a:gd name="T63"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5" h="90">
                        <a:moveTo>
                          <a:pt x="5" y="27"/>
                        </a:moveTo>
                        <a:lnTo>
                          <a:pt x="5" y="40"/>
                        </a:lnTo>
                        <a:lnTo>
                          <a:pt x="0" y="36"/>
                        </a:lnTo>
                        <a:lnTo>
                          <a:pt x="0" y="40"/>
                        </a:lnTo>
                        <a:lnTo>
                          <a:pt x="5" y="54"/>
                        </a:lnTo>
                        <a:lnTo>
                          <a:pt x="5" y="58"/>
                        </a:lnTo>
                        <a:lnTo>
                          <a:pt x="9" y="67"/>
                        </a:lnTo>
                        <a:lnTo>
                          <a:pt x="9" y="72"/>
                        </a:lnTo>
                        <a:lnTo>
                          <a:pt x="18" y="85"/>
                        </a:lnTo>
                        <a:lnTo>
                          <a:pt x="18" y="90"/>
                        </a:lnTo>
                        <a:lnTo>
                          <a:pt x="36" y="85"/>
                        </a:lnTo>
                        <a:lnTo>
                          <a:pt x="54" y="72"/>
                        </a:lnTo>
                        <a:lnTo>
                          <a:pt x="67" y="72"/>
                        </a:lnTo>
                        <a:lnTo>
                          <a:pt x="81" y="63"/>
                        </a:lnTo>
                        <a:lnTo>
                          <a:pt x="94" y="63"/>
                        </a:lnTo>
                        <a:lnTo>
                          <a:pt x="103" y="54"/>
                        </a:lnTo>
                        <a:lnTo>
                          <a:pt x="143" y="40"/>
                        </a:lnTo>
                        <a:lnTo>
                          <a:pt x="139" y="31"/>
                        </a:lnTo>
                        <a:lnTo>
                          <a:pt x="152" y="22"/>
                        </a:lnTo>
                        <a:lnTo>
                          <a:pt x="148" y="0"/>
                        </a:lnTo>
                        <a:lnTo>
                          <a:pt x="135" y="14"/>
                        </a:lnTo>
                        <a:lnTo>
                          <a:pt x="112" y="18"/>
                        </a:lnTo>
                        <a:lnTo>
                          <a:pt x="41" y="45"/>
                        </a:lnTo>
                        <a:lnTo>
                          <a:pt x="45" y="22"/>
                        </a:lnTo>
                        <a:lnTo>
                          <a:pt x="14" y="14"/>
                        </a:lnTo>
                        <a:lnTo>
                          <a:pt x="9" y="27"/>
                        </a:lnTo>
                        <a:lnTo>
                          <a:pt x="5" y="27"/>
                        </a:lnTo>
                        <a:close/>
                        <a:moveTo>
                          <a:pt x="157" y="85"/>
                        </a:moveTo>
                        <a:lnTo>
                          <a:pt x="166" y="90"/>
                        </a:lnTo>
                        <a:lnTo>
                          <a:pt x="175" y="85"/>
                        </a:lnTo>
                        <a:lnTo>
                          <a:pt x="161" y="81"/>
                        </a:lnTo>
                        <a:lnTo>
                          <a:pt x="157" y="8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64" name="Freeform 161"/>
                  <p:cNvSpPr>
                    <a:spLocks/>
                  </p:cNvSpPr>
                  <p:nvPr/>
                </p:nvSpPr>
                <p:spPr bwMode="gray">
                  <a:xfrm>
                    <a:off x="5367" y="2976"/>
                    <a:ext cx="9" cy="4"/>
                  </a:xfrm>
                  <a:custGeom>
                    <a:avLst/>
                    <a:gdLst>
                      <a:gd name="T0" fmla="*/ 0 w 9"/>
                      <a:gd name="T1" fmla="*/ 0 h 4"/>
                      <a:gd name="T2" fmla="*/ 5 w 9"/>
                      <a:gd name="T3" fmla="*/ 4 h 4"/>
                      <a:gd name="T4" fmla="*/ 9 w 9"/>
                      <a:gd name="T5" fmla="*/ 0 h 4"/>
                      <a:gd name="T6" fmla="*/ 5 w 9"/>
                      <a:gd name="T7" fmla="*/ 0 h 4"/>
                      <a:gd name="T8" fmla="*/ 0 w 9"/>
                      <a:gd name="T9" fmla="*/ 0 h 4"/>
                    </a:gdLst>
                    <a:ahLst/>
                    <a:cxnLst>
                      <a:cxn ang="0">
                        <a:pos x="T0" y="T1"/>
                      </a:cxn>
                      <a:cxn ang="0">
                        <a:pos x="T2" y="T3"/>
                      </a:cxn>
                      <a:cxn ang="0">
                        <a:pos x="T4" y="T5"/>
                      </a:cxn>
                      <a:cxn ang="0">
                        <a:pos x="T6" y="T7"/>
                      </a:cxn>
                      <a:cxn ang="0">
                        <a:pos x="T8" y="T9"/>
                      </a:cxn>
                    </a:cxnLst>
                    <a:rect l="0" t="0" r="r" b="b"/>
                    <a:pathLst>
                      <a:path w="9" h="4">
                        <a:moveTo>
                          <a:pt x="0" y="0"/>
                        </a:moveTo>
                        <a:lnTo>
                          <a:pt x="5" y="4"/>
                        </a:lnTo>
                        <a:lnTo>
                          <a:pt x="9" y="0"/>
                        </a:lnTo>
                        <a:lnTo>
                          <a:pt x="5" y="0"/>
                        </a:lnTo>
                        <a:lnTo>
                          <a:pt x="0" y="0"/>
                        </a:lnTo>
                      </a:path>
                    </a:pathLst>
                  </a:custGeom>
                  <a:solidFill>
                    <a:schemeClr val="bg2"/>
                  </a:solidFill>
                  <a:ln w="3175" cmpd="sng">
                    <a:solidFill>
                      <a:schemeClr val="bg1"/>
                    </a:solidFill>
                    <a:prstDash val="solid"/>
                    <a:round/>
                    <a:headEnd/>
                    <a:tailEnd/>
                  </a:ln>
                </p:spPr>
                <p:txBody>
                  <a:bodyPr/>
                  <a:lstStyle/>
                  <a:p>
                    <a:endParaRPr lang="en-US">
                      <a:solidFill>
                        <a:srgbClr val="000000"/>
                      </a:solidFill>
                    </a:endParaRPr>
                  </a:p>
                </p:txBody>
              </p:sp>
              <p:sp>
                <p:nvSpPr>
                  <p:cNvPr id="465" name="Freeform 162"/>
                  <p:cNvSpPr>
                    <a:spLocks/>
                  </p:cNvSpPr>
                  <p:nvPr/>
                </p:nvSpPr>
                <p:spPr bwMode="gray">
                  <a:xfrm>
                    <a:off x="5381" y="2980"/>
                    <a:ext cx="8" cy="5"/>
                  </a:xfrm>
                  <a:custGeom>
                    <a:avLst/>
                    <a:gdLst>
                      <a:gd name="T0" fmla="*/ 0 w 8"/>
                      <a:gd name="T1" fmla="*/ 0 h 5"/>
                      <a:gd name="T2" fmla="*/ 4 w 8"/>
                      <a:gd name="T3" fmla="*/ 5 h 5"/>
                      <a:gd name="T4" fmla="*/ 8 w 8"/>
                      <a:gd name="T5" fmla="*/ 5 h 5"/>
                      <a:gd name="T6" fmla="*/ 4 w 8"/>
                      <a:gd name="T7" fmla="*/ 0 h 5"/>
                      <a:gd name="T8" fmla="*/ 0 w 8"/>
                      <a:gd name="T9" fmla="*/ 0 h 5"/>
                    </a:gdLst>
                    <a:ahLst/>
                    <a:cxnLst>
                      <a:cxn ang="0">
                        <a:pos x="T0" y="T1"/>
                      </a:cxn>
                      <a:cxn ang="0">
                        <a:pos x="T2" y="T3"/>
                      </a:cxn>
                      <a:cxn ang="0">
                        <a:pos x="T4" y="T5"/>
                      </a:cxn>
                      <a:cxn ang="0">
                        <a:pos x="T6" y="T7"/>
                      </a:cxn>
                      <a:cxn ang="0">
                        <a:pos x="T8" y="T9"/>
                      </a:cxn>
                    </a:cxnLst>
                    <a:rect l="0" t="0" r="r" b="b"/>
                    <a:pathLst>
                      <a:path w="8" h="5">
                        <a:moveTo>
                          <a:pt x="0" y="0"/>
                        </a:moveTo>
                        <a:lnTo>
                          <a:pt x="4" y="5"/>
                        </a:lnTo>
                        <a:lnTo>
                          <a:pt x="8" y="5"/>
                        </a:lnTo>
                        <a:lnTo>
                          <a:pt x="4" y="0"/>
                        </a:lnTo>
                        <a:lnTo>
                          <a:pt x="0" y="0"/>
                        </a:lnTo>
                      </a:path>
                    </a:pathLst>
                  </a:custGeom>
                  <a:solidFill>
                    <a:schemeClr val="bg2"/>
                  </a:solidFill>
                  <a:ln w="3175" cmpd="sng">
                    <a:solidFill>
                      <a:schemeClr val="bg1"/>
                    </a:solidFill>
                    <a:prstDash val="solid"/>
                    <a:round/>
                    <a:headEnd/>
                    <a:tailEnd/>
                  </a:ln>
                </p:spPr>
                <p:txBody>
                  <a:bodyPr/>
                  <a:lstStyle/>
                  <a:p>
                    <a:endParaRPr lang="en-US">
                      <a:solidFill>
                        <a:srgbClr val="000000"/>
                      </a:solidFill>
                    </a:endParaRPr>
                  </a:p>
                </p:txBody>
              </p:sp>
            </p:grpSp>
          </p:grpSp>
          <p:sp>
            <p:nvSpPr>
              <p:cNvPr id="362" name="Freeform 163"/>
              <p:cNvSpPr>
                <a:spLocks noEditPoints="1"/>
              </p:cNvSpPr>
              <p:nvPr/>
            </p:nvSpPr>
            <p:spPr bwMode="gray">
              <a:xfrm>
                <a:off x="2666314" y="1409232"/>
                <a:ext cx="1178682" cy="1199689"/>
              </a:xfrm>
              <a:custGeom>
                <a:avLst/>
                <a:gdLst>
                  <a:gd name="T0" fmla="*/ 36 w 777"/>
                  <a:gd name="T1" fmla="*/ 9 h 791"/>
                  <a:gd name="T2" fmla="*/ 54 w 777"/>
                  <a:gd name="T3" fmla="*/ 36 h 791"/>
                  <a:gd name="T4" fmla="*/ 58 w 777"/>
                  <a:gd name="T5" fmla="*/ 40 h 791"/>
                  <a:gd name="T6" fmla="*/ 27 w 777"/>
                  <a:gd name="T7" fmla="*/ 62 h 791"/>
                  <a:gd name="T8" fmla="*/ 58 w 777"/>
                  <a:gd name="T9" fmla="*/ 112 h 791"/>
                  <a:gd name="T10" fmla="*/ 103 w 777"/>
                  <a:gd name="T11" fmla="*/ 112 h 791"/>
                  <a:gd name="T12" fmla="*/ 130 w 777"/>
                  <a:gd name="T13" fmla="*/ 130 h 791"/>
                  <a:gd name="T14" fmla="*/ 206 w 777"/>
                  <a:gd name="T15" fmla="*/ 138 h 791"/>
                  <a:gd name="T16" fmla="*/ 241 w 777"/>
                  <a:gd name="T17" fmla="*/ 308 h 791"/>
                  <a:gd name="T18" fmla="*/ 255 w 777"/>
                  <a:gd name="T19" fmla="*/ 366 h 791"/>
                  <a:gd name="T20" fmla="*/ 308 w 777"/>
                  <a:gd name="T21" fmla="*/ 393 h 791"/>
                  <a:gd name="T22" fmla="*/ 255 w 777"/>
                  <a:gd name="T23" fmla="*/ 402 h 791"/>
                  <a:gd name="T24" fmla="*/ 308 w 777"/>
                  <a:gd name="T25" fmla="*/ 487 h 791"/>
                  <a:gd name="T26" fmla="*/ 277 w 777"/>
                  <a:gd name="T27" fmla="*/ 509 h 791"/>
                  <a:gd name="T28" fmla="*/ 273 w 777"/>
                  <a:gd name="T29" fmla="*/ 590 h 791"/>
                  <a:gd name="T30" fmla="*/ 299 w 777"/>
                  <a:gd name="T31" fmla="*/ 643 h 791"/>
                  <a:gd name="T32" fmla="*/ 308 w 777"/>
                  <a:gd name="T33" fmla="*/ 684 h 791"/>
                  <a:gd name="T34" fmla="*/ 331 w 777"/>
                  <a:gd name="T35" fmla="*/ 733 h 791"/>
                  <a:gd name="T36" fmla="*/ 362 w 777"/>
                  <a:gd name="T37" fmla="*/ 751 h 791"/>
                  <a:gd name="T38" fmla="*/ 393 w 777"/>
                  <a:gd name="T39" fmla="*/ 769 h 791"/>
                  <a:gd name="T40" fmla="*/ 420 w 777"/>
                  <a:gd name="T41" fmla="*/ 777 h 791"/>
                  <a:gd name="T42" fmla="*/ 420 w 777"/>
                  <a:gd name="T43" fmla="*/ 755 h 791"/>
                  <a:gd name="T44" fmla="*/ 433 w 777"/>
                  <a:gd name="T45" fmla="*/ 715 h 791"/>
                  <a:gd name="T46" fmla="*/ 447 w 777"/>
                  <a:gd name="T47" fmla="*/ 675 h 791"/>
                  <a:gd name="T48" fmla="*/ 451 w 777"/>
                  <a:gd name="T49" fmla="*/ 626 h 791"/>
                  <a:gd name="T50" fmla="*/ 501 w 777"/>
                  <a:gd name="T51" fmla="*/ 608 h 791"/>
                  <a:gd name="T52" fmla="*/ 545 w 777"/>
                  <a:gd name="T53" fmla="*/ 576 h 791"/>
                  <a:gd name="T54" fmla="*/ 568 w 777"/>
                  <a:gd name="T55" fmla="*/ 518 h 791"/>
                  <a:gd name="T56" fmla="*/ 585 w 777"/>
                  <a:gd name="T57" fmla="*/ 500 h 791"/>
                  <a:gd name="T58" fmla="*/ 657 w 777"/>
                  <a:gd name="T59" fmla="*/ 483 h 791"/>
                  <a:gd name="T60" fmla="*/ 719 w 777"/>
                  <a:gd name="T61" fmla="*/ 424 h 791"/>
                  <a:gd name="T62" fmla="*/ 666 w 777"/>
                  <a:gd name="T63" fmla="*/ 424 h 791"/>
                  <a:gd name="T64" fmla="*/ 670 w 777"/>
                  <a:gd name="T65" fmla="*/ 384 h 791"/>
                  <a:gd name="T66" fmla="*/ 675 w 777"/>
                  <a:gd name="T67" fmla="*/ 362 h 791"/>
                  <a:gd name="T68" fmla="*/ 733 w 777"/>
                  <a:gd name="T69" fmla="*/ 416 h 791"/>
                  <a:gd name="T70" fmla="*/ 728 w 777"/>
                  <a:gd name="T71" fmla="*/ 353 h 791"/>
                  <a:gd name="T72" fmla="*/ 684 w 777"/>
                  <a:gd name="T73" fmla="*/ 326 h 791"/>
                  <a:gd name="T74" fmla="*/ 724 w 777"/>
                  <a:gd name="T75" fmla="*/ 317 h 791"/>
                  <a:gd name="T76" fmla="*/ 724 w 777"/>
                  <a:gd name="T77" fmla="*/ 290 h 791"/>
                  <a:gd name="T78" fmla="*/ 693 w 777"/>
                  <a:gd name="T79" fmla="*/ 259 h 791"/>
                  <a:gd name="T80" fmla="*/ 746 w 777"/>
                  <a:gd name="T81" fmla="*/ 264 h 791"/>
                  <a:gd name="T82" fmla="*/ 719 w 777"/>
                  <a:gd name="T83" fmla="*/ 241 h 791"/>
                  <a:gd name="T84" fmla="*/ 755 w 777"/>
                  <a:gd name="T85" fmla="*/ 223 h 791"/>
                  <a:gd name="T86" fmla="*/ 742 w 777"/>
                  <a:gd name="T87" fmla="*/ 165 h 791"/>
                  <a:gd name="T88" fmla="*/ 760 w 777"/>
                  <a:gd name="T89" fmla="*/ 174 h 791"/>
                  <a:gd name="T90" fmla="*/ 751 w 777"/>
                  <a:gd name="T91" fmla="*/ 130 h 791"/>
                  <a:gd name="T92" fmla="*/ 733 w 777"/>
                  <a:gd name="T93" fmla="*/ 107 h 791"/>
                  <a:gd name="T94" fmla="*/ 777 w 777"/>
                  <a:gd name="T95" fmla="*/ 58 h 791"/>
                  <a:gd name="T96" fmla="*/ 751 w 777"/>
                  <a:gd name="T97" fmla="*/ 4 h 791"/>
                  <a:gd name="T98" fmla="*/ 755 w 777"/>
                  <a:gd name="T99" fmla="*/ 0 h 791"/>
                  <a:gd name="T100" fmla="*/ 255 w 777"/>
                  <a:gd name="T101" fmla="*/ 424 h 791"/>
                  <a:gd name="T102" fmla="*/ 273 w 777"/>
                  <a:gd name="T103" fmla="*/ 460 h 791"/>
                  <a:gd name="T104" fmla="*/ 286 w 777"/>
                  <a:gd name="T105" fmla="*/ 433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7" h="791">
                    <a:moveTo>
                      <a:pt x="0" y="0"/>
                    </a:moveTo>
                    <a:lnTo>
                      <a:pt x="5" y="4"/>
                    </a:lnTo>
                    <a:lnTo>
                      <a:pt x="36" y="9"/>
                    </a:lnTo>
                    <a:lnTo>
                      <a:pt x="31" y="18"/>
                    </a:lnTo>
                    <a:lnTo>
                      <a:pt x="36" y="31"/>
                    </a:lnTo>
                    <a:lnTo>
                      <a:pt x="54" y="36"/>
                    </a:lnTo>
                    <a:lnTo>
                      <a:pt x="81" y="31"/>
                    </a:lnTo>
                    <a:lnTo>
                      <a:pt x="94" y="40"/>
                    </a:lnTo>
                    <a:lnTo>
                      <a:pt x="58" y="40"/>
                    </a:lnTo>
                    <a:lnTo>
                      <a:pt x="49" y="49"/>
                    </a:lnTo>
                    <a:lnTo>
                      <a:pt x="31" y="45"/>
                    </a:lnTo>
                    <a:lnTo>
                      <a:pt x="27" y="62"/>
                    </a:lnTo>
                    <a:lnTo>
                      <a:pt x="63" y="71"/>
                    </a:lnTo>
                    <a:lnTo>
                      <a:pt x="45" y="85"/>
                    </a:lnTo>
                    <a:lnTo>
                      <a:pt x="58" y="112"/>
                    </a:lnTo>
                    <a:lnTo>
                      <a:pt x="85" y="125"/>
                    </a:lnTo>
                    <a:lnTo>
                      <a:pt x="85" y="107"/>
                    </a:lnTo>
                    <a:lnTo>
                      <a:pt x="103" y="112"/>
                    </a:lnTo>
                    <a:lnTo>
                      <a:pt x="107" y="121"/>
                    </a:lnTo>
                    <a:lnTo>
                      <a:pt x="125" y="116"/>
                    </a:lnTo>
                    <a:lnTo>
                      <a:pt x="130" y="130"/>
                    </a:lnTo>
                    <a:lnTo>
                      <a:pt x="139" y="116"/>
                    </a:lnTo>
                    <a:lnTo>
                      <a:pt x="170" y="121"/>
                    </a:lnTo>
                    <a:lnTo>
                      <a:pt x="206" y="138"/>
                    </a:lnTo>
                    <a:lnTo>
                      <a:pt x="206" y="179"/>
                    </a:lnTo>
                    <a:lnTo>
                      <a:pt x="228" y="210"/>
                    </a:lnTo>
                    <a:lnTo>
                      <a:pt x="241" y="308"/>
                    </a:lnTo>
                    <a:lnTo>
                      <a:pt x="241" y="326"/>
                    </a:lnTo>
                    <a:lnTo>
                      <a:pt x="237" y="353"/>
                    </a:lnTo>
                    <a:lnTo>
                      <a:pt x="255" y="366"/>
                    </a:lnTo>
                    <a:lnTo>
                      <a:pt x="273" y="344"/>
                    </a:lnTo>
                    <a:lnTo>
                      <a:pt x="282" y="371"/>
                    </a:lnTo>
                    <a:lnTo>
                      <a:pt x="308" y="393"/>
                    </a:lnTo>
                    <a:lnTo>
                      <a:pt x="299" y="411"/>
                    </a:lnTo>
                    <a:lnTo>
                      <a:pt x="264" y="398"/>
                    </a:lnTo>
                    <a:lnTo>
                      <a:pt x="255" y="402"/>
                    </a:lnTo>
                    <a:lnTo>
                      <a:pt x="268" y="416"/>
                    </a:lnTo>
                    <a:lnTo>
                      <a:pt x="308" y="438"/>
                    </a:lnTo>
                    <a:lnTo>
                      <a:pt x="308" y="487"/>
                    </a:lnTo>
                    <a:lnTo>
                      <a:pt x="282" y="483"/>
                    </a:lnTo>
                    <a:lnTo>
                      <a:pt x="268" y="500"/>
                    </a:lnTo>
                    <a:lnTo>
                      <a:pt x="277" y="509"/>
                    </a:lnTo>
                    <a:lnTo>
                      <a:pt x="268" y="523"/>
                    </a:lnTo>
                    <a:lnTo>
                      <a:pt x="268" y="576"/>
                    </a:lnTo>
                    <a:lnTo>
                      <a:pt x="273" y="590"/>
                    </a:lnTo>
                    <a:lnTo>
                      <a:pt x="286" y="608"/>
                    </a:lnTo>
                    <a:lnTo>
                      <a:pt x="295" y="652"/>
                    </a:lnTo>
                    <a:lnTo>
                      <a:pt x="299" y="643"/>
                    </a:lnTo>
                    <a:lnTo>
                      <a:pt x="304" y="648"/>
                    </a:lnTo>
                    <a:lnTo>
                      <a:pt x="295" y="661"/>
                    </a:lnTo>
                    <a:lnTo>
                      <a:pt x="308" y="684"/>
                    </a:lnTo>
                    <a:lnTo>
                      <a:pt x="326" y="719"/>
                    </a:lnTo>
                    <a:lnTo>
                      <a:pt x="335" y="728"/>
                    </a:lnTo>
                    <a:lnTo>
                      <a:pt x="331" y="733"/>
                    </a:lnTo>
                    <a:lnTo>
                      <a:pt x="340" y="746"/>
                    </a:lnTo>
                    <a:lnTo>
                      <a:pt x="349" y="760"/>
                    </a:lnTo>
                    <a:lnTo>
                      <a:pt x="362" y="751"/>
                    </a:lnTo>
                    <a:lnTo>
                      <a:pt x="375" y="751"/>
                    </a:lnTo>
                    <a:lnTo>
                      <a:pt x="384" y="760"/>
                    </a:lnTo>
                    <a:lnTo>
                      <a:pt x="393" y="769"/>
                    </a:lnTo>
                    <a:lnTo>
                      <a:pt x="389" y="777"/>
                    </a:lnTo>
                    <a:lnTo>
                      <a:pt x="411" y="791"/>
                    </a:lnTo>
                    <a:lnTo>
                      <a:pt x="420" y="777"/>
                    </a:lnTo>
                    <a:lnTo>
                      <a:pt x="416" y="769"/>
                    </a:lnTo>
                    <a:lnTo>
                      <a:pt x="425" y="760"/>
                    </a:lnTo>
                    <a:lnTo>
                      <a:pt x="420" y="755"/>
                    </a:lnTo>
                    <a:lnTo>
                      <a:pt x="442" y="728"/>
                    </a:lnTo>
                    <a:lnTo>
                      <a:pt x="438" y="719"/>
                    </a:lnTo>
                    <a:lnTo>
                      <a:pt x="433" y="715"/>
                    </a:lnTo>
                    <a:lnTo>
                      <a:pt x="433" y="697"/>
                    </a:lnTo>
                    <a:lnTo>
                      <a:pt x="442" y="693"/>
                    </a:lnTo>
                    <a:lnTo>
                      <a:pt x="447" y="675"/>
                    </a:lnTo>
                    <a:lnTo>
                      <a:pt x="456" y="666"/>
                    </a:lnTo>
                    <a:lnTo>
                      <a:pt x="460" y="639"/>
                    </a:lnTo>
                    <a:lnTo>
                      <a:pt x="451" y="626"/>
                    </a:lnTo>
                    <a:lnTo>
                      <a:pt x="469" y="621"/>
                    </a:lnTo>
                    <a:lnTo>
                      <a:pt x="469" y="612"/>
                    </a:lnTo>
                    <a:lnTo>
                      <a:pt x="501" y="608"/>
                    </a:lnTo>
                    <a:lnTo>
                      <a:pt x="505" y="594"/>
                    </a:lnTo>
                    <a:lnTo>
                      <a:pt x="514" y="594"/>
                    </a:lnTo>
                    <a:lnTo>
                      <a:pt x="545" y="576"/>
                    </a:lnTo>
                    <a:lnTo>
                      <a:pt x="545" y="567"/>
                    </a:lnTo>
                    <a:lnTo>
                      <a:pt x="554" y="567"/>
                    </a:lnTo>
                    <a:lnTo>
                      <a:pt x="568" y="518"/>
                    </a:lnTo>
                    <a:lnTo>
                      <a:pt x="581" y="509"/>
                    </a:lnTo>
                    <a:lnTo>
                      <a:pt x="576" y="491"/>
                    </a:lnTo>
                    <a:lnTo>
                      <a:pt x="585" y="500"/>
                    </a:lnTo>
                    <a:lnTo>
                      <a:pt x="585" y="509"/>
                    </a:lnTo>
                    <a:lnTo>
                      <a:pt x="612" y="505"/>
                    </a:lnTo>
                    <a:lnTo>
                      <a:pt x="657" y="483"/>
                    </a:lnTo>
                    <a:lnTo>
                      <a:pt x="702" y="451"/>
                    </a:lnTo>
                    <a:lnTo>
                      <a:pt x="719" y="429"/>
                    </a:lnTo>
                    <a:lnTo>
                      <a:pt x="719" y="424"/>
                    </a:lnTo>
                    <a:lnTo>
                      <a:pt x="710" y="429"/>
                    </a:lnTo>
                    <a:lnTo>
                      <a:pt x="684" y="420"/>
                    </a:lnTo>
                    <a:lnTo>
                      <a:pt x="666" y="424"/>
                    </a:lnTo>
                    <a:lnTo>
                      <a:pt x="657" y="407"/>
                    </a:lnTo>
                    <a:lnTo>
                      <a:pt x="679" y="398"/>
                    </a:lnTo>
                    <a:lnTo>
                      <a:pt x="670" y="384"/>
                    </a:lnTo>
                    <a:lnTo>
                      <a:pt x="679" y="371"/>
                    </a:lnTo>
                    <a:lnTo>
                      <a:pt x="670" y="362"/>
                    </a:lnTo>
                    <a:lnTo>
                      <a:pt x="675" y="362"/>
                    </a:lnTo>
                    <a:lnTo>
                      <a:pt x="693" y="375"/>
                    </a:lnTo>
                    <a:lnTo>
                      <a:pt x="697" y="407"/>
                    </a:lnTo>
                    <a:lnTo>
                      <a:pt x="733" y="416"/>
                    </a:lnTo>
                    <a:lnTo>
                      <a:pt x="728" y="366"/>
                    </a:lnTo>
                    <a:lnTo>
                      <a:pt x="719" y="371"/>
                    </a:lnTo>
                    <a:lnTo>
                      <a:pt x="728" y="353"/>
                    </a:lnTo>
                    <a:lnTo>
                      <a:pt x="710" y="348"/>
                    </a:lnTo>
                    <a:lnTo>
                      <a:pt x="715" y="340"/>
                    </a:lnTo>
                    <a:lnTo>
                      <a:pt x="684" y="326"/>
                    </a:lnTo>
                    <a:lnTo>
                      <a:pt x="688" y="317"/>
                    </a:lnTo>
                    <a:lnTo>
                      <a:pt x="719" y="331"/>
                    </a:lnTo>
                    <a:lnTo>
                      <a:pt x="724" y="317"/>
                    </a:lnTo>
                    <a:lnTo>
                      <a:pt x="706" y="304"/>
                    </a:lnTo>
                    <a:lnTo>
                      <a:pt x="724" y="304"/>
                    </a:lnTo>
                    <a:lnTo>
                      <a:pt x="724" y="290"/>
                    </a:lnTo>
                    <a:lnTo>
                      <a:pt x="710" y="281"/>
                    </a:lnTo>
                    <a:lnTo>
                      <a:pt x="684" y="268"/>
                    </a:lnTo>
                    <a:lnTo>
                      <a:pt x="693" y="259"/>
                    </a:lnTo>
                    <a:lnTo>
                      <a:pt x="719" y="277"/>
                    </a:lnTo>
                    <a:lnTo>
                      <a:pt x="733" y="259"/>
                    </a:lnTo>
                    <a:lnTo>
                      <a:pt x="746" y="264"/>
                    </a:lnTo>
                    <a:lnTo>
                      <a:pt x="746" y="241"/>
                    </a:lnTo>
                    <a:lnTo>
                      <a:pt x="733" y="237"/>
                    </a:lnTo>
                    <a:lnTo>
                      <a:pt x="719" y="241"/>
                    </a:lnTo>
                    <a:lnTo>
                      <a:pt x="728" y="228"/>
                    </a:lnTo>
                    <a:lnTo>
                      <a:pt x="742" y="232"/>
                    </a:lnTo>
                    <a:lnTo>
                      <a:pt x="755" y="223"/>
                    </a:lnTo>
                    <a:lnTo>
                      <a:pt x="764" y="205"/>
                    </a:lnTo>
                    <a:lnTo>
                      <a:pt x="742" y="179"/>
                    </a:lnTo>
                    <a:lnTo>
                      <a:pt x="742" y="165"/>
                    </a:lnTo>
                    <a:lnTo>
                      <a:pt x="751" y="165"/>
                    </a:lnTo>
                    <a:lnTo>
                      <a:pt x="755" y="179"/>
                    </a:lnTo>
                    <a:lnTo>
                      <a:pt x="760" y="174"/>
                    </a:lnTo>
                    <a:lnTo>
                      <a:pt x="764" y="152"/>
                    </a:lnTo>
                    <a:lnTo>
                      <a:pt x="760" y="134"/>
                    </a:lnTo>
                    <a:lnTo>
                      <a:pt x="751" y="130"/>
                    </a:lnTo>
                    <a:lnTo>
                      <a:pt x="760" y="125"/>
                    </a:lnTo>
                    <a:lnTo>
                      <a:pt x="760" y="107"/>
                    </a:lnTo>
                    <a:lnTo>
                      <a:pt x="733" y="107"/>
                    </a:lnTo>
                    <a:lnTo>
                      <a:pt x="733" y="67"/>
                    </a:lnTo>
                    <a:lnTo>
                      <a:pt x="746" y="49"/>
                    </a:lnTo>
                    <a:lnTo>
                      <a:pt x="777" y="58"/>
                    </a:lnTo>
                    <a:lnTo>
                      <a:pt x="777" y="36"/>
                    </a:lnTo>
                    <a:lnTo>
                      <a:pt x="751" y="27"/>
                    </a:lnTo>
                    <a:lnTo>
                      <a:pt x="751" y="4"/>
                    </a:lnTo>
                    <a:lnTo>
                      <a:pt x="764" y="13"/>
                    </a:lnTo>
                    <a:lnTo>
                      <a:pt x="773" y="9"/>
                    </a:lnTo>
                    <a:lnTo>
                      <a:pt x="755" y="0"/>
                    </a:lnTo>
                    <a:lnTo>
                      <a:pt x="0" y="0"/>
                    </a:lnTo>
                    <a:close/>
                    <a:moveTo>
                      <a:pt x="264" y="420"/>
                    </a:moveTo>
                    <a:lnTo>
                      <a:pt x="255" y="424"/>
                    </a:lnTo>
                    <a:lnTo>
                      <a:pt x="255" y="447"/>
                    </a:lnTo>
                    <a:lnTo>
                      <a:pt x="264" y="451"/>
                    </a:lnTo>
                    <a:lnTo>
                      <a:pt x="273" y="460"/>
                    </a:lnTo>
                    <a:lnTo>
                      <a:pt x="291" y="451"/>
                    </a:lnTo>
                    <a:lnTo>
                      <a:pt x="295" y="438"/>
                    </a:lnTo>
                    <a:lnTo>
                      <a:pt x="286" y="433"/>
                    </a:lnTo>
                    <a:lnTo>
                      <a:pt x="277" y="424"/>
                    </a:lnTo>
                    <a:lnTo>
                      <a:pt x="264" y="42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grpSp>
            <p:nvGrpSpPr>
              <p:cNvPr id="363" name="Group 164"/>
              <p:cNvGrpSpPr>
                <a:grpSpLocks/>
              </p:cNvGrpSpPr>
              <p:nvPr/>
            </p:nvGrpSpPr>
            <p:grpSpPr bwMode="auto">
              <a:xfrm>
                <a:off x="6698448" y="4506280"/>
                <a:ext cx="1620128" cy="928204"/>
                <a:chOff x="4304" y="2940"/>
                <a:chExt cx="1068" cy="612"/>
              </a:xfrm>
            </p:grpSpPr>
            <p:sp>
              <p:nvSpPr>
                <p:cNvPr id="404" name="Freeform 165"/>
                <p:cNvSpPr>
                  <a:spLocks noEditPoints="1"/>
                </p:cNvSpPr>
                <p:nvPr/>
              </p:nvSpPr>
              <p:spPr bwMode="gray">
                <a:xfrm>
                  <a:off x="4304" y="2940"/>
                  <a:ext cx="581" cy="550"/>
                </a:xfrm>
                <a:custGeom>
                  <a:avLst/>
                  <a:gdLst>
                    <a:gd name="T0" fmla="*/ 116 w 581"/>
                    <a:gd name="T1" fmla="*/ 134 h 550"/>
                    <a:gd name="T2" fmla="*/ 54 w 581"/>
                    <a:gd name="T3" fmla="*/ 152 h 550"/>
                    <a:gd name="T4" fmla="*/ 13 w 581"/>
                    <a:gd name="T5" fmla="*/ 165 h 550"/>
                    <a:gd name="T6" fmla="*/ 4 w 581"/>
                    <a:gd name="T7" fmla="*/ 210 h 550"/>
                    <a:gd name="T8" fmla="*/ 9 w 581"/>
                    <a:gd name="T9" fmla="*/ 228 h 550"/>
                    <a:gd name="T10" fmla="*/ 13 w 581"/>
                    <a:gd name="T11" fmla="*/ 268 h 550"/>
                    <a:gd name="T12" fmla="*/ 40 w 581"/>
                    <a:gd name="T13" fmla="*/ 331 h 550"/>
                    <a:gd name="T14" fmla="*/ 31 w 581"/>
                    <a:gd name="T15" fmla="*/ 376 h 550"/>
                    <a:gd name="T16" fmla="*/ 80 w 581"/>
                    <a:gd name="T17" fmla="*/ 380 h 550"/>
                    <a:gd name="T18" fmla="*/ 147 w 581"/>
                    <a:gd name="T19" fmla="*/ 367 h 550"/>
                    <a:gd name="T20" fmla="*/ 259 w 581"/>
                    <a:gd name="T21" fmla="*/ 326 h 550"/>
                    <a:gd name="T22" fmla="*/ 304 w 581"/>
                    <a:gd name="T23" fmla="*/ 353 h 550"/>
                    <a:gd name="T24" fmla="*/ 322 w 581"/>
                    <a:gd name="T25" fmla="*/ 380 h 550"/>
                    <a:gd name="T26" fmla="*/ 331 w 581"/>
                    <a:gd name="T27" fmla="*/ 380 h 550"/>
                    <a:gd name="T28" fmla="*/ 357 w 581"/>
                    <a:gd name="T29" fmla="*/ 340 h 550"/>
                    <a:gd name="T30" fmla="*/ 344 w 581"/>
                    <a:gd name="T31" fmla="*/ 384 h 550"/>
                    <a:gd name="T32" fmla="*/ 353 w 581"/>
                    <a:gd name="T33" fmla="*/ 389 h 550"/>
                    <a:gd name="T34" fmla="*/ 357 w 581"/>
                    <a:gd name="T35" fmla="*/ 398 h 550"/>
                    <a:gd name="T36" fmla="*/ 353 w 581"/>
                    <a:gd name="T37" fmla="*/ 411 h 550"/>
                    <a:gd name="T38" fmla="*/ 375 w 581"/>
                    <a:gd name="T39" fmla="*/ 402 h 550"/>
                    <a:gd name="T40" fmla="*/ 380 w 581"/>
                    <a:gd name="T41" fmla="*/ 434 h 550"/>
                    <a:gd name="T42" fmla="*/ 447 w 581"/>
                    <a:gd name="T43" fmla="*/ 451 h 550"/>
                    <a:gd name="T44" fmla="*/ 469 w 581"/>
                    <a:gd name="T45" fmla="*/ 465 h 550"/>
                    <a:gd name="T46" fmla="*/ 478 w 581"/>
                    <a:gd name="T47" fmla="*/ 460 h 550"/>
                    <a:gd name="T48" fmla="*/ 532 w 581"/>
                    <a:gd name="T49" fmla="*/ 434 h 550"/>
                    <a:gd name="T50" fmla="*/ 554 w 581"/>
                    <a:gd name="T51" fmla="*/ 353 h 550"/>
                    <a:gd name="T52" fmla="*/ 572 w 581"/>
                    <a:gd name="T53" fmla="*/ 233 h 550"/>
                    <a:gd name="T54" fmla="*/ 536 w 581"/>
                    <a:gd name="T55" fmla="*/ 192 h 550"/>
                    <a:gd name="T56" fmla="*/ 532 w 581"/>
                    <a:gd name="T57" fmla="*/ 170 h 550"/>
                    <a:gd name="T58" fmla="*/ 518 w 581"/>
                    <a:gd name="T59" fmla="*/ 165 h 550"/>
                    <a:gd name="T60" fmla="*/ 482 w 581"/>
                    <a:gd name="T61" fmla="*/ 130 h 550"/>
                    <a:gd name="T62" fmla="*/ 465 w 581"/>
                    <a:gd name="T63" fmla="*/ 85 h 550"/>
                    <a:gd name="T64" fmla="*/ 442 w 581"/>
                    <a:gd name="T65" fmla="*/ 54 h 550"/>
                    <a:gd name="T66" fmla="*/ 424 w 581"/>
                    <a:gd name="T67" fmla="*/ 14 h 550"/>
                    <a:gd name="T68" fmla="*/ 411 w 581"/>
                    <a:gd name="T69" fmla="*/ 5 h 550"/>
                    <a:gd name="T70" fmla="*/ 398 w 581"/>
                    <a:gd name="T71" fmla="*/ 98 h 550"/>
                    <a:gd name="T72" fmla="*/ 322 w 581"/>
                    <a:gd name="T73" fmla="*/ 58 h 550"/>
                    <a:gd name="T74" fmla="*/ 331 w 581"/>
                    <a:gd name="T75" fmla="*/ 14 h 550"/>
                    <a:gd name="T76" fmla="*/ 277 w 581"/>
                    <a:gd name="T77" fmla="*/ 9 h 550"/>
                    <a:gd name="T78" fmla="*/ 272 w 581"/>
                    <a:gd name="T79" fmla="*/ 14 h 550"/>
                    <a:gd name="T80" fmla="*/ 255 w 581"/>
                    <a:gd name="T81" fmla="*/ 22 h 550"/>
                    <a:gd name="T82" fmla="*/ 228 w 581"/>
                    <a:gd name="T83" fmla="*/ 63 h 550"/>
                    <a:gd name="T84" fmla="*/ 214 w 581"/>
                    <a:gd name="T85" fmla="*/ 58 h 550"/>
                    <a:gd name="T86" fmla="*/ 183 w 581"/>
                    <a:gd name="T87" fmla="*/ 58 h 550"/>
                    <a:gd name="T88" fmla="*/ 161 w 581"/>
                    <a:gd name="T89" fmla="*/ 85 h 550"/>
                    <a:gd name="T90" fmla="*/ 147 w 581"/>
                    <a:gd name="T91" fmla="*/ 98 h 550"/>
                    <a:gd name="T92" fmla="*/ 130 w 581"/>
                    <a:gd name="T93" fmla="*/ 107 h 550"/>
                    <a:gd name="T94" fmla="*/ 465 w 581"/>
                    <a:gd name="T95" fmla="*/ 527 h 550"/>
                    <a:gd name="T96" fmla="*/ 487 w 581"/>
                    <a:gd name="T97" fmla="*/ 550 h 550"/>
                    <a:gd name="T98" fmla="*/ 496 w 581"/>
                    <a:gd name="T99" fmla="*/ 532 h 550"/>
                    <a:gd name="T100" fmla="*/ 505 w 581"/>
                    <a:gd name="T101" fmla="*/ 496 h 550"/>
                    <a:gd name="T102" fmla="*/ 474 w 581"/>
                    <a:gd name="T103" fmla="*/ 501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1" h="550">
                      <a:moveTo>
                        <a:pt x="130" y="107"/>
                      </a:moveTo>
                      <a:lnTo>
                        <a:pt x="134" y="107"/>
                      </a:lnTo>
                      <a:lnTo>
                        <a:pt x="116" y="134"/>
                      </a:lnTo>
                      <a:lnTo>
                        <a:pt x="80" y="143"/>
                      </a:lnTo>
                      <a:lnTo>
                        <a:pt x="63" y="152"/>
                      </a:lnTo>
                      <a:lnTo>
                        <a:pt x="54" y="152"/>
                      </a:lnTo>
                      <a:lnTo>
                        <a:pt x="27" y="165"/>
                      </a:lnTo>
                      <a:lnTo>
                        <a:pt x="13" y="183"/>
                      </a:lnTo>
                      <a:lnTo>
                        <a:pt x="13" y="165"/>
                      </a:lnTo>
                      <a:lnTo>
                        <a:pt x="9" y="179"/>
                      </a:lnTo>
                      <a:lnTo>
                        <a:pt x="9" y="197"/>
                      </a:lnTo>
                      <a:lnTo>
                        <a:pt x="4" y="210"/>
                      </a:lnTo>
                      <a:lnTo>
                        <a:pt x="18" y="233"/>
                      </a:lnTo>
                      <a:lnTo>
                        <a:pt x="18" y="241"/>
                      </a:lnTo>
                      <a:lnTo>
                        <a:pt x="9" y="228"/>
                      </a:lnTo>
                      <a:lnTo>
                        <a:pt x="0" y="228"/>
                      </a:lnTo>
                      <a:lnTo>
                        <a:pt x="4" y="241"/>
                      </a:lnTo>
                      <a:lnTo>
                        <a:pt x="13" y="268"/>
                      </a:lnTo>
                      <a:lnTo>
                        <a:pt x="31" y="291"/>
                      </a:lnTo>
                      <a:lnTo>
                        <a:pt x="31" y="308"/>
                      </a:lnTo>
                      <a:lnTo>
                        <a:pt x="40" y="331"/>
                      </a:lnTo>
                      <a:lnTo>
                        <a:pt x="36" y="358"/>
                      </a:lnTo>
                      <a:lnTo>
                        <a:pt x="27" y="362"/>
                      </a:lnTo>
                      <a:lnTo>
                        <a:pt x="31" y="376"/>
                      </a:lnTo>
                      <a:lnTo>
                        <a:pt x="54" y="389"/>
                      </a:lnTo>
                      <a:lnTo>
                        <a:pt x="76" y="389"/>
                      </a:lnTo>
                      <a:lnTo>
                        <a:pt x="80" y="380"/>
                      </a:lnTo>
                      <a:lnTo>
                        <a:pt x="94" y="380"/>
                      </a:lnTo>
                      <a:lnTo>
                        <a:pt x="98" y="367"/>
                      </a:lnTo>
                      <a:lnTo>
                        <a:pt x="147" y="367"/>
                      </a:lnTo>
                      <a:lnTo>
                        <a:pt x="156" y="353"/>
                      </a:lnTo>
                      <a:lnTo>
                        <a:pt x="228" y="331"/>
                      </a:lnTo>
                      <a:lnTo>
                        <a:pt x="259" y="326"/>
                      </a:lnTo>
                      <a:lnTo>
                        <a:pt x="272" y="335"/>
                      </a:lnTo>
                      <a:lnTo>
                        <a:pt x="290" y="340"/>
                      </a:lnTo>
                      <a:lnTo>
                        <a:pt x="304" y="353"/>
                      </a:lnTo>
                      <a:lnTo>
                        <a:pt x="308" y="344"/>
                      </a:lnTo>
                      <a:lnTo>
                        <a:pt x="322" y="376"/>
                      </a:lnTo>
                      <a:lnTo>
                        <a:pt x="322" y="380"/>
                      </a:lnTo>
                      <a:lnTo>
                        <a:pt x="326" y="389"/>
                      </a:lnTo>
                      <a:lnTo>
                        <a:pt x="335" y="389"/>
                      </a:lnTo>
                      <a:lnTo>
                        <a:pt x="331" y="380"/>
                      </a:lnTo>
                      <a:lnTo>
                        <a:pt x="339" y="367"/>
                      </a:lnTo>
                      <a:lnTo>
                        <a:pt x="353" y="358"/>
                      </a:lnTo>
                      <a:lnTo>
                        <a:pt x="357" y="340"/>
                      </a:lnTo>
                      <a:lnTo>
                        <a:pt x="357" y="358"/>
                      </a:lnTo>
                      <a:lnTo>
                        <a:pt x="348" y="371"/>
                      </a:lnTo>
                      <a:lnTo>
                        <a:pt x="344" y="384"/>
                      </a:lnTo>
                      <a:lnTo>
                        <a:pt x="339" y="393"/>
                      </a:lnTo>
                      <a:lnTo>
                        <a:pt x="339" y="393"/>
                      </a:lnTo>
                      <a:lnTo>
                        <a:pt x="353" y="389"/>
                      </a:lnTo>
                      <a:lnTo>
                        <a:pt x="357" y="376"/>
                      </a:lnTo>
                      <a:lnTo>
                        <a:pt x="362" y="393"/>
                      </a:lnTo>
                      <a:lnTo>
                        <a:pt x="357" y="398"/>
                      </a:lnTo>
                      <a:lnTo>
                        <a:pt x="344" y="398"/>
                      </a:lnTo>
                      <a:lnTo>
                        <a:pt x="339" y="407"/>
                      </a:lnTo>
                      <a:lnTo>
                        <a:pt x="353" y="411"/>
                      </a:lnTo>
                      <a:lnTo>
                        <a:pt x="357" y="407"/>
                      </a:lnTo>
                      <a:lnTo>
                        <a:pt x="371" y="398"/>
                      </a:lnTo>
                      <a:lnTo>
                        <a:pt x="375" y="402"/>
                      </a:lnTo>
                      <a:lnTo>
                        <a:pt x="371" y="402"/>
                      </a:lnTo>
                      <a:lnTo>
                        <a:pt x="380" y="425"/>
                      </a:lnTo>
                      <a:lnTo>
                        <a:pt x="380" y="434"/>
                      </a:lnTo>
                      <a:lnTo>
                        <a:pt x="406" y="451"/>
                      </a:lnTo>
                      <a:lnTo>
                        <a:pt x="438" y="460"/>
                      </a:lnTo>
                      <a:lnTo>
                        <a:pt x="447" y="451"/>
                      </a:lnTo>
                      <a:lnTo>
                        <a:pt x="460" y="451"/>
                      </a:lnTo>
                      <a:lnTo>
                        <a:pt x="460" y="456"/>
                      </a:lnTo>
                      <a:lnTo>
                        <a:pt x="469" y="465"/>
                      </a:lnTo>
                      <a:lnTo>
                        <a:pt x="474" y="474"/>
                      </a:lnTo>
                      <a:lnTo>
                        <a:pt x="478" y="469"/>
                      </a:lnTo>
                      <a:lnTo>
                        <a:pt x="478" y="460"/>
                      </a:lnTo>
                      <a:lnTo>
                        <a:pt x="505" y="443"/>
                      </a:lnTo>
                      <a:lnTo>
                        <a:pt x="518" y="443"/>
                      </a:lnTo>
                      <a:lnTo>
                        <a:pt x="532" y="434"/>
                      </a:lnTo>
                      <a:lnTo>
                        <a:pt x="532" y="420"/>
                      </a:lnTo>
                      <a:lnTo>
                        <a:pt x="545" y="393"/>
                      </a:lnTo>
                      <a:lnTo>
                        <a:pt x="554" y="353"/>
                      </a:lnTo>
                      <a:lnTo>
                        <a:pt x="572" y="340"/>
                      </a:lnTo>
                      <a:lnTo>
                        <a:pt x="581" y="273"/>
                      </a:lnTo>
                      <a:lnTo>
                        <a:pt x="572" y="233"/>
                      </a:lnTo>
                      <a:lnTo>
                        <a:pt x="558" y="201"/>
                      </a:lnTo>
                      <a:lnTo>
                        <a:pt x="545" y="201"/>
                      </a:lnTo>
                      <a:lnTo>
                        <a:pt x="536" y="192"/>
                      </a:lnTo>
                      <a:lnTo>
                        <a:pt x="541" y="192"/>
                      </a:lnTo>
                      <a:lnTo>
                        <a:pt x="541" y="179"/>
                      </a:lnTo>
                      <a:lnTo>
                        <a:pt x="532" y="170"/>
                      </a:lnTo>
                      <a:lnTo>
                        <a:pt x="532" y="183"/>
                      </a:lnTo>
                      <a:lnTo>
                        <a:pt x="523" y="183"/>
                      </a:lnTo>
                      <a:lnTo>
                        <a:pt x="518" y="165"/>
                      </a:lnTo>
                      <a:lnTo>
                        <a:pt x="509" y="152"/>
                      </a:lnTo>
                      <a:lnTo>
                        <a:pt x="509" y="148"/>
                      </a:lnTo>
                      <a:lnTo>
                        <a:pt x="482" y="130"/>
                      </a:lnTo>
                      <a:lnTo>
                        <a:pt x="474" y="112"/>
                      </a:lnTo>
                      <a:lnTo>
                        <a:pt x="474" y="90"/>
                      </a:lnTo>
                      <a:lnTo>
                        <a:pt x="465" y="85"/>
                      </a:lnTo>
                      <a:lnTo>
                        <a:pt x="465" y="63"/>
                      </a:lnTo>
                      <a:lnTo>
                        <a:pt x="451" y="49"/>
                      </a:lnTo>
                      <a:lnTo>
                        <a:pt x="442" y="54"/>
                      </a:lnTo>
                      <a:lnTo>
                        <a:pt x="433" y="40"/>
                      </a:lnTo>
                      <a:lnTo>
                        <a:pt x="438" y="27"/>
                      </a:lnTo>
                      <a:lnTo>
                        <a:pt x="424" y="14"/>
                      </a:lnTo>
                      <a:lnTo>
                        <a:pt x="424" y="0"/>
                      </a:lnTo>
                      <a:lnTo>
                        <a:pt x="415" y="0"/>
                      </a:lnTo>
                      <a:lnTo>
                        <a:pt x="411" y="5"/>
                      </a:lnTo>
                      <a:lnTo>
                        <a:pt x="406" y="40"/>
                      </a:lnTo>
                      <a:lnTo>
                        <a:pt x="406" y="72"/>
                      </a:lnTo>
                      <a:lnTo>
                        <a:pt x="398" y="98"/>
                      </a:lnTo>
                      <a:lnTo>
                        <a:pt x="384" y="103"/>
                      </a:lnTo>
                      <a:lnTo>
                        <a:pt x="339" y="76"/>
                      </a:lnTo>
                      <a:lnTo>
                        <a:pt x="322" y="58"/>
                      </a:lnTo>
                      <a:lnTo>
                        <a:pt x="326" y="45"/>
                      </a:lnTo>
                      <a:lnTo>
                        <a:pt x="339" y="22"/>
                      </a:lnTo>
                      <a:lnTo>
                        <a:pt x="331" y="14"/>
                      </a:lnTo>
                      <a:lnTo>
                        <a:pt x="317" y="18"/>
                      </a:lnTo>
                      <a:lnTo>
                        <a:pt x="295" y="18"/>
                      </a:lnTo>
                      <a:lnTo>
                        <a:pt x="277" y="9"/>
                      </a:lnTo>
                      <a:lnTo>
                        <a:pt x="241" y="9"/>
                      </a:lnTo>
                      <a:lnTo>
                        <a:pt x="241" y="18"/>
                      </a:lnTo>
                      <a:lnTo>
                        <a:pt x="272" y="14"/>
                      </a:lnTo>
                      <a:lnTo>
                        <a:pt x="281" y="22"/>
                      </a:lnTo>
                      <a:lnTo>
                        <a:pt x="277" y="27"/>
                      </a:lnTo>
                      <a:lnTo>
                        <a:pt x="255" y="22"/>
                      </a:lnTo>
                      <a:lnTo>
                        <a:pt x="232" y="49"/>
                      </a:lnTo>
                      <a:lnTo>
                        <a:pt x="241" y="72"/>
                      </a:lnTo>
                      <a:lnTo>
                        <a:pt x="228" y="63"/>
                      </a:lnTo>
                      <a:lnTo>
                        <a:pt x="219" y="63"/>
                      </a:lnTo>
                      <a:lnTo>
                        <a:pt x="214" y="72"/>
                      </a:lnTo>
                      <a:lnTo>
                        <a:pt x="214" y="58"/>
                      </a:lnTo>
                      <a:lnTo>
                        <a:pt x="205" y="45"/>
                      </a:lnTo>
                      <a:lnTo>
                        <a:pt x="188" y="45"/>
                      </a:lnTo>
                      <a:lnTo>
                        <a:pt x="183" y="58"/>
                      </a:lnTo>
                      <a:lnTo>
                        <a:pt x="179" y="54"/>
                      </a:lnTo>
                      <a:lnTo>
                        <a:pt x="165" y="67"/>
                      </a:lnTo>
                      <a:lnTo>
                        <a:pt x="161" y="85"/>
                      </a:lnTo>
                      <a:lnTo>
                        <a:pt x="152" y="81"/>
                      </a:lnTo>
                      <a:lnTo>
                        <a:pt x="147" y="81"/>
                      </a:lnTo>
                      <a:lnTo>
                        <a:pt x="147" y="98"/>
                      </a:lnTo>
                      <a:lnTo>
                        <a:pt x="138" y="81"/>
                      </a:lnTo>
                      <a:lnTo>
                        <a:pt x="130" y="94"/>
                      </a:lnTo>
                      <a:lnTo>
                        <a:pt x="130" y="107"/>
                      </a:lnTo>
                      <a:close/>
                      <a:moveTo>
                        <a:pt x="451" y="492"/>
                      </a:moveTo>
                      <a:lnTo>
                        <a:pt x="451" y="501"/>
                      </a:lnTo>
                      <a:lnTo>
                        <a:pt x="465" y="527"/>
                      </a:lnTo>
                      <a:lnTo>
                        <a:pt x="460" y="527"/>
                      </a:lnTo>
                      <a:lnTo>
                        <a:pt x="474" y="550"/>
                      </a:lnTo>
                      <a:lnTo>
                        <a:pt x="487" y="550"/>
                      </a:lnTo>
                      <a:lnTo>
                        <a:pt x="491" y="536"/>
                      </a:lnTo>
                      <a:lnTo>
                        <a:pt x="505" y="545"/>
                      </a:lnTo>
                      <a:lnTo>
                        <a:pt x="496" y="532"/>
                      </a:lnTo>
                      <a:lnTo>
                        <a:pt x="505" y="523"/>
                      </a:lnTo>
                      <a:lnTo>
                        <a:pt x="509" y="523"/>
                      </a:lnTo>
                      <a:lnTo>
                        <a:pt x="505" y="496"/>
                      </a:lnTo>
                      <a:lnTo>
                        <a:pt x="500" y="492"/>
                      </a:lnTo>
                      <a:lnTo>
                        <a:pt x="487" y="496"/>
                      </a:lnTo>
                      <a:lnTo>
                        <a:pt x="474" y="501"/>
                      </a:lnTo>
                      <a:lnTo>
                        <a:pt x="451" y="49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05" name="Freeform 166"/>
                <p:cNvSpPr>
                  <a:spLocks noEditPoints="1"/>
                </p:cNvSpPr>
                <p:nvPr/>
              </p:nvSpPr>
              <p:spPr bwMode="gray">
                <a:xfrm>
                  <a:off x="5220" y="3016"/>
                  <a:ext cx="40" cy="40"/>
                </a:xfrm>
                <a:custGeom>
                  <a:avLst/>
                  <a:gdLst>
                    <a:gd name="T0" fmla="*/ 0 w 40"/>
                    <a:gd name="T1" fmla="*/ 31 h 40"/>
                    <a:gd name="T2" fmla="*/ 4 w 40"/>
                    <a:gd name="T3" fmla="*/ 36 h 40"/>
                    <a:gd name="T4" fmla="*/ 9 w 40"/>
                    <a:gd name="T5" fmla="*/ 36 h 40"/>
                    <a:gd name="T6" fmla="*/ 18 w 40"/>
                    <a:gd name="T7" fmla="*/ 40 h 40"/>
                    <a:gd name="T8" fmla="*/ 22 w 40"/>
                    <a:gd name="T9" fmla="*/ 31 h 40"/>
                    <a:gd name="T10" fmla="*/ 22 w 40"/>
                    <a:gd name="T11" fmla="*/ 22 h 40"/>
                    <a:gd name="T12" fmla="*/ 13 w 40"/>
                    <a:gd name="T13" fmla="*/ 22 h 40"/>
                    <a:gd name="T14" fmla="*/ 4 w 40"/>
                    <a:gd name="T15" fmla="*/ 22 h 40"/>
                    <a:gd name="T16" fmla="*/ 0 w 40"/>
                    <a:gd name="T17" fmla="*/ 31 h 40"/>
                    <a:gd name="T18" fmla="*/ 40 w 40"/>
                    <a:gd name="T19" fmla="*/ 0 h 40"/>
                    <a:gd name="T20" fmla="*/ 22 w 40"/>
                    <a:gd name="T21" fmla="*/ 9 h 40"/>
                    <a:gd name="T22" fmla="*/ 22 w 40"/>
                    <a:gd name="T23" fmla="*/ 9 h 40"/>
                    <a:gd name="T24" fmla="*/ 22 w 40"/>
                    <a:gd name="T25" fmla="*/ 14 h 40"/>
                    <a:gd name="T26" fmla="*/ 40 w 40"/>
                    <a:gd name="T27" fmla="*/ 14 h 40"/>
                    <a:gd name="T28" fmla="*/ 40 w 40"/>
                    <a:gd name="T29" fmla="*/ 9 h 40"/>
                    <a:gd name="T30" fmla="*/ 35 w 40"/>
                    <a:gd name="T31" fmla="*/ 9 h 40"/>
                    <a:gd name="T32" fmla="*/ 40 w 40"/>
                    <a:gd name="T3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0">
                      <a:moveTo>
                        <a:pt x="0" y="31"/>
                      </a:moveTo>
                      <a:lnTo>
                        <a:pt x="4" y="36"/>
                      </a:lnTo>
                      <a:lnTo>
                        <a:pt x="9" y="36"/>
                      </a:lnTo>
                      <a:lnTo>
                        <a:pt x="18" y="40"/>
                      </a:lnTo>
                      <a:lnTo>
                        <a:pt x="22" y="31"/>
                      </a:lnTo>
                      <a:lnTo>
                        <a:pt x="22" y="22"/>
                      </a:lnTo>
                      <a:lnTo>
                        <a:pt x="13" y="22"/>
                      </a:lnTo>
                      <a:lnTo>
                        <a:pt x="4" y="22"/>
                      </a:lnTo>
                      <a:lnTo>
                        <a:pt x="0" y="31"/>
                      </a:lnTo>
                      <a:close/>
                      <a:moveTo>
                        <a:pt x="40" y="0"/>
                      </a:moveTo>
                      <a:lnTo>
                        <a:pt x="22" y="9"/>
                      </a:lnTo>
                      <a:lnTo>
                        <a:pt x="22" y="9"/>
                      </a:lnTo>
                      <a:lnTo>
                        <a:pt x="22" y="14"/>
                      </a:lnTo>
                      <a:lnTo>
                        <a:pt x="40" y="14"/>
                      </a:lnTo>
                      <a:lnTo>
                        <a:pt x="40" y="9"/>
                      </a:lnTo>
                      <a:lnTo>
                        <a:pt x="35" y="9"/>
                      </a:lnTo>
                      <a:lnTo>
                        <a:pt x="40"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06" name="Freeform 167"/>
                <p:cNvSpPr>
                  <a:spLocks noEditPoints="1"/>
                </p:cNvSpPr>
                <p:nvPr/>
              </p:nvSpPr>
              <p:spPr bwMode="gray">
                <a:xfrm>
                  <a:off x="5068" y="3320"/>
                  <a:ext cx="174" cy="232"/>
                </a:xfrm>
                <a:custGeom>
                  <a:avLst/>
                  <a:gdLst>
                    <a:gd name="T0" fmla="*/ 85 w 174"/>
                    <a:gd name="T1" fmla="*/ 107 h 232"/>
                    <a:gd name="T2" fmla="*/ 76 w 174"/>
                    <a:gd name="T3" fmla="*/ 116 h 232"/>
                    <a:gd name="T4" fmla="*/ 76 w 174"/>
                    <a:gd name="T5" fmla="*/ 130 h 232"/>
                    <a:gd name="T6" fmla="*/ 71 w 174"/>
                    <a:gd name="T7" fmla="*/ 130 h 232"/>
                    <a:gd name="T8" fmla="*/ 62 w 174"/>
                    <a:gd name="T9" fmla="*/ 156 h 232"/>
                    <a:gd name="T10" fmla="*/ 27 w 174"/>
                    <a:gd name="T11" fmla="*/ 179 h 232"/>
                    <a:gd name="T12" fmla="*/ 0 w 174"/>
                    <a:gd name="T13" fmla="*/ 206 h 232"/>
                    <a:gd name="T14" fmla="*/ 0 w 174"/>
                    <a:gd name="T15" fmla="*/ 219 h 232"/>
                    <a:gd name="T16" fmla="*/ 4 w 174"/>
                    <a:gd name="T17" fmla="*/ 223 h 232"/>
                    <a:gd name="T18" fmla="*/ 18 w 174"/>
                    <a:gd name="T19" fmla="*/ 223 h 232"/>
                    <a:gd name="T20" fmla="*/ 40 w 174"/>
                    <a:gd name="T21" fmla="*/ 232 h 232"/>
                    <a:gd name="T22" fmla="*/ 49 w 174"/>
                    <a:gd name="T23" fmla="*/ 228 h 232"/>
                    <a:gd name="T24" fmla="*/ 62 w 174"/>
                    <a:gd name="T25" fmla="*/ 219 h 232"/>
                    <a:gd name="T26" fmla="*/ 71 w 174"/>
                    <a:gd name="T27" fmla="*/ 179 h 232"/>
                    <a:gd name="T28" fmla="*/ 94 w 174"/>
                    <a:gd name="T29" fmla="*/ 170 h 232"/>
                    <a:gd name="T30" fmla="*/ 89 w 174"/>
                    <a:gd name="T31" fmla="*/ 156 h 232"/>
                    <a:gd name="T32" fmla="*/ 98 w 174"/>
                    <a:gd name="T33" fmla="*/ 152 h 232"/>
                    <a:gd name="T34" fmla="*/ 107 w 174"/>
                    <a:gd name="T35" fmla="*/ 130 h 232"/>
                    <a:gd name="T36" fmla="*/ 103 w 174"/>
                    <a:gd name="T37" fmla="*/ 121 h 232"/>
                    <a:gd name="T38" fmla="*/ 98 w 174"/>
                    <a:gd name="T39" fmla="*/ 125 h 232"/>
                    <a:gd name="T40" fmla="*/ 85 w 174"/>
                    <a:gd name="T41" fmla="*/ 112 h 232"/>
                    <a:gd name="T42" fmla="*/ 94 w 174"/>
                    <a:gd name="T43" fmla="*/ 107 h 232"/>
                    <a:gd name="T44" fmla="*/ 85 w 174"/>
                    <a:gd name="T45" fmla="*/ 107 h 232"/>
                    <a:gd name="T46" fmla="*/ 174 w 174"/>
                    <a:gd name="T47" fmla="*/ 54 h 232"/>
                    <a:gd name="T48" fmla="*/ 165 w 174"/>
                    <a:gd name="T49" fmla="*/ 54 h 232"/>
                    <a:gd name="T50" fmla="*/ 156 w 174"/>
                    <a:gd name="T51" fmla="*/ 63 h 232"/>
                    <a:gd name="T52" fmla="*/ 134 w 174"/>
                    <a:gd name="T53" fmla="*/ 54 h 232"/>
                    <a:gd name="T54" fmla="*/ 134 w 174"/>
                    <a:gd name="T55" fmla="*/ 45 h 232"/>
                    <a:gd name="T56" fmla="*/ 129 w 174"/>
                    <a:gd name="T57" fmla="*/ 36 h 232"/>
                    <a:gd name="T58" fmla="*/ 125 w 174"/>
                    <a:gd name="T59" fmla="*/ 36 h 232"/>
                    <a:gd name="T60" fmla="*/ 125 w 174"/>
                    <a:gd name="T61" fmla="*/ 49 h 232"/>
                    <a:gd name="T62" fmla="*/ 120 w 174"/>
                    <a:gd name="T63" fmla="*/ 36 h 232"/>
                    <a:gd name="T64" fmla="*/ 112 w 174"/>
                    <a:gd name="T65" fmla="*/ 13 h 232"/>
                    <a:gd name="T66" fmla="*/ 98 w 174"/>
                    <a:gd name="T67" fmla="*/ 4 h 232"/>
                    <a:gd name="T68" fmla="*/ 89 w 174"/>
                    <a:gd name="T69" fmla="*/ 0 h 232"/>
                    <a:gd name="T70" fmla="*/ 89 w 174"/>
                    <a:gd name="T71" fmla="*/ 9 h 232"/>
                    <a:gd name="T72" fmla="*/ 107 w 174"/>
                    <a:gd name="T73" fmla="*/ 36 h 232"/>
                    <a:gd name="T74" fmla="*/ 116 w 174"/>
                    <a:gd name="T75" fmla="*/ 54 h 232"/>
                    <a:gd name="T76" fmla="*/ 112 w 174"/>
                    <a:gd name="T77" fmla="*/ 80 h 232"/>
                    <a:gd name="T78" fmla="*/ 103 w 174"/>
                    <a:gd name="T79" fmla="*/ 80 h 232"/>
                    <a:gd name="T80" fmla="*/ 103 w 174"/>
                    <a:gd name="T81" fmla="*/ 85 h 232"/>
                    <a:gd name="T82" fmla="*/ 120 w 174"/>
                    <a:gd name="T83" fmla="*/ 103 h 232"/>
                    <a:gd name="T84" fmla="*/ 116 w 174"/>
                    <a:gd name="T85" fmla="*/ 121 h 232"/>
                    <a:gd name="T86" fmla="*/ 112 w 174"/>
                    <a:gd name="T87" fmla="*/ 130 h 232"/>
                    <a:gd name="T88" fmla="*/ 125 w 174"/>
                    <a:gd name="T89" fmla="*/ 134 h 232"/>
                    <a:gd name="T90" fmla="*/ 152 w 174"/>
                    <a:gd name="T91" fmla="*/ 94 h 232"/>
                    <a:gd name="T92" fmla="*/ 147 w 174"/>
                    <a:gd name="T93" fmla="*/ 89 h 232"/>
                    <a:gd name="T94" fmla="*/ 161 w 174"/>
                    <a:gd name="T95" fmla="*/ 85 h 232"/>
                    <a:gd name="T96" fmla="*/ 165 w 174"/>
                    <a:gd name="T97" fmla="*/ 89 h 232"/>
                    <a:gd name="T98" fmla="*/ 165 w 174"/>
                    <a:gd name="T99" fmla="*/ 80 h 232"/>
                    <a:gd name="T100" fmla="*/ 170 w 174"/>
                    <a:gd name="T101" fmla="*/ 76 h 232"/>
                    <a:gd name="T102" fmla="*/ 174 w 174"/>
                    <a:gd name="T103" fmla="*/ 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232">
                      <a:moveTo>
                        <a:pt x="85" y="107"/>
                      </a:moveTo>
                      <a:lnTo>
                        <a:pt x="76" y="116"/>
                      </a:lnTo>
                      <a:lnTo>
                        <a:pt x="76" y="130"/>
                      </a:lnTo>
                      <a:lnTo>
                        <a:pt x="71" y="130"/>
                      </a:lnTo>
                      <a:lnTo>
                        <a:pt x="62" y="156"/>
                      </a:lnTo>
                      <a:lnTo>
                        <a:pt x="27" y="179"/>
                      </a:lnTo>
                      <a:lnTo>
                        <a:pt x="0" y="206"/>
                      </a:lnTo>
                      <a:lnTo>
                        <a:pt x="0" y="219"/>
                      </a:lnTo>
                      <a:lnTo>
                        <a:pt x="4" y="223"/>
                      </a:lnTo>
                      <a:lnTo>
                        <a:pt x="18" y="223"/>
                      </a:lnTo>
                      <a:lnTo>
                        <a:pt x="40" y="232"/>
                      </a:lnTo>
                      <a:lnTo>
                        <a:pt x="49" y="228"/>
                      </a:lnTo>
                      <a:lnTo>
                        <a:pt x="62" y="219"/>
                      </a:lnTo>
                      <a:lnTo>
                        <a:pt x="71" y="179"/>
                      </a:lnTo>
                      <a:lnTo>
                        <a:pt x="94" y="170"/>
                      </a:lnTo>
                      <a:lnTo>
                        <a:pt x="89" y="156"/>
                      </a:lnTo>
                      <a:lnTo>
                        <a:pt x="98" y="152"/>
                      </a:lnTo>
                      <a:lnTo>
                        <a:pt x="107" y="130"/>
                      </a:lnTo>
                      <a:lnTo>
                        <a:pt x="103" y="121"/>
                      </a:lnTo>
                      <a:lnTo>
                        <a:pt x="98" y="125"/>
                      </a:lnTo>
                      <a:lnTo>
                        <a:pt x="85" y="112"/>
                      </a:lnTo>
                      <a:lnTo>
                        <a:pt x="94" y="107"/>
                      </a:lnTo>
                      <a:lnTo>
                        <a:pt x="85" y="107"/>
                      </a:lnTo>
                      <a:close/>
                      <a:moveTo>
                        <a:pt x="174" y="54"/>
                      </a:moveTo>
                      <a:lnTo>
                        <a:pt x="165" y="54"/>
                      </a:lnTo>
                      <a:lnTo>
                        <a:pt x="156" y="63"/>
                      </a:lnTo>
                      <a:lnTo>
                        <a:pt x="134" y="54"/>
                      </a:lnTo>
                      <a:lnTo>
                        <a:pt x="134" y="45"/>
                      </a:lnTo>
                      <a:lnTo>
                        <a:pt x="129" y="36"/>
                      </a:lnTo>
                      <a:lnTo>
                        <a:pt x="125" y="36"/>
                      </a:lnTo>
                      <a:lnTo>
                        <a:pt x="125" y="49"/>
                      </a:lnTo>
                      <a:lnTo>
                        <a:pt x="120" y="36"/>
                      </a:lnTo>
                      <a:lnTo>
                        <a:pt x="112" y="13"/>
                      </a:lnTo>
                      <a:lnTo>
                        <a:pt x="98" y="4"/>
                      </a:lnTo>
                      <a:lnTo>
                        <a:pt x="89" y="0"/>
                      </a:lnTo>
                      <a:lnTo>
                        <a:pt x="89" y="9"/>
                      </a:lnTo>
                      <a:lnTo>
                        <a:pt x="107" y="36"/>
                      </a:lnTo>
                      <a:lnTo>
                        <a:pt x="116" y="54"/>
                      </a:lnTo>
                      <a:lnTo>
                        <a:pt x="112" y="80"/>
                      </a:lnTo>
                      <a:lnTo>
                        <a:pt x="103" y="80"/>
                      </a:lnTo>
                      <a:lnTo>
                        <a:pt x="103" y="85"/>
                      </a:lnTo>
                      <a:lnTo>
                        <a:pt x="120" y="103"/>
                      </a:lnTo>
                      <a:lnTo>
                        <a:pt x="116" y="121"/>
                      </a:lnTo>
                      <a:lnTo>
                        <a:pt x="112" y="130"/>
                      </a:lnTo>
                      <a:lnTo>
                        <a:pt x="125" y="134"/>
                      </a:lnTo>
                      <a:lnTo>
                        <a:pt x="152" y="94"/>
                      </a:lnTo>
                      <a:lnTo>
                        <a:pt x="147" y="89"/>
                      </a:lnTo>
                      <a:lnTo>
                        <a:pt x="161" y="85"/>
                      </a:lnTo>
                      <a:lnTo>
                        <a:pt x="165" y="89"/>
                      </a:lnTo>
                      <a:lnTo>
                        <a:pt x="165" y="80"/>
                      </a:lnTo>
                      <a:lnTo>
                        <a:pt x="170" y="76"/>
                      </a:lnTo>
                      <a:lnTo>
                        <a:pt x="174" y="5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07" name="Freeform 168"/>
                <p:cNvSpPr>
                  <a:spLocks noEditPoints="1"/>
                </p:cNvSpPr>
                <p:nvPr/>
              </p:nvSpPr>
              <p:spPr bwMode="gray">
                <a:xfrm>
                  <a:off x="5336" y="3070"/>
                  <a:ext cx="36" cy="40"/>
                </a:xfrm>
                <a:custGeom>
                  <a:avLst/>
                  <a:gdLst>
                    <a:gd name="T0" fmla="*/ 0 w 36"/>
                    <a:gd name="T1" fmla="*/ 40 h 40"/>
                    <a:gd name="T2" fmla="*/ 4 w 36"/>
                    <a:gd name="T3" fmla="*/ 40 h 40"/>
                    <a:gd name="T4" fmla="*/ 4 w 36"/>
                    <a:gd name="T5" fmla="*/ 40 h 40"/>
                    <a:gd name="T6" fmla="*/ 0 w 36"/>
                    <a:gd name="T7" fmla="*/ 40 h 40"/>
                    <a:gd name="T8" fmla="*/ 18 w 36"/>
                    <a:gd name="T9" fmla="*/ 27 h 40"/>
                    <a:gd name="T10" fmla="*/ 18 w 36"/>
                    <a:gd name="T11" fmla="*/ 31 h 40"/>
                    <a:gd name="T12" fmla="*/ 22 w 36"/>
                    <a:gd name="T13" fmla="*/ 27 h 40"/>
                    <a:gd name="T14" fmla="*/ 18 w 36"/>
                    <a:gd name="T15" fmla="*/ 27 h 40"/>
                    <a:gd name="T16" fmla="*/ 18 w 36"/>
                    <a:gd name="T17" fmla="*/ 13 h 40"/>
                    <a:gd name="T18" fmla="*/ 18 w 36"/>
                    <a:gd name="T19" fmla="*/ 18 h 40"/>
                    <a:gd name="T20" fmla="*/ 22 w 36"/>
                    <a:gd name="T21" fmla="*/ 13 h 40"/>
                    <a:gd name="T22" fmla="*/ 18 w 36"/>
                    <a:gd name="T23" fmla="*/ 13 h 40"/>
                    <a:gd name="T24" fmla="*/ 31 w 36"/>
                    <a:gd name="T25" fmla="*/ 13 h 40"/>
                    <a:gd name="T26" fmla="*/ 31 w 36"/>
                    <a:gd name="T27" fmla="*/ 13 h 40"/>
                    <a:gd name="T28" fmla="*/ 31 w 36"/>
                    <a:gd name="T29" fmla="*/ 13 h 40"/>
                    <a:gd name="T30" fmla="*/ 31 w 36"/>
                    <a:gd name="T31" fmla="*/ 13 h 40"/>
                    <a:gd name="T32" fmla="*/ 36 w 36"/>
                    <a:gd name="T33" fmla="*/ 0 h 40"/>
                    <a:gd name="T34" fmla="*/ 36 w 36"/>
                    <a:gd name="T35" fmla="*/ 0 h 40"/>
                    <a:gd name="T36" fmla="*/ 36 w 36"/>
                    <a:gd name="T37" fmla="*/ 0 h 40"/>
                    <a:gd name="T38" fmla="*/ 36 w 36"/>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0">
                      <a:moveTo>
                        <a:pt x="0" y="40"/>
                      </a:moveTo>
                      <a:lnTo>
                        <a:pt x="4" y="40"/>
                      </a:lnTo>
                      <a:lnTo>
                        <a:pt x="4" y="40"/>
                      </a:lnTo>
                      <a:lnTo>
                        <a:pt x="0" y="40"/>
                      </a:lnTo>
                      <a:close/>
                      <a:moveTo>
                        <a:pt x="18" y="27"/>
                      </a:moveTo>
                      <a:lnTo>
                        <a:pt x="18" y="31"/>
                      </a:lnTo>
                      <a:lnTo>
                        <a:pt x="22" y="27"/>
                      </a:lnTo>
                      <a:lnTo>
                        <a:pt x="18" y="27"/>
                      </a:lnTo>
                      <a:close/>
                      <a:moveTo>
                        <a:pt x="18" y="13"/>
                      </a:moveTo>
                      <a:lnTo>
                        <a:pt x="18" y="18"/>
                      </a:lnTo>
                      <a:lnTo>
                        <a:pt x="22" y="13"/>
                      </a:lnTo>
                      <a:lnTo>
                        <a:pt x="18" y="13"/>
                      </a:lnTo>
                      <a:close/>
                      <a:moveTo>
                        <a:pt x="31" y="13"/>
                      </a:moveTo>
                      <a:lnTo>
                        <a:pt x="31" y="13"/>
                      </a:lnTo>
                      <a:lnTo>
                        <a:pt x="31" y="13"/>
                      </a:lnTo>
                      <a:lnTo>
                        <a:pt x="31" y="13"/>
                      </a:lnTo>
                      <a:close/>
                      <a:moveTo>
                        <a:pt x="36" y="0"/>
                      </a:moveTo>
                      <a:lnTo>
                        <a:pt x="36" y="0"/>
                      </a:lnTo>
                      <a:lnTo>
                        <a:pt x="36" y="0"/>
                      </a:lnTo>
                      <a:lnTo>
                        <a:pt x="36"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grpSp>
          <p:grpSp>
            <p:nvGrpSpPr>
              <p:cNvPr id="364" name="Group 169"/>
              <p:cNvGrpSpPr>
                <a:grpSpLocks/>
              </p:cNvGrpSpPr>
              <p:nvPr/>
            </p:nvGrpSpPr>
            <p:grpSpPr bwMode="auto">
              <a:xfrm>
                <a:off x="3709991" y="1977983"/>
                <a:ext cx="1504831" cy="1647106"/>
                <a:chOff x="2379" y="1273"/>
                <a:chExt cx="992" cy="1086"/>
              </a:xfrm>
            </p:grpSpPr>
            <p:sp>
              <p:nvSpPr>
                <p:cNvPr id="365" name="Freeform 170"/>
                <p:cNvSpPr>
                  <a:spLocks/>
                </p:cNvSpPr>
                <p:nvPr/>
              </p:nvSpPr>
              <p:spPr bwMode="gray">
                <a:xfrm>
                  <a:off x="3004" y="2091"/>
                  <a:ext cx="27" cy="63"/>
                </a:xfrm>
                <a:custGeom>
                  <a:avLst/>
                  <a:gdLst>
                    <a:gd name="T0" fmla="*/ 0 w 27"/>
                    <a:gd name="T1" fmla="*/ 13 h 63"/>
                    <a:gd name="T2" fmla="*/ 5 w 27"/>
                    <a:gd name="T3" fmla="*/ 13 h 63"/>
                    <a:gd name="T4" fmla="*/ 0 w 27"/>
                    <a:gd name="T5" fmla="*/ 18 h 63"/>
                    <a:gd name="T6" fmla="*/ 0 w 27"/>
                    <a:gd name="T7" fmla="*/ 36 h 63"/>
                    <a:gd name="T8" fmla="*/ 0 w 27"/>
                    <a:gd name="T9" fmla="*/ 40 h 63"/>
                    <a:gd name="T10" fmla="*/ 0 w 27"/>
                    <a:gd name="T11" fmla="*/ 45 h 63"/>
                    <a:gd name="T12" fmla="*/ 5 w 27"/>
                    <a:gd name="T13" fmla="*/ 54 h 63"/>
                    <a:gd name="T14" fmla="*/ 5 w 27"/>
                    <a:gd name="T15" fmla="*/ 58 h 63"/>
                    <a:gd name="T16" fmla="*/ 9 w 27"/>
                    <a:gd name="T17" fmla="*/ 63 h 63"/>
                    <a:gd name="T18" fmla="*/ 14 w 27"/>
                    <a:gd name="T19" fmla="*/ 63 h 63"/>
                    <a:gd name="T20" fmla="*/ 14 w 27"/>
                    <a:gd name="T21" fmla="*/ 54 h 63"/>
                    <a:gd name="T22" fmla="*/ 27 w 27"/>
                    <a:gd name="T23" fmla="*/ 40 h 63"/>
                    <a:gd name="T24" fmla="*/ 18 w 27"/>
                    <a:gd name="T25" fmla="*/ 36 h 63"/>
                    <a:gd name="T26" fmla="*/ 18 w 27"/>
                    <a:gd name="T27" fmla="*/ 13 h 63"/>
                    <a:gd name="T28" fmla="*/ 14 w 27"/>
                    <a:gd name="T29" fmla="*/ 13 h 63"/>
                    <a:gd name="T30" fmla="*/ 14 w 27"/>
                    <a:gd name="T31" fmla="*/ 5 h 63"/>
                    <a:gd name="T32" fmla="*/ 5 w 27"/>
                    <a:gd name="T33" fmla="*/ 0 h 63"/>
                    <a:gd name="T34" fmla="*/ 0 w 27"/>
                    <a:gd name="T3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63">
                      <a:moveTo>
                        <a:pt x="0" y="13"/>
                      </a:moveTo>
                      <a:lnTo>
                        <a:pt x="5" y="13"/>
                      </a:lnTo>
                      <a:lnTo>
                        <a:pt x="0" y="18"/>
                      </a:lnTo>
                      <a:lnTo>
                        <a:pt x="0" y="36"/>
                      </a:lnTo>
                      <a:lnTo>
                        <a:pt x="0" y="40"/>
                      </a:lnTo>
                      <a:lnTo>
                        <a:pt x="0" y="45"/>
                      </a:lnTo>
                      <a:lnTo>
                        <a:pt x="5" y="54"/>
                      </a:lnTo>
                      <a:lnTo>
                        <a:pt x="5" y="58"/>
                      </a:lnTo>
                      <a:lnTo>
                        <a:pt x="9" y="63"/>
                      </a:lnTo>
                      <a:lnTo>
                        <a:pt x="14" y="63"/>
                      </a:lnTo>
                      <a:lnTo>
                        <a:pt x="14" y="54"/>
                      </a:lnTo>
                      <a:lnTo>
                        <a:pt x="27" y="40"/>
                      </a:lnTo>
                      <a:lnTo>
                        <a:pt x="18" y="36"/>
                      </a:lnTo>
                      <a:lnTo>
                        <a:pt x="18" y="13"/>
                      </a:lnTo>
                      <a:lnTo>
                        <a:pt x="14" y="13"/>
                      </a:lnTo>
                      <a:lnTo>
                        <a:pt x="14" y="5"/>
                      </a:lnTo>
                      <a:lnTo>
                        <a:pt x="5" y="0"/>
                      </a:lnTo>
                      <a:lnTo>
                        <a:pt x="0" y="1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66" name="Freeform 171"/>
                <p:cNvSpPr>
                  <a:spLocks/>
                </p:cNvSpPr>
                <p:nvPr/>
              </p:nvSpPr>
              <p:spPr bwMode="gray">
                <a:xfrm>
                  <a:off x="2866" y="1957"/>
                  <a:ext cx="107" cy="58"/>
                </a:xfrm>
                <a:custGeom>
                  <a:avLst/>
                  <a:gdLst>
                    <a:gd name="T0" fmla="*/ 0 w 107"/>
                    <a:gd name="T1" fmla="*/ 31 h 58"/>
                    <a:gd name="T2" fmla="*/ 0 w 107"/>
                    <a:gd name="T3" fmla="*/ 45 h 58"/>
                    <a:gd name="T4" fmla="*/ 0 w 107"/>
                    <a:gd name="T5" fmla="*/ 49 h 58"/>
                    <a:gd name="T6" fmla="*/ 9 w 107"/>
                    <a:gd name="T7" fmla="*/ 45 h 58"/>
                    <a:gd name="T8" fmla="*/ 9 w 107"/>
                    <a:gd name="T9" fmla="*/ 49 h 58"/>
                    <a:gd name="T10" fmla="*/ 18 w 107"/>
                    <a:gd name="T11" fmla="*/ 49 h 58"/>
                    <a:gd name="T12" fmla="*/ 22 w 107"/>
                    <a:gd name="T13" fmla="*/ 45 h 58"/>
                    <a:gd name="T14" fmla="*/ 36 w 107"/>
                    <a:gd name="T15" fmla="*/ 45 h 58"/>
                    <a:gd name="T16" fmla="*/ 40 w 107"/>
                    <a:gd name="T17" fmla="*/ 54 h 58"/>
                    <a:gd name="T18" fmla="*/ 54 w 107"/>
                    <a:gd name="T19" fmla="*/ 58 h 58"/>
                    <a:gd name="T20" fmla="*/ 67 w 107"/>
                    <a:gd name="T21" fmla="*/ 58 h 58"/>
                    <a:gd name="T22" fmla="*/ 76 w 107"/>
                    <a:gd name="T23" fmla="*/ 54 h 58"/>
                    <a:gd name="T24" fmla="*/ 89 w 107"/>
                    <a:gd name="T25" fmla="*/ 49 h 58"/>
                    <a:gd name="T26" fmla="*/ 94 w 107"/>
                    <a:gd name="T27" fmla="*/ 45 h 58"/>
                    <a:gd name="T28" fmla="*/ 94 w 107"/>
                    <a:gd name="T29" fmla="*/ 40 h 58"/>
                    <a:gd name="T30" fmla="*/ 94 w 107"/>
                    <a:gd name="T31" fmla="*/ 36 h 58"/>
                    <a:gd name="T32" fmla="*/ 94 w 107"/>
                    <a:gd name="T33" fmla="*/ 31 h 58"/>
                    <a:gd name="T34" fmla="*/ 103 w 107"/>
                    <a:gd name="T35" fmla="*/ 31 h 58"/>
                    <a:gd name="T36" fmla="*/ 107 w 107"/>
                    <a:gd name="T37" fmla="*/ 22 h 58"/>
                    <a:gd name="T38" fmla="*/ 107 w 107"/>
                    <a:gd name="T39" fmla="*/ 18 h 58"/>
                    <a:gd name="T40" fmla="*/ 107 w 107"/>
                    <a:gd name="T41" fmla="*/ 13 h 58"/>
                    <a:gd name="T42" fmla="*/ 103 w 107"/>
                    <a:gd name="T43" fmla="*/ 13 h 58"/>
                    <a:gd name="T44" fmla="*/ 98 w 107"/>
                    <a:gd name="T45" fmla="*/ 13 h 58"/>
                    <a:gd name="T46" fmla="*/ 98 w 107"/>
                    <a:gd name="T47" fmla="*/ 4 h 58"/>
                    <a:gd name="T48" fmla="*/ 76 w 107"/>
                    <a:gd name="T49" fmla="*/ 0 h 58"/>
                    <a:gd name="T50" fmla="*/ 67 w 107"/>
                    <a:gd name="T51" fmla="*/ 9 h 58"/>
                    <a:gd name="T52" fmla="*/ 58 w 107"/>
                    <a:gd name="T53" fmla="*/ 9 h 58"/>
                    <a:gd name="T54" fmla="*/ 54 w 107"/>
                    <a:gd name="T55" fmla="*/ 13 h 58"/>
                    <a:gd name="T56" fmla="*/ 45 w 107"/>
                    <a:gd name="T57" fmla="*/ 18 h 58"/>
                    <a:gd name="T58" fmla="*/ 40 w 107"/>
                    <a:gd name="T59" fmla="*/ 22 h 58"/>
                    <a:gd name="T60" fmla="*/ 49 w 107"/>
                    <a:gd name="T61" fmla="*/ 27 h 58"/>
                    <a:gd name="T62" fmla="*/ 45 w 107"/>
                    <a:gd name="T63" fmla="*/ 36 h 58"/>
                    <a:gd name="T64" fmla="*/ 40 w 107"/>
                    <a:gd name="T65" fmla="*/ 31 h 58"/>
                    <a:gd name="T66" fmla="*/ 22 w 107"/>
                    <a:gd name="T67" fmla="*/ 36 h 58"/>
                    <a:gd name="T68" fmla="*/ 0 w 107"/>
                    <a:gd name="T69" fmla="*/ 3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8">
                      <a:moveTo>
                        <a:pt x="0" y="31"/>
                      </a:moveTo>
                      <a:lnTo>
                        <a:pt x="0" y="45"/>
                      </a:lnTo>
                      <a:lnTo>
                        <a:pt x="0" y="49"/>
                      </a:lnTo>
                      <a:lnTo>
                        <a:pt x="9" y="45"/>
                      </a:lnTo>
                      <a:lnTo>
                        <a:pt x="9" y="49"/>
                      </a:lnTo>
                      <a:lnTo>
                        <a:pt x="18" y="49"/>
                      </a:lnTo>
                      <a:lnTo>
                        <a:pt x="22" y="45"/>
                      </a:lnTo>
                      <a:lnTo>
                        <a:pt x="36" y="45"/>
                      </a:lnTo>
                      <a:lnTo>
                        <a:pt x="40" y="54"/>
                      </a:lnTo>
                      <a:lnTo>
                        <a:pt x="54" y="58"/>
                      </a:lnTo>
                      <a:lnTo>
                        <a:pt x="67" y="58"/>
                      </a:lnTo>
                      <a:lnTo>
                        <a:pt x="76" y="54"/>
                      </a:lnTo>
                      <a:lnTo>
                        <a:pt x="89" y="49"/>
                      </a:lnTo>
                      <a:lnTo>
                        <a:pt x="94" y="45"/>
                      </a:lnTo>
                      <a:lnTo>
                        <a:pt x="94" y="40"/>
                      </a:lnTo>
                      <a:lnTo>
                        <a:pt x="94" y="36"/>
                      </a:lnTo>
                      <a:lnTo>
                        <a:pt x="94" y="31"/>
                      </a:lnTo>
                      <a:lnTo>
                        <a:pt x="103" y="31"/>
                      </a:lnTo>
                      <a:lnTo>
                        <a:pt x="107" y="22"/>
                      </a:lnTo>
                      <a:lnTo>
                        <a:pt x="107" y="18"/>
                      </a:lnTo>
                      <a:lnTo>
                        <a:pt x="107" y="13"/>
                      </a:lnTo>
                      <a:lnTo>
                        <a:pt x="103" y="13"/>
                      </a:lnTo>
                      <a:lnTo>
                        <a:pt x="98" y="13"/>
                      </a:lnTo>
                      <a:lnTo>
                        <a:pt x="98" y="4"/>
                      </a:lnTo>
                      <a:lnTo>
                        <a:pt x="76" y="0"/>
                      </a:lnTo>
                      <a:lnTo>
                        <a:pt x="67" y="9"/>
                      </a:lnTo>
                      <a:lnTo>
                        <a:pt x="58" y="9"/>
                      </a:lnTo>
                      <a:lnTo>
                        <a:pt x="54" y="13"/>
                      </a:lnTo>
                      <a:lnTo>
                        <a:pt x="45" y="18"/>
                      </a:lnTo>
                      <a:lnTo>
                        <a:pt x="40" y="22"/>
                      </a:lnTo>
                      <a:lnTo>
                        <a:pt x="49" y="27"/>
                      </a:lnTo>
                      <a:lnTo>
                        <a:pt x="45" y="36"/>
                      </a:lnTo>
                      <a:lnTo>
                        <a:pt x="40" y="31"/>
                      </a:lnTo>
                      <a:lnTo>
                        <a:pt x="22" y="36"/>
                      </a:lnTo>
                      <a:lnTo>
                        <a:pt x="0" y="3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67" name="Freeform 172"/>
                <p:cNvSpPr>
                  <a:spLocks/>
                </p:cNvSpPr>
                <p:nvPr/>
              </p:nvSpPr>
              <p:spPr bwMode="gray">
                <a:xfrm>
                  <a:off x="2763" y="1899"/>
                  <a:ext cx="58" cy="49"/>
                </a:xfrm>
                <a:custGeom>
                  <a:avLst/>
                  <a:gdLst>
                    <a:gd name="T0" fmla="*/ 0 w 58"/>
                    <a:gd name="T1" fmla="*/ 9 h 49"/>
                    <a:gd name="T2" fmla="*/ 9 w 58"/>
                    <a:gd name="T3" fmla="*/ 22 h 49"/>
                    <a:gd name="T4" fmla="*/ 14 w 58"/>
                    <a:gd name="T5" fmla="*/ 22 h 49"/>
                    <a:gd name="T6" fmla="*/ 18 w 58"/>
                    <a:gd name="T7" fmla="*/ 27 h 49"/>
                    <a:gd name="T8" fmla="*/ 23 w 58"/>
                    <a:gd name="T9" fmla="*/ 27 h 49"/>
                    <a:gd name="T10" fmla="*/ 23 w 58"/>
                    <a:gd name="T11" fmla="*/ 36 h 49"/>
                    <a:gd name="T12" fmla="*/ 27 w 58"/>
                    <a:gd name="T13" fmla="*/ 36 h 49"/>
                    <a:gd name="T14" fmla="*/ 36 w 58"/>
                    <a:gd name="T15" fmla="*/ 31 h 49"/>
                    <a:gd name="T16" fmla="*/ 32 w 58"/>
                    <a:gd name="T17" fmla="*/ 40 h 49"/>
                    <a:gd name="T18" fmla="*/ 40 w 58"/>
                    <a:gd name="T19" fmla="*/ 45 h 49"/>
                    <a:gd name="T20" fmla="*/ 45 w 58"/>
                    <a:gd name="T21" fmla="*/ 49 h 49"/>
                    <a:gd name="T22" fmla="*/ 49 w 58"/>
                    <a:gd name="T23" fmla="*/ 49 h 49"/>
                    <a:gd name="T24" fmla="*/ 49 w 58"/>
                    <a:gd name="T25" fmla="*/ 45 h 49"/>
                    <a:gd name="T26" fmla="*/ 49 w 58"/>
                    <a:gd name="T27" fmla="*/ 36 h 49"/>
                    <a:gd name="T28" fmla="*/ 54 w 58"/>
                    <a:gd name="T29" fmla="*/ 36 h 49"/>
                    <a:gd name="T30" fmla="*/ 58 w 58"/>
                    <a:gd name="T31" fmla="*/ 27 h 49"/>
                    <a:gd name="T32" fmla="*/ 54 w 58"/>
                    <a:gd name="T33" fmla="*/ 18 h 49"/>
                    <a:gd name="T34" fmla="*/ 49 w 58"/>
                    <a:gd name="T35" fmla="*/ 18 h 49"/>
                    <a:gd name="T36" fmla="*/ 49 w 58"/>
                    <a:gd name="T37" fmla="*/ 13 h 49"/>
                    <a:gd name="T38" fmla="*/ 45 w 58"/>
                    <a:gd name="T39" fmla="*/ 9 h 49"/>
                    <a:gd name="T40" fmla="*/ 36 w 58"/>
                    <a:gd name="T41" fmla="*/ 9 h 49"/>
                    <a:gd name="T42" fmla="*/ 27 w 58"/>
                    <a:gd name="T43" fmla="*/ 0 h 49"/>
                    <a:gd name="T44" fmla="*/ 23 w 58"/>
                    <a:gd name="T45" fmla="*/ 9 h 49"/>
                    <a:gd name="T46" fmla="*/ 18 w 58"/>
                    <a:gd name="T47" fmla="*/ 9 h 49"/>
                    <a:gd name="T48" fmla="*/ 9 w 58"/>
                    <a:gd name="T49" fmla="*/ 9 h 49"/>
                    <a:gd name="T50" fmla="*/ 9 w 58"/>
                    <a:gd name="T51" fmla="*/ 4 h 49"/>
                    <a:gd name="T52" fmla="*/ 5 w 58"/>
                    <a:gd name="T53" fmla="*/ 4 h 49"/>
                    <a:gd name="T54" fmla="*/ 0 w 58"/>
                    <a:gd name="T55"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9">
                      <a:moveTo>
                        <a:pt x="0" y="9"/>
                      </a:moveTo>
                      <a:lnTo>
                        <a:pt x="9" y="22"/>
                      </a:lnTo>
                      <a:lnTo>
                        <a:pt x="14" y="22"/>
                      </a:lnTo>
                      <a:lnTo>
                        <a:pt x="18" y="27"/>
                      </a:lnTo>
                      <a:lnTo>
                        <a:pt x="23" y="27"/>
                      </a:lnTo>
                      <a:lnTo>
                        <a:pt x="23" y="36"/>
                      </a:lnTo>
                      <a:lnTo>
                        <a:pt x="27" y="36"/>
                      </a:lnTo>
                      <a:lnTo>
                        <a:pt x="36" y="31"/>
                      </a:lnTo>
                      <a:lnTo>
                        <a:pt x="32" y="40"/>
                      </a:lnTo>
                      <a:lnTo>
                        <a:pt x="40" y="45"/>
                      </a:lnTo>
                      <a:lnTo>
                        <a:pt x="45" y="49"/>
                      </a:lnTo>
                      <a:lnTo>
                        <a:pt x="49" y="49"/>
                      </a:lnTo>
                      <a:lnTo>
                        <a:pt x="49" y="45"/>
                      </a:lnTo>
                      <a:lnTo>
                        <a:pt x="49" y="36"/>
                      </a:lnTo>
                      <a:lnTo>
                        <a:pt x="54" y="36"/>
                      </a:lnTo>
                      <a:lnTo>
                        <a:pt x="58" y="27"/>
                      </a:lnTo>
                      <a:lnTo>
                        <a:pt x="54" y="18"/>
                      </a:lnTo>
                      <a:lnTo>
                        <a:pt x="49" y="18"/>
                      </a:lnTo>
                      <a:lnTo>
                        <a:pt x="49" y="13"/>
                      </a:lnTo>
                      <a:lnTo>
                        <a:pt x="45" y="9"/>
                      </a:lnTo>
                      <a:lnTo>
                        <a:pt x="36" y="9"/>
                      </a:lnTo>
                      <a:lnTo>
                        <a:pt x="27" y="0"/>
                      </a:lnTo>
                      <a:lnTo>
                        <a:pt x="23" y="9"/>
                      </a:lnTo>
                      <a:lnTo>
                        <a:pt x="18" y="9"/>
                      </a:lnTo>
                      <a:lnTo>
                        <a:pt x="9" y="9"/>
                      </a:lnTo>
                      <a:lnTo>
                        <a:pt x="9" y="4"/>
                      </a:lnTo>
                      <a:lnTo>
                        <a:pt x="5" y="4"/>
                      </a:lnTo>
                      <a:lnTo>
                        <a:pt x="0"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68" name="Freeform 173"/>
                <p:cNvSpPr>
                  <a:spLocks/>
                </p:cNvSpPr>
                <p:nvPr/>
              </p:nvSpPr>
              <p:spPr bwMode="gray">
                <a:xfrm>
                  <a:off x="2946" y="2037"/>
                  <a:ext cx="58" cy="50"/>
                </a:xfrm>
                <a:custGeom>
                  <a:avLst/>
                  <a:gdLst>
                    <a:gd name="T0" fmla="*/ 32 w 58"/>
                    <a:gd name="T1" fmla="*/ 45 h 50"/>
                    <a:gd name="T2" fmla="*/ 32 w 58"/>
                    <a:gd name="T3" fmla="*/ 45 h 50"/>
                    <a:gd name="T4" fmla="*/ 36 w 58"/>
                    <a:gd name="T5" fmla="*/ 45 h 50"/>
                    <a:gd name="T6" fmla="*/ 45 w 58"/>
                    <a:gd name="T7" fmla="*/ 50 h 50"/>
                    <a:gd name="T8" fmla="*/ 45 w 58"/>
                    <a:gd name="T9" fmla="*/ 50 h 50"/>
                    <a:gd name="T10" fmla="*/ 45 w 58"/>
                    <a:gd name="T11" fmla="*/ 50 h 50"/>
                    <a:gd name="T12" fmla="*/ 45 w 58"/>
                    <a:gd name="T13" fmla="*/ 45 h 50"/>
                    <a:gd name="T14" fmla="*/ 45 w 58"/>
                    <a:gd name="T15" fmla="*/ 45 h 50"/>
                    <a:gd name="T16" fmla="*/ 45 w 58"/>
                    <a:gd name="T17" fmla="*/ 41 h 50"/>
                    <a:gd name="T18" fmla="*/ 50 w 58"/>
                    <a:gd name="T19" fmla="*/ 36 h 50"/>
                    <a:gd name="T20" fmla="*/ 50 w 58"/>
                    <a:gd name="T21" fmla="*/ 36 h 50"/>
                    <a:gd name="T22" fmla="*/ 50 w 58"/>
                    <a:gd name="T23" fmla="*/ 36 h 50"/>
                    <a:gd name="T24" fmla="*/ 50 w 58"/>
                    <a:gd name="T25" fmla="*/ 32 h 50"/>
                    <a:gd name="T26" fmla="*/ 54 w 58"/>
                    <a:gd name="T27" fmla="*/ 32 h 50"/>
                    <a:gd name="T28" fmla="*/ 58 w 58"/>
                    <a:gd name="T29" fmla="*/ 27 h 50"/>
                    <a:gd name="T30" fmla="*/ 54 w 58"/>
                    <a:gd name="T31" fmla="*/ 23 h 50"/>
                    <a:gd name="T32" fmla="*/ 58 w 58"/>
                    <a:gd name="T33" fmla="*/ 23 h 50"/>
                    <a:gd name="T34" fmla="*/ 58 w 58"/>
                    <a:gd name="T35" fmla="*/ 23 h 50"/>
                    <a:gd name="T36" fmla="*/ 50 w 58"/>
                    <a:gd name="T37" fmla="*/ 18 h 50"/>
                    <a:gd name="T38" fmla="*/ 50 w 58"/>
                    <a:gd name="T39" fmla="*/ 14 h 50"/>
                    <a:gd name="T40" fmla="*/ 54 w 58"/>
                    <a:gd name="T41" fmla="*/ 9 h 50"/>
                    <a:gd name="T42" fmla="*/ 54 w 58"/>
                    <a:gd name="T43" fmla="*/ 5 h 50"/>
                    <a:gd name="T44" fmla="*/ 50 w 58"/>
                    <a:gd name="T45" fmla="*/ 5 h 50"/>
                    <a:gd name="T46" fmla="*/ 45 w 58"/>
                    <a:gd name="T47" fmla="*/ 5 h 50"/>
                    <a:gd name="T48" fmla="*/ 45 w 58"/>
                    <a:gd name="T49" fmla="*/ 5 h 50"/>
                    <a:gd name="T50" fmla="*/ 41 w 58"/>
                    <a:gd name="T51" fmla="*/ 0 h 50"/>
                    <a:gd name="T52" fmla="*/ 36 w 58"/>
                    <a:gd name="T53" fmla="*/ 0 h 50"/>
                    <a:gd name="T54" fmla="*/ 32 w 58"/>
                    <a:gd name="T55" fmla="*/ 5 h 50"/>
                    <a:gd name="T56" fmla="*/ 23 w 58"/>
                    <a:gd name="T57" fmla="*/ 0 h 50"/>
                    <a:gd name="T58" fmla="*/ 18 w 58"/>
                    <a:gd name="T59" fmla="*/ 0 h 50"/>
                    <a:gd name="T60" fmla="*/ 18 w 58"/>
                    <a:gd name="T61" fmla="*/ 0 h 50"/>
                    <a:gd name="T62" fmla="*/ 14 w 58"/>
                    <a:gd name="T63" fmla="*/ 0 h 50"/>
                    <a:gd name="T64" fmla="*/ 9 w 58"/>
                    <a:gd name="T65" fmla="*/ 5 h 50"/>
                    <a:gd name="T66" fmla="*/ 5 w 58"/>
                    <a:gd name="T67" fmla="*/ 0 h 50"/>
                    <a:gd name="T68" fmla="*/ 5 w 58"/>
                    <a:gd name="T69" fmla="*/ 0 h 50"/>
                    <a:gd name="T70" fmla="*/ 0 w 58"/>
                    <a:gd name="T71" fmla="*/ 9 h 50"/>
                    <a:gd name="T72" fmla="*/ 5 w 58"/>
                    <a:gd name="T73" fmla="*/ 9 h 50"/>
                    <a:gd name="T74" fmla="*/ 9 w 58"/>
                    <a:gd name="T75" fmla="*/ 18 h 50"/>
                    <a:gd name="T76" fmla="*/ 9 w 58"/>
                    <a:gd name="T77" fmla="*/ 23 h 50"/>
                    <a:gd name="T78" fmla="*/ 23 w 58"/>
                    <a:gd name="T79" fmla="*/ 36 h 50"/>
                    <a:gd name="T80" fmla="*/ 27 w 58"/>
                    <a:gd name="T81" fmla="*/ 36 h 50"/>
                    <a:gd name="T82" fmla="*/ 27 w 58"/>
                    <a:gd name="T83" fmla="*/ 36 h 50"/>
                    <a:gd name="T84" fmla="*/ 32 w 58"/>
                    <a:gd name="T85" fmla="*/ 45 h 50"/>
                    <a:gd name="T86" fmla="*/ 32 w 58"/>
                    <a:gd name="T87"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50">
                      <a:moveTo>
                        <a:pt x="32" y="45"/>
                      </a:moveTo>
                      <a:lnTo>
                        <a:pt x="32" y="45"/>
                      </a:lnTo>
                      <a:lnTo>
                        <a:pt x="36" y="45"/>
                      </a:lnTo>
                      <a:lnTo>
                        <a:pt x="45" y="50"/>
                      </a:lnTo>
                      <a:lnTo>
                        <a:pt x="45" y="50"/>
                      </a:lnTo>
                      <a:lnTo>
                        <a:pt x="45" y="50"/>
                      </a:lnTo>
                      <a:lnTo>
                        <a:pt x="45" y="45"/>
                      </a:lnTo>
                      <a:lnTo>
                        <a:pt x="45" y="45"/>
                      </a:lnTo>
                      <a:lnTo>
                        <a:pt x="45" y="41"/>
                      </a:lnTo>
                      <a:lnTo>
                        <a:pt x="50" y="36"/>
                      </a:lnTo>
                      <a:lnTo>
                        <a:pt x="50" y="36"/>
                      </a:lnTo>
                      <a:lnTo>
                        <a:pt x="50" y="36"/>
                      </a:lnTo>
                      <a:lnTo>
                        <a:pt x="50" y="32"/>
                      </a:lnTo>
                      <a:lnTo>
                        <a:pt x="54" y="32"/>
                      </a:lnTo>
                      <a:lnTo>
                        <a:pt x="58" y="27"/>
                      </a:lnTo>
                      <a:lnTo>
                        <a:pt x="54" y="23"/>
                      </a:lnTo>
                      <a:lnTo>
                        <a:pt x="58" y="23"/>
                      </a:lnTo>
                      <a:lnTo>
                        <a:pt x="58" y="23"/>
                      </a:lnTo>
                      <a:lnTo>
                        <a:pt x="50" y="18"/>
                      </a:lnTo>
                      <a:lnTo>
                        <a:pt x="50" y="14"/>
                      </a:lnTo>
                      <a:lnTo>
                        <a:pt x="54" y="9"/>
                      </a:lnTo>
                      <a:lnTo>
                        <a:pt x="54" y="5"/>
                      </a:lnTo>
                      <a:lnTo>
                        <a:pt x="50" y="5"/>
                      </a:lnTo>
                      <a:lnTo>
                        <a:pt x="45" y="5"/>
                      </a:lnTo>
                      <a:lnTo>
                        <a:pt x="45" y="5"/>
                      </a:lnTo>
                      <a:lnTo>
                        <a:pt x="41" y="0"/>
                      </a:lnTo>
                      <a:lnTo>
                        <a:pt x="36" y="0"/>
                      </a:lnTo>
                      <a:lnTo>
                        <a:pt x="32" y="5"/>
                      </a:lnTo>
                      <a:lnTo>
                        <a:pt x="23" y="0"/>
                      </a:lnTo>
                      <a:lnTo>
                        <a:pt x="18" y="0"/>
                      </a:lnTo>
                      <a:lnTo>
                        <a:pt x="18" y="0"/>
                      </a:lnTo>
                      <a:lnTo>
                        <a:pt x="14" y="0"/>
                      </a:lnTo>
                      <a:lnTo>
                        <a:pt x="9" y="5"/>
                      </a:lnTo>
                      <a:lnTo>
                        <a:pt x="5" y="0"/>
                      </a:lnTo>
                      <a:lnTo>
                        <a:pt x="5" y="0"/>
                      </a:lnTo>
                      <a:lnTo>
                        <a:pt x="0" y="9"/>
                      </a:lnTo>
                      <a:lnTo>
                        <a:pt x="5" y="9"/>
                      </a:lnTo>
                      <a:lnTo>
                        <a:pt x="9" y="18"/>
                      </a:lnTo>
                      <a:lnTo>
                        <a:pt x="9" y="23"/>
                      </a:lnTo>
                      <a:lnTo>
                        <a:pt x="23" y="36"/>
                      </a:lnTo>
                      <a:lnTo>
                        <a:pt x="27" y="36"/>
                      </a:lnTo>
                      <a:lnTo>
                        <a:pt x="27" y="36"/>
                      </a:lnTo>
                      <a:lnTo>
                        <a:pt x="32" y="45"/>
                      </a:lnTo>
                      <a:lnTo>
                        <a:pt x="32" y="4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69" name="Freeform 174"/>
                <p:cNvSpPr>
                  <a:spLocks/>
                </p:cNvSpPr>
                <p:nvPr/>
              </p:nvSpPr>
              <p:spPr bwMode="gray">
                <a:xfrm>
                  <a:off x="3045" y="2055"/>
                  <a:ext cx="89" cy="63"/>
                </a:xfrm>
                <a:custGeom>
                  <a:avLst/>
                  <a:gdLst>
                    <a:gd name="T0" fmla="*/ 4 w 89"/>
                    <a:gd name="T1" fmla="*/ 0 h 63"/>
                    <a:gd name="T2" fmla="*/ 0 w 89"/>
                    <a:gd name="T3" fmla="*/ 18 h 63"/>
                    <a:gd name="T4" fmla="*/ 13 w 89"/>
                    <a:gd name="T5" fmla="*/ 27 h 63"/>
                    <a:gd name="T6" fmla="*/ 13 w 89"/>
                    <a:gd name="T7" fmla="*/ 32 h 63"/>
                    <a:gd name="T8" fmla="*/ 4 w 89"/>
                    <a:gd name="T9" fmla="*/ 36 h 63"/>
                    <a:gd name="T10" fmla="*/ 4 w 89"/>
                    <a:gd name="T11" fmla="*/ 45 h 63"/>
                    <a:gd name="T12" fmla="*/ 13 w 89"/>
                    <a:gd name="T13" fmla="*/ 49 h 63"/>
                    <a:gd name="T14" fmla="*/ 13 w 89"/>
                    <a:gd name="T15" fmla="*/ 63 h 63"/>
                    <a:gd name="T16" fmla="*/ 22 w 89"/>
                    <a:gd name="T17" fmla="*/ 63 h 63"/>
                    <a:gd name="T18" fmla="*/ 31 w 89"/>
                    <a:gd name="T19" fmla="*/ 58 h 63"/>
                    <a:gd name="T20" fmla="*/ 40 w 89"/>
                    <a:gd name="T21" fmla="*/ 63 h 63"/>
                    <a:gd name="T22" fmla="*/ 53 w 89"/>
                    <a:gd name="T23" fmla="*/ 63 h 63"/>
                    <a:gd name="T24" fmla="*/ 53 w 89"/>
                    <a:gd name="T25" fmla="*/ 54 h 63"/>
                    <a:gd name="T26" fmla="*/ 71 w 89"/>
                    <a:gd name="T27" fmla="*/ 45 h 63"/>
                    <a:gd name="T28" fmla="*/ 76 w 89"/>
                    <a:gd name="T29" fmla="*/ 49 h 63"/>
                    <a:gd name="T30" fmla="*/ 85 w 89"/>
                    <a:gd name="T31" fmla="*/ 49 h 63"/>
                    <a:gd name="T32" fmla="*/ 80 w 89"/>
                    <a:gd name="T33" fmla="*/ 36 h 63"/>
                    <a:gd name="T34" fmla="*/ 76 w 89"/>
                    <a:gd name="T35" fmla="*/ 36 h 63"/>
                    <a:gd name="T36" fmla="*/ 80 w 89"/>
                    <a:gd name="T37" fmla="*/ 32 h 63"/>
                    <a:gd name="T38" fmla="*/ 80 w 89"/>
                    <a:gd name="T39" fmla="*/ 18 h 63"/>
                    <a:gd name="T40" fmla="*/ 89 w 89"/>
                    <a:gd name="T41" fmla="*/ 18 h 63"/>
                    <a:gd name="T42" fmla="*/ 89 w 89"/>
                    <a:gd name="T43" fmla="*/ 14 h 63"/>
                    <a:gd name="T44" fmla="*/ 71 w 89"/>
                    <a:gd name="T45" fmla="*/ 5 h 63"/>
                    <a:gd name="T46" fmla="*/ 58 w 89"/>
                    <a:gd name="T47" fmla="*/ 9 h 63"/>
                    <a:gd name="T48" fmla="*/ 49 w 89"/>
                    <a:gd name="T49" fmla="*/ 18 h 63"/>
                    <a:gd name="T50" fmla="*/ 35 w 89"/>
                    <a:gd name="T51" fmla="*/ 18 h 63"/>
                    <a:gd name="T52" fmla="*/ 22 w 89"/>
                    <a:gd name="T53" fmla="*/ 14 h 63"/>
                    <a:gd name="T54" fmla="*/ 9 w 89"/>
                    <a:gd name="T55" fmla="*/ 9 h 63"/>
                    <a:gd name="T56" fmla="*/ 9 w 89"/>
                    <a:gd name="T57" fmla="*/ 0 h 63"/>
                    <a:gd name="T58" fmla="*/ 4 w 89"/>
                    <a:gd name="T5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63">
                      <a:moveTo>
                        <a:pt x="4" y="0"/>
                      </a:moveTo>
                      <a:lnTo>
                        <a:pt x="0" y="18"/>
                      </a:lnTo>
                      <a:lnTo>
                        <a:pt x="13" y="27"/>
                      </a:lnTo>
                      <a:lnTo>
                        <a:pt x="13" y="32"/>
                      </a:lnTo>
                      <a:lnTo>
                        <a:pt x="4" y="36"/>
                      </a:lnTo>
                      <a:lnTo>
                        <a:pt x="4" y="45"/>
                      </a:lnTo>
                      <a:lnTo>
                        <a:pt x="13" y="49"/>
                      </a:lnTo>
                      <a:lnTo>
                        <a:pt x="13" y="63"/>
                      </a:lnTo>
                      <a:lnTo>
                        <a:pt x="22" y="63"/>
                      </a:lnTo>
                      <a:lnTo>
                        <a:pt x="31" y="58"/>
                      </a:lnTo>
                      <a:lnTo>
                        <a:pt x="40" y="63"/>
                      </a:lnTo>
                      <a:lnTo>
                        <a:pt x="53" y="63"/>
                      </a:lnTo>
                      <a:lnTo>
                        <a:pt x="53" y="54"/>
                      </a:lnTo>
                      <a:lnTo>
                        <a:pt x="71" y="45"/>
                      </a:lnTo>
                      <a:lnTo>
                        <a:pt x="76" y="49"/>
                      </a:lnTo>
                      <a:lnTo>
                        <a:pt x="85" y="49"/>
                      </a:lnTo>
                      <a:lnTo>
                        <a:pt x="80" y="36"/>
                      </a:lnTo>
                      <a:lnTo>
                        <a:pt x="76" y="36"/>
                      </a:lnTo>
                      <a:lnTo>
                        <a:pt x="80" y="32"/>
                      </a:lnTo>
                      <a:lnTo>
                        <a:pt x="80" y="18"/>
                      </a:lnTo>
                      <a:lnTo>
                        <a:pt x="89" y="18"/>
                      </a:lnTo>
                      <a:lnTo>
                        <a:pt x="89" y="14"/>
                      </a:lnTo>
                      <a:lnTo>
                        <a:pt x="71" y="5"/>
                      </a:lnTo>
                      <a:lnTo>
                        <a:pt x="58" y="9"/>
                      </a:lnTo>
                      <a:lnTo>
                        <a:pt x="49" y="18"/>
                      </a:lnTo>
                      <a:lnTo>
                        <a:pt x="35" y="18"/>
                      </a:lnTo>
                      <a:lnTo>
                        <a:pt x="22" y="14"/>
                      </a:lnTo>
                      <a:lnTo>
                        <a:pt x="9" y="9"/>
                      </a:lnTo>
                      <a:lnTo>
                        <a:pt x="9" y="0"/>
                      </a:lnTo>
                      <a:lnTo>
                        <a:pt x="4"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70" name="Freeform 175"/>
                <p:cNvSpPr>
                  <a:spLocks/>
                </p:cNvSpPr>
                <p:nvPr/>
              </p:nvSpPr>
              <p:spPr bwMode="gray">
                <a:xfrm>
                  <a:off x="3058" y="1787"/>
                  <a:ext cx="134" cy="121"/>
                </a:xfrm>
                <a:custGeom>
                  <a:avLst/>
                  <a:gdLst>
                    <a:gd name="T0" fmla="*/ 13 w 134"/>
                    <a:gd name="T1" fmla="*/ 116 h 121"/>
                    <a:gd name="T2" fmla="*/ 22 w 134"/>
                    <a:gd name="T3" fmla="*/ 103 h 121"/>
                    <a:gd name="T4" fmla="*/ 45 w 134"/>
                    <a:gd name="T5" fmla="*/ 112 h 121"/>
                    <a:gd name="T6" fmla="*/ 63 w 134"/>
                    <a:gd name="T7" fmla="*/ 112 h 121"/>
                    <a:gd name="T8" fmla="*/ 67 w 134"/>
                    <a:gd name="T9" fmla="*/ 116 h 121"/>
                    <a:gd name="T10" fmla="*/ 76 w 134"/>
                    <a:gd name="T11" fmla="*/ 112 h 121"/>
                    <a:gd name="T12" fmla="*/ 85 w 134"/>
                    <a:gd name="T13" fmla="*/ 112 h 121"/>
                    <a:gd name="T14" fmla="*/ 98 w 134"/>
                    <a:gd name="T15" fmla="*/ 116 h 121"/>
                    <a:gd name="T16" fmla="*/ 107 w 134"/>
                    <a:gd name="T17" fmla="*/ 116 h 121"/>
                    <a:gd name="T18" fmla="*/ 112 w 134"/>
                    <a:gd name="T19" fmla="*/ 99 h 121"/>
                    <a:gd name="T20" fmla="*/ 121 w 134"/>
                    <a:gd name="T21" fmla="*/ 94 h 121"/>
                    <a:gd name="T22" fmla="*/ 121 w 134"/>
                    <a:gd name="T23" fmla="*/ 76 h 121"/>
                    <a:gd name="T24" fmla="*/ 125 w 134"/>
                    <a:gd name="T25" fmla="*/ 81 h 121"/>
                    <a:gd name="T26" fmla="*/ 134 w 134"/>
                    <a:gd name="T27" fmla="*/ 72 h 121"/>
                    <a:gd name="T28" fmla="*/ 125 w 134"/>
                    <a:gd name="T29" fmla="*/ 63 h 121"/>
                    <a:gd name="T30" fmla="*/ 116 w 134"/>
                    <a:gd name="T31" fmla="*/ 54 h 121"/>
                    <a:gd name="T32" fmla="*/ 112 w 134"/>
                    <a:gd name="T33" fmla="*/ 45 h 121"/>
                    <a:gd name="T34" fmla="*/ 112 w 134"/>
                    <a:gd name="T35" fmla="*/ 31 h 121"/>
                    <a:gd name="T36" fmla="*/ 98 w 134"/>
                    <a:gd name="T37" fmla="*/ 9 h 121"/>
                    <a:gd name="T38" fmla="*/ 85 w 134"/>
                    <a:gd name="T39" fmla="*/ 5 h 121"/>
                    <a:gd name="T40" fmla="*/ 76 w 134"/>
                    <a:gd name="T41" fmla="*/ 0 h 121"/>
                    <a:gd name="T42" fmla="*/ 67 w 134"/>
                    <a:gd name="T43" fmla="*/ 0 h 121"/>
                    <a:gd name="T44" fmla="*/ 63 w 134"/>
                    <a:gd name="T45" fmla="*/ 9 h 121"/>
                    <a:gd name="T46" fmla="*/ 45 w 134"/>
                    <a:gd name="T47" fmla="*/ 18 h 121"/>
                    <a:gd name="T48" fmla="*/ 45 w 134"/>
                    <a:gd name="T49" fmla="*/ 23 h 121"/>
                    <a:gd name="T50" fmla="*/ 45 w 134"/>
                    <a:gd name="T51" fmla="*/ 27 h 121"/>
                    <a:gd name="T52" fmla="*/ 40 w 134"/>
                    <a:gd name="T53" fmla="*/ 31 h 121"/>
                    <a:gd name="T54" fmla="*/ 31 w 134"/>
                    <a:gd name="T55" fmla="*/ 45 h 121"/>
                    <a:gd name="T56" fmla="*/ 27 w 134"/>
                    <a:gd name="T57" fmla="*/ 49 h 121"/>
                    <a:gd name="T58" fmla="*/ 13 w 134"/>
                    <a:gd name="T59" fmla="*/ 49 h 121"/>
                    <a:gd name="T60" fmla="*/ 9 w 134"/>
                    <a:gd name="T61" fmla="*/ 72 h 121"/>
                    <a:gd name="T62" fmla="*/ 13 w 134"/>
                    <a:gd name="T63" fmla="*/ 90 h 121"/>
                    <a:gd name="T64" fmla="*/ 5 w 134"/>
                    <a:gd name="T65" fmla="*/ 10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121">
                      <a:moveTo>
                        <a:pt x="5" y="112"/>
                      </a:moveTo>
                      <a:lnTo>
                        <a:pt x="13" y="116"/>
                      </a:lnTo>
                      <a:lnTo>
                        <a:pt x="18" y="107"/>
                      </a:lnTo>
                      <a:lnTo>
                        <a:pt x="22" y="103"/>
                      </a:lnTo>
                      <a:lnTo>
                        <a:pt x="36" y="107"/>
                      </a:lnTo>
                      <a:lnTo>
                        <a:pt x="45" y="112"/>
                      </a:lnTo>
                      <a:lnTo>
                        <a:pt x="58" y="107"/>
                      </a:lnTo>
                      <a:lnTo>
                        <a:pt x="63" y="112"/>
                      </a:lnTo>
                      <a:lnTo>
                        <a:pt x="67" y="121"/>
                      </a:lnTo>
                      <a:lnTo>
                        <a:pt x="67" y="116"/>
                      </a:lnTo>
                      <a:lnTo>
                        <a:pt x="76" y="116"/>
                      </a:lnTo>
                      <a:lnTo>
                        <a:pt x="76" y="112"/>
                      </a:lnTo>
                      <a:lnTo>
                        <a:pt x="80" y="116"/>
                      </a:lnTo>
                      <a:lnTo>
                        <a:pt x="85" y="112"/>
                      </a:lnTo>
                      <a:lnTo>
                        <a:pt x="89" y="121"/>
                      </a:lnTo>
                      <a:lnTo>
                        <a:pt x="98" y="116"/>
                      </a:lnTo>
                      <a:lnTo>
                        <a:pt x="107" y="121"/>
                      </a:lnTo>
                      <a:lnTo>
                        <a:pt x="107" y="116"/>
                      </a:lnTo>
                      <a:lnTo>
                        <a:pt x="107" y="112"/>
                      </a:lnTo>
                      <a:lnTo>
                        <a:pt x="112" y="99"/>
                      </a:lnTo>
                      <a:lnTo>
                        <a:pt x="121" y="103"/>
                      </a:lnTo>
                      <a:lnTo>
                        <a:pt x="121" y="94"/>
                      </a:lnTo>
                      <a:lnTo>
                        <a:pt x="116" y="81"/>
                      </a:lnTo>
                      <a:lnTo>
                        <a:pt x="121" y="76"/>
                      </a:lnTo>
                      <a:lnTo>
                        <a:pt x="125" y="81"/>
                      </a:lnTo>
                      <a:lnTo>
                        <a:pt x="125" y="81"/>
                      </a:lnTo>
                      <a:lnTo>
                        <a:pt x="130" y="76"/>
                      </a:lnTo>
                      <a:lnTo>
                        <a:pt x="134" y="72"/>
                      </a:lnTo>
                      <a:lnTo>
                        <a:pt x="130" y="72"/>
                      </a:lnTo>
                      <a:lnTo>
                        <a:pt x="125" y="63"/>
                      </a:lnTo>
                      <a:lnTo>
                        <a:pt x="116" y="67"/>
                      </a:lnTo>
                      <a:lnTo>
                        <a:pt x="116" y="54"/>
                      </a:lnTo>
                      <a:lnTo>
                        <a:pt x="112" y="49"/>
                      </a:lnTo>
                      <a:lnTo>
                        <a:pt x="112" y="45"/>
                      </a:lnTo>
                      <a:lnTo>
                        <a:pt x="112" y="36"/>
                      </a:lnTo>
                      <a:lnTo>
                        <a:pt x="112" y="31"/>
                      </a:lnTo>
                      <a:lnTo>
                        <a:pt x="107" y="18"/>
                      </a:lnTo>
                      <a:lnTo>
                        <a:pt x="98" y="9"/>
                      </a:lnTo>
                      <a:lnTo>
                        <a:pt x="89" y="14"/>
                      </a:lnTo>
                      <a:lnTo>
                        <a:pt x="85" y="5"/>
                      </a:lnTo>
                      <a:lnTo>
                        <a:pt x="76" y="5"/>
                      </a:lnTo>
                      <a:lnTo>
                        <a:pt x="76" y="0"/>
                      </a:lnTo>
                      <a:lnTo>
                        <a:pt x="72" y="0"/>
                      </a:lnTo>
                      <a:lnTo>
                        <a:pt x="67" y="0"/>
                      </a:lnTo>
                      <a:lnTo>
                        <a:pt x="67" y="0"/>
                      </a:lnTo>
                      <a:lnTo>
                        <a:pt x="63" y="9"/>
                      </a:lnTo>
                      <a:lnTo>
                        <a:pt x="58" y="14"/>
                      </a:lnTo>
                      <a:lnTo>
                        <a:pt x="45" y="18"/>
                      </a:lnTo>
                      <a:lnTo>
                        <a:pt x="45" y="23"/>
                      </a:lnTo>
                      <a:lnTo>
                        <a:pt x="45" y="23"/>
                      </a:lnTo>
                      <a:lnTo>
                        <a:pt x="49" y="27"/>
                      </a:lnTo>
                      <a:lnTo>
                        <a:pt x="45" y="27"/>
                      </a:lnTo>
                      <a:lnTo>
                        <a:pt x="45" y="27"/>
                      </a:lnTo>
                      <a:lnTo>
                        <a:pt x="40" y="31"/>
                      </a:lnTo>
                      <a:lnTo>
                        <a:pt x="36" y="40"/>
                      </a:lnTo>
                      <a:lnTo>
                        <a:pt x="31" y="45"/>
                      </a:lnTo>
                      <a:lnTo>
                        <a:pt x="31" y="54"/>
                      </a:lnTo>
                      <a:lnTo>
                        <a:pt x="27" y="49"/>
                      </a:lnTo>
                      <a:lnTo>
                        <a:pt x="22" y="54"/>
                      </a:lnTo>
                      <a:lnTo>
                        <a:pt x="13" y="49"/>
                      </a:lnTo>
                      <a:lnTo>
                        <a:pt x="5" y="58"/>
                      </a:lnTo>
                      <a:lnTo>
                        <a:pt x="9" y="72"/>
                      </a:lnTo>
                      <a:lnTo>
                        <a:pt x="13" y="81"/>
                      </a:lnTo>
                      <a:lnTo>
                        <a:pt x="13" y="90"/>
                      </a:lnTo>
                      <a:lnTo>
                        <a:pt x="0" y="94"/>
                      </a:lnTo>
                      <a:lnTo>
                        <a:pt x="5" y="103"/>
                      </a:lnTo>
                      <a:lnTo>
                        <a:pt x="5" y="11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71" name="Freeform 176"/>
                <p:cNvSpPr>
                  <a:spLocks noEditPoints="1"/>
                </p:cNvSpPr>
                <p:nvPr/>
              </p:nvSpPr>
              <p:spPr bwMode="gray">
                <a:xfrm>
                  <a:off x="2915" y="2011"/>
                  <a:ext cx="85" cy="80"/>
                </a:xfrm>
                <a:custGeom>
                  <a:avLst/>
                  <a:gdLst>
                    <a:gd name="T0" fmla="*/ 0 w 85"/>
                    <a:gd name="T1" fmla="*/ 22 h 80"/>
                    <a:gd name="T2" fmla="*/ 9 w 85"/>
                    <a:gd name="T3" fmla="*/ 35 h 80"/>
                    <a:gd name="T4" fmla="*/ 22 w 85"/>
                    <a:gd name="T5" fmla="*/ 31 h 80"/>
                    <a:gd name="T6" fmla="*/ 27 w 85"/>
                    <a:gd name="T7" fmla="*/ 44 h 80"/>
                    <a:gd name="T8" fmla="*/ 22 w 85"/>
                    <a:gd name="T9" fmla="*/ 53 h 80"/>
                    <a:gd name="T10" fmla="*/ 36 w 85"/>
                    <a:gd name="T11" fmla="*/ 62 h 80"/>
                    <a:gd name="T12" fmla="*/ 45 w 85"/>
                    <a:gd name="T13" fmla="*/ 67 h 80"/>
                    <a:gd name="T14" fmla="*/ 45 w 85"/>
                    <a:gd name="T15" fmla="*/ 62 h 80"/>
                    <a:gd name="T16" fmla="*/ 54 w 85"/>
                    <a:gd name="T17" fmla="*/ 67 h 80"/>
                    <a:gd name="T18" fmla="*/ 63 w 85"/>
                    <a:gd name="T19" fmla="*/ 71 h 80"/>
                    <a:gd name="T20" fmla="*/ 58 w 85"/>
                    <a:gd name="T21" fmla="*/ 62 h 80"/>
                    <a:gd name="T22" fmla="*/ 54 w 85"/>
                    <a:gd name="T23" fmla="*/ 62 h 80"/>
                    <a:gd name="T24" fmla="*/ 40 w 85"/>
                    <a:gd name="T25" fmla="*/ 44 h 80"/>
                    <a:gd name="T26" fmla="*/ 31 w 85"/>
                    <a:gd name="T27" fmla="*/ 35 h 80"/>
                    <a:gd name="T28" fmla="*/ 36 w 85"/>
                    <a:gd name="T29" fmla="*/ 26 h 80"/>
                    <a:gd name="T30" fmla="*/ 45 w 85"/>
                    <a:gd name="T31" fmla="*/ 26 h 80"/>
                    <a:gd name="T32" fmla="*/ 49 w 85"/>
                    <a:gd name="T33" fmla="*/ 26 h 80"/>
                    <a:gd name="T34" fmla="*/ 63 w 85"/>
                    <a:gd name="T35" fmla="*/ 31 h 80"/>
                    <a:gd name="T36" fmla="*/ 72 w 85"/>
                    <a:gd name="T37" fmla="*/ 26 h 80"/>
                    <a:gd name="T38" fmla="*/ 76 w 85"/>
                    <a:gd name="T39" fmla="*/ 31 h 80"/>
                    <a:gd name="T40" fmla="*/ 81 w 85"/>
                    <a:gd name="T41" fmla="*/ 26 h 80"/>
                    <a:gd name="T42" fmla="*/ 85 w 85"/>
                    <a:gd name="T43" fmla="*/ 22 h 80"/>
                    <a:gd name="T44" fmla="*/ 81 w 85"/>
                    <a:gd name="T45" fmla="*/ 22 h 80"/>
                    <a:gd name="T46" fmla="*/ 81 w 85"/>
                    <a:gd name="T47" fmla="*/ 18 h 80"/>
                    <a:gd name="T48" fmla="*/ 76 w 85"/>
                    <a:gd name="T49" fmla="*/ 13 h 80"/>
                    <a:gd name="T50" fmla="*/ 49 w 85"/>
                    <a:gd name="T51" fmla="*/ 13 h 80"/>
                    <a:gd name="T52" fmla="*/ 45 w 85"/>
                    <a:gd name="T53" fmla="*/ 4 h 80"/>
                    <a:gd name="T54" fmla="*/ 40 w 85"/>
                    <a:gd name="T55" fmla="*/ 0 h 80"/>
                    <a:gd name="T56" fmla="*/ 40 w 85"/>
                    <a:gd name="T57" fmla="*/ 4 h 80"/>
                    <a:gd name="T58" fmla="*/ 36 w 85"/>
                    <a:gd name="T59" fmla="*/ 9 h 80"/>
                    <a:gd name="T60" fmla="*/ 31 w 85"/>
                    <a:gd name="T61" fmla="*/ 9 h 80"/>
                    <a:gd name="T62" fmla="*/ 31 w 85"/>
                    <a:gd name="T63" fmla="*/ 13 h 80"/>
                    <a:gd name="T64" fmla="*/ 27 w 85"/>
                    <a:gd name="T65" fmla="*/ 22 h 80"/>
                    <a:gd name="T66" fmla="*/ 22 w 85"/>
                    <a:gd name="T67" fmla="*/ 22 h 80"/>
                    <a:gd name="T68" fmla="*/ 14 w 85"/>
                    <a:gd name="T69" fmla="*/ 22 h 80"/>
                    <a:gd name="T70" fmla="*/ 5 w 85"/>
                    <a:gd name="T71" fmla="*/ 22 h 80"/>
                    <a:gd name="T72" fmla="*/ 63 w 85"/>
                    <a:gd name="T73" fmla="*/ 71 h 80"/>
                    <a:gd name="T74" fmla="*/ 72 w 85"/>
                    <a:gd name="T75" fmla="*/ 80 h 80"/>
                    <a:gd name="T76" fmla="*/ 76 w 85"/>
                    <a:gd name="T77" fmla="*/ 76 h 80"/>
                    <a:gd name="T78" fmla="*/ 63 w 85"/>
                    <a:gd name="T79"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80">
                      <a:moveTo>
                        <a:pt x="5" y="22"/>
                      </a:moveTo>
                      <a:lnTo>
                        <a:pt x="0" y="22"/>
                      </a:lnTo>
                      <a:lnTo>
                        <a:pt x="5" y="35"/>
                      </a:lnTo>
                      <a:lnTo>
                        <a:pt x="9" y="35"/>
                      </a:lnTo>
                      <a:lnTo>
                        <a:pt x="14" y="26"/>
                      </a:lnTo>
                      <a:lnTo>
                        <a:pt x="22" y="31"/>
                      </a:lnTo>
                      <a:lnTo>
                        <a:pt x="18" y="35"/>
                      </a:lnTo>
                      <a:lnTo>
                        <a:pt x="27" y="44"/>
                      </a:lnTo>
                      <a:lnTo>
                        <a:pt x="22" y="44"/>
                      </a:lnTo>
                      <a:lnTo>
                        <a:pt x="22" y="53"/>
                      </a:lnTo>
                      <a:lnTo>
                        <a:pt x="31" y="49"/>
                      </a:lnTo>
                      <a:lnTo>
                        <a:pt x="36" y="62"/>
                      </a:lnTo>
                      <a:lnTo>
                        <a:pt x="45" y="62"/>
                      </a:lnTo>
                      <a:lnTo>
                        <a:pt x="45" y="67"/>
                      </a:lnTo>
                      <a:lnTo>
                        <a:pt x="54" y="67"/>
                      </a:lnTo>
                      <a:lnTo>
                        <a:pt x="45" y="62"/>
                      </a:lnTo>
                      <a:lnTo>
                        <a:pt x="49" y="62"/>
                      </a:lnTo>
                      <a:lnTo>
                        <a:pt x="54" y="67"/>
                      </a:lnTo>
                      <a:lnTo>
                        <a:pt x="54" y="71"/>
                      </a:lnTo>
                      <a:lnTo>
                        <a:pt x="63" y="71"/>
                      </a:lnTo>
                      <a:lnTo>
                        <a:pt x="63" y="71"/>
                      </a:lnTo>
                      <a:lnTo>
                        <a:pt x="58" y="62"/>
                      </a:lnTo>
                      <a:lnTo>
                        <a:pt x="58" y="62"/>
                      </a:lnTo>
                      <a:lnTo>
                        <a:pt x="54" y="62"/>
                      </a:lnTo>
                      <a:lnTo>
                        <a:pt x="40" y="49"/>
                      </a:lnTo>
                      <a:lnTo>
                        <a:pt x="40" y="44"/>
                      </a:lnTo>
                      <a:lnTo>
                        <a:pt x="36" y="35"/>
                      </a:lnTo>
                      <a:lnTo>
                        <a:pt x="31" y="35"/>
                      </a:lnTo>
                      <a:lnTo>
                        <a:pt x="36" y="26"/>
                      </a:lnTo>
                      <a:lnTo>
                        <a:pt x="36" y="26"/>
                      </a:lnTo>
                      <a:lnTo>
                        <a:pt x="40" y="31"/>
                      </a:lnTo>
                      <a:lnTo>
                        <a:pt x="45" y="26"/>
                      </a:lnTo>
                      <a:lnTo>
                        <a:pt x="49" y="26"/>
                      </a:lnTo>
                      <a:lnTo>
                        <a:pt x="49" y="26"/>
                      </a:lnTo>
                      <a:lnTo>
                        <a:pt x="54" y="26"/>
                      </a:lnTo>
                      <a:lnTo>
                        <a:pt x="63" y="31"/>
                      </a:lnTo>
                      <a:lnTo>
                        <a:pt x="67" y="26"/>
                      </a:lnTo>
                      <a:lnTo>
                        <a:pt x="72" y="26"/>
                      </a:lnTo>
                      <a:lnTo>
                        <a:pt x="76" y="31"/>
                      </a:lnTo>
                      <a:lnTo>
                        <a:pt x="76" y="31"/>
                      </a:lnTo>
                      <a:lnTo>
                        <a:pt x="81" y="31"/>
                      </a:lnTo>
                      <a:lnTo>
                        <a:pt x="81" y="26"/>
                      </a:lnTo>
                      <a:lnTo>
                        <a:pt x="85" y="26"/>
                      </a:lnTo>
                      <a:lnTo>
                        <a:pt x="85" y="22"/>
                      </a:lnTo>
                      <a:lnTo>
                        <a:pt x="81" y="22"/>
                      </a:lnTo>
                      <a:lnTo>
                        <a:pt x="81" y="22"/>
                      </a:lnTo>
                      <a:lnTo>
                        <a:pt x="81" y="18"/>
                      </a:lnTo>
                      <a:lnTo>
                        <a:pt x="81" y="18"/>
                      </a:lnTo>
                      <a:lnTo>
                        <a:pt x="81" y="13"/>
                      </a:lnTo>
                      <a:lnTo>
                        <a:pt x="76" y="13"/>
                      </a:lnTo>
                      <a:lnTo>
                        <a:pt x="67" y="18"/>
                      </a:lnTo>
                      <a:lnTo>
                        <a:pt x="49" y="13"/>
                      </a:lnTo>
                      <a:lnTo>
                        <a:pt x="45" y="4"/>
                      </a:lnTo>
                      <a:lnTo>
                        <a:pt x="45" y="4"/>
                      </a:lnTo>
                      <a:lnTo>
                        <a:pt x="45" y="4"/>
                      </a:lnTo>
                      <a:lnTo>
                        <a:pt x="40" y="0"/>
                      </a:lnTo>
                      <a:lnTo>
                        <a:pt x="40" y="4"/>
                      </a:lnTo>
                      <a:lnTo>
                        <a:pt x="40" y="4"/>
                      </a:lnTo>
                      <a:lnTo>
                        <a:pt x="36" y="4"/>
                      </a:lnTo>
                      <a:lnTo>
                        <a:pt x="36" y="9"/>
                      </a:lnTo>
                      <a:lnTo>
                        <a:pt x="31" y="9"/>
                      </a:lnTo>
                      <a:lnTo>
                        <a:pt x="31" y="9"/>
                      </a:lnTo>
                      <a:lnTo>
                        <a:pt x="31" y="13"/>
                      </a:lnTo>
                      <a:lnTo>
                        <a:pt x="31" y="13"/>
                      </a:lnTo>
                      <a:lnTo>
                        <a:pt x="27" y="18"/>
                      </a:lnTo>
                      <a:lnTo>
                        <a:pt x="27" y="22"/>
                      </a:lnTo>
                      <a:lnTo>
                        <a:pt x="27" y="22"/>
                      </a:lnTo>
                      <a:lnTo>
                        <a:pt x="22" y="22"/>
                      </a:lnTo>
                      <a:lnTo>
                        <a:pt x="18" y="18"/>
                      </a:lnTo>
                      <a:lnTo>
                        <a:pt x="14" y="22"/>
                      </a:lnTo>
                      <a:lnTo>
                        <a:pt x="14" y="22"/>
                      </a:lnTo>
                      <a:lnTo>
                        <a:pt x="5" y="22"/>
                      </a:lnTo>
                      <a:lnTo>
                        <a:pt x="5" y="22"/>
                      </a:lnTo>
                      <a:close/>
                      <a:moveTo>
                        <a:pt x="63" y="71"/>
                      </a:moveTo>
                      <a:lnTo>
                        <a:pt x="72" y="80"/>
                      </a:lnTo>
                      <a:lnTo>
                        <a:pt x="72" y="80"/>
                      </a:lnTo>
                      <a:lnTo>
                        <a:pt x="76" y="80"/>
                      </a:lnTo>
                      <a:lnTo>
                        <a:pt x="76" y="76"/>
                      </a:lnTo>
                      <a:lnTo>
                        <a:pt x="67" y="71"/>
                      </a:lnTo>
                      <a:lnTo>
                        <a:pt x="63" y="7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72" name="Freeform 177"/>
                <p:cNvSpPr>
                  <a:spLocks/>
                </p:cNvSpPr>
                <p:nvPr/>
              </p:nvSpPr>
              <p:spPr bwMode="gray">
                <a:xfrm>
                  <a:off x="3188" y="2221"/>
                  <a:ext cx="35" cy="18"/>
                </a:xfrm>
                <a:custGeom>
                  <a:avLst/>
                  <a:gdLst>
                    <a:gd name="T0" fmla="*/ 9 w 35"/>
                    <a:gd name="T1" fmla="*/ 9 h 18"/>
                    <a:gd name="T2" fmla="*/ 9 w 35"/>
                    <a:gd name="T3" fmla="*/ 9 h 18"/>
                    <a:gd name="T4" fmla="*/ 0 w 35"/>
                    <a:gd name="T5" fmla="*/ 13 h 18"/>
                    <a:gd name="T6" fmla="*/ 4 w 35"/>
                    <a:gd name="T7" fmla="*/ 18 h 18"/>
                    <a:gd name="T8" fmla="*/ 13 w 35"/>
                    <a:gd name="T9" fmla="*/ 18 h 18"/>
                    <a:gd name="T10" fmla="*/ 22 w 35"/>
                    <a:gd name="T11" fmla="*/ 13 h 18"/>
                    <a:gd name="T12" fmla="*/ 22 w 35"/>
                    <a:gd name="T13" fmla="*/ 9 h 18"/>
                    <a:gd name="T14" fmla="*/ 35 w 35"/>
                    <a:gd name="T15" fmla="*/ 0 h 18"/>
                    <a:gd name="T16" fmla="*/ 31 w 35"/>
                    <a:gd name="T17" fmla="*/ 0 h 18"/>
                    <a:gd name="T18" fmla="*/ 26 w 35"/>
                    <a:gd name="T19" fmla="*/ 0 h 18"/>
                    <a:gd name="T20" fmla="*/ 17 w 35"/>
                    <a:gd name="T21" fmla="*/ 9 h 18"/>
                    <a:gd name="T22" fmla="*/ 9 w 35"/>
                    <a:gd name="T2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18">
                      <a:moveTo>
                        <a:pt x="9" y="9"/>
                      </a:moveTo>
                      <a:lnTo>
                        <a:pt x="9" y="9"/>
                      </a:lnTo>
                      <a:lnTo>
                        <a:pt x="0" y="13"/>
                      </a:lnTo>
                      <a:lnTo>
                        <a:pt x="4" y="18"/>
                      </a:lnTo>
                      <a:lnTo>
                        <a:pt x="13" y="18"/>
                      </a:lnTo>
                      <a:lnTo>
                        <a:pt x="22" y="13"/>
                      </a:lnTo>
                      <a:lnTo>
                        <a:pt x="22" y="9"/>
                      </a:lnTo>
                      <a:lnTo>
                        <a:pt x="35" y="0"/>
                      </a:lnTo>
                      <a:lnTo>
                        <a:pt x="31" y="0"/>
                      </a:lnTo>
                      <a:lnTo>
                        <a:pt x="26" y="0"/>
                      </a:lnTo>
                      <a:lnTo>
                        <a:pt x="17" y="9"/>
                      </a:lnTo>
                      <a:lnTo>
                        <a:pt x="9"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73" name="Freeform 178"/>
                <p:cNvSpPr>
                  <a:spLocks/>
                </p:cNvSpPr>
                <p:nvPr/>
              </p:nvSpPr>
              <p:spPr bwMode="gray">
                <a:xfrm>
                  <a:off x="2897" y="1917"/>
                  <a:ext cx="94" cy="53"/>
                </a:xfrm>
                <a:custGeom>
                  <a:avLst/>
                  <a:gdLst>
                    <a:gd name="T0" fmla="*/ 40 w 94"/>
                    <a:gd name="T1" fmla="*/ 0 h 53"/>
                    <a:gd name="T2" fmla="*/ 36 w 94"/>
                    <a:gd name="T3" fmla="*/ 0 h 53"/>
                    <a:gd name="T4" fmla="*/ 32 w 94"/>
                    <a:gd name="T5" fmla="*/ 9 h 53"/>
                    <a:gd name="T6" fmla="*/ 18 w 94"/>
                    <a:gd name="T7" fmla="*/ 9 h 53"/>
                    <a:gd name="T8" fmla="*/ 9 w 94"/>
                    <a:gd name="T9" fmla="*/ 18 h 53"/>
                    <a:gd name="T10" fmla="*/ 5 w 94"/>
                    <a:gd name="T11" fmla="*/ 18 h 53"/>
                    <a:gd name="T12" fmla="*/ 0 w 94"/>
                    <a:gd name="T13" fmla="*/ 18 h 53"/>
                    <a:gd name="T14" fmla="*/ 5 w 94"/>
                    <a:gd name="T15" fmla="*/ 27 h 53"/>
                    <a:gd name="T16" fmla="*/ 9 w 94"/>
                    <a:gd name="T17" fmla="*/ 36 h 53"/>
                    <a:gd name="T18" fmla="*/ 18 w 94"/>
                    <a:gd name="T19" fmla="*/ 36 h 53"/>
                    <a:gd name="T20" fmla="*/ 27 w 94"/>
                    <a:gd name="T21" fmla="*/ 44 h 53"/>
                    <a:gd name="T22" fmla="*/ 27 w 94"/>
                    <a:gd name="T23" fmla="*/ 49 h 53"/>
                    <a:gd name="T24" fmla="*/ 36 w 94"/>
                    <a:gd name="T25" fmla="*/ 49 h 53"/>
                    <a:gd name="T26" fmla="*/ 45 w 94"/>
                    <a:gd name="T27" fmla="*/ 40 h 53"/>
                    <a:gd name="T28" fmla="*/ 67 w 94"/>
                    <a:gd name="T29" fmla="*/ 44 h 53"/>
                    <a:gd name="T30" fmla="*/ 67 w 94"/>
                    <a:gd name="T31" fmla="*/ 53 h 53"/>
                    <a:gd name="T32" fmla="*/ 72 w 94"/>
                    <a:gd name="T33" fmla="*/ 49 h 53"/>
                    <a:gd name="T34" fmla="*/ 81 w 94"/>
                    <a:gd name="T35" fmla="*/ 49 h 53"/>
                    <a:gd name="T36" fmla="*/ 85 w 94"/>
                    <a:gd name="T37" fmla="*/ 44 h 53"/>
                    <a:gd name="T38" fmla="*/ 90 w 94"/>
                    <a:gd name="T39" fmla="*/ 36 h 53"/>
                    <a:gd name="T40" fmla="*/ 94 w 94"/>
                    <a:gd name="T41" fmla="*/ 31 h 53"/>
                    <a:gd name="T42" fmla="*/ 94 w 94"/>
                    <a:gd name="T43" fmla="*/ 22 h 53"/>
                    <a:gd name="T44" fmla="*/ 85 w 94"/>
                    <a:gd name="T45" fmla="*/ 22 h 53"/>
                    <a:gd name="T46" fmla="*/ 81 w 94"/>
                    <a:gd name="T47" fmla="*/ 13 h 53"/>
                    <a:gd name="T48" fmla="*/ 72 w 94"/>
                    <a:gd name="T49" fmla="*/ 9 h 53"/>
                    <a:gd name="T50" fmla="*/ 67 w 94"/>
                    <a:gd name="T51" fmla="*/ 18 h 53"/>
                    <a:gd name="T52" fmla="*/ 58 w 94"/>
                    <a:gd name="T53" fmla="*/ 13 h 53"/>
                    <a:gd name="T54" fmla="*/ 63 w 94"/>
                    <a:gd name="T55" fmla="*/ 9 h 53"/>
                    <a:gd name="T56" fmla="*/ 54 w 94"/>
                    <a:gd name="T57" fmla="*/ 9 h 53"/>
                    <a:gd name="T58" fmla="*/ 49 w 94"/>
                    <a:gd name="T59" fmla="*/ 0 h 53"/>
                    <a:gd name="T60" fmla="*/ 45 w 94"/>
                    <a:gd name="T61" fmla="*/ 4 h 53"/>
                    <a:gd name="T62" fmla="*/ 40 w 94"/>
                    <a:gd name="T6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4" h="53">
                      <a:moveTo>
                        <a:pt x="40" y="0"/>
                      </a:moveTo>
                      <a:lnTo>
                        <a:pt x="36" y="0"/>
                      </a:lnTo>
                      <a:lnTo>
                        <a:pt x="32" y="9"/>
                      </a:lnTo>
                      <a:lnTo>
                        <a:pt x="18" y="9"/>
                      </a:lnTo>
                      <a:lnTo>
                        <a:pt x="9" y="18"/>
                      </a:lnTo>
                      <a:lnTo>
                        <a:pt x="5" y="18"/>
                      </a:lnTo>
                      <a:lnTo>
                        <a:pt x="0" y="18"/>
                      </a:lnTo>
                      <a:lnTo>
                        <a:pt x="5" y="27"/>
                      </a:lnTo>
                      <a:lnTo>
                        <a:pt x="9" y="36"/>
                      </a:lnTo>
                      <a:lnTo>
                        <a:pt x="18" y="36"/>
                      </a:lnTo>
                      <a:lnTo>
                        <a:pt x="27" y="44"/>
                      </a:lnTo>
                      <a:lnTo>
                        <a:pt x="27" y="49"/>
                      </a:lnTo>
                      <a:lnTo>
                        <a:pt x="36" y="49"/>
                      </a:lnTo>
                      <a:lnTo>
                        <a:pt x="45" y="40"/>
                      </a:lnTo>
                      <a:lnTo>
                        <a:pt x="67" y="44"/>
                      </a:lnTo>
                      <a:lnTo>
                        <a:pt x="67" y="53"/>
                      </a:lnTo>
                      <a:lnTo>
                        <a:pt x="72" y="49"/>
                      </a:lnTo>
                      <a:lnTo>
                        <a:pt x="81" y="49"/>
                      </a:lnTo>
                      <a:lnTo>
                        <a:pt x="85" y="44"/>
                      </a:lnTo>
                      <a:lnTo>
                        <a:pt x="90" y="36"/>
                      </a:lnTo>
                      <a:lnTo>
                        <a:pt x="94" y="31"/>
                      </a:lnTo>
                      <a:lnTo>
                        <a:pt x="94" y="22"/>
                      </a:lnTo>
                      <a:lnTo>
                        <a:pt x="85" y="22"/>
                      </a:lnTo>
                      <a:lnTo>
                        <a:pt x="81" y="13"/>
                      </a:lnTo>
                      <a:lnTo>
                        <a:pt x="72" y="9"/>
                      </a:lnTo>
                      <a:lnTo>
                        <a:pt x="67" y="18"/>
                      </a:lnTo>
                      <a:lnTo>
                        <a:pt x="58" y="13"/>
                      </a:lnTo>
                      <a:lnTo>
                        <a:pt x="63" y="9"/>
                      </a:lnTo>
                      <a:lnTo>
                        <a:pt x="54" y="9"/>
                      </a:lnTo>
                      <a:lnTo>
                        <a:pt x="49" y="0"/>
                      </a:lnTo>
                      <a:lnTo>
                        <a:pt x="45" y="4"/>
                      </a:lnTo>
                      <a:lnTo>
                        <a:pt x="40"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74" name="Freeform 179"/>
                <p:cNvSpPr>
                  <a:spLocks noEditPoints="1"/>
                </p:cNvSpPr>
                <p:nvPr/>
              </p:nvSpPr>
              <p:spPr bwMode="gray">
                <a:xfrm>
                  <a:off x="2629" y="1604"/>
                  <a:ext cx="313" cy="223"/>
                </a:xfrm>
                <a:custGeom>
                  <a:avLst/>
                  <a:gdLst>
                    <a:gd name="T0" fmla="*/ 0 w 313"/>
                    <a:gd name="T1" fmla="*/ 9 h 223"/>
                    <a:gd name="T2" fmla="*/ 5 w 313"/>
                    <a:gd name="T3" fmla="*/ 18 h 223"/>
                    <a:gd name="T4" fmla="*/ 5 w 313"/>
                    <a:gd name="T5" fmla="*/ 27 h 223"/>
                    <a:gd name="T6" fmla="*/ 9 w 313"/>
                    <a:gd name="T7" fmla="*/ 31 h 223"/>
                    <a:gd name="T8" fmla="*/ 9 w 313"/>
                    <a:gd name="T9" fmla="*/ 18 h 223"/>
                    <a:gd name="T10" fmla="*/ 5 w 313"/>
                    <a:gd name="T11" fmla="*/ 13 h 223"/>
                    <a:gd name="T12" fmla="*/ 14 w 313"/>
                    <a:gd name="T13" fmla="*/ 0 h 223"/>
                    <a:gd name="T14" fmla="*/ 0 w 313"/>
                    <a:gd name="T15" fmla="*/ 4 h 223"/>
                    <a:gd name="T16" fmla="*/ 241 w 313"/>
                    <a:gd name="T17" fmla="*/ 214 h 223"/>
                    <a:gd name="T18" fmla="*/ 237 w 313"/>
                    <a:gd name="T19" fmla="*/ 206 h 223"/>
                    <a:gd name="T20" fmla="*/ 237 w 313"/>
                    <a:gd name="T21" fmla="*/ 192 h 223"/>
                    <a:gd name="T22" fmla="*/ 241 w 313"/>
                    <a:gd name="T23" fmla="*/ 188 h 223"/>
                    <a:gd name="T24" fmla="*/ 246 w 313"/>
                    <a:gd name="T25" fmla="*/ 183 h 223"/>
                    <a:gd name="T26" fmla="*/ 250 w 313"/>
                    <a:gd name="T27" fmla="*/ 170 h 223"/>
                    <a:gd name="T28" fmla="*/ 246 w 313"/>
                    <a:gd name="T29" fmla="*/ 165 h 223"/>
                    <a:gd name="T30" fmla="*/ 241 w 313"/>
                    <a:gd name="T31" fmla="*/ 156 h 223"/>
                    <a:gd name="T32" fmla="*/ 246 w 313"/>
                    <a:gd name="T33" fmla="*/ 156 h 223"/>
                    <a:gd name="T34" fmla="*/ 246 w 313"/>
                    <a:gd name="T35" fmla="*/ 143 h 223"/>
                    <a:gd name="T36" fmla="*/ 246 w 313"/>
                    <a:gd name="T37" fmla="*/ 134 h 223"/>
                    <a:gd name="T38" fmla="*/ 237 w 313"/>
                    <a:gd name="T39" fmla="*/ 152 h 223"/>
                    <a:gd name="T40" fmla="*/ 219 w 313"/>
                    <a:gd name="T41" fmla="*/ 161 h 223"/>
                    <a:gd name="T42" fmla="*/ 224 w 313"/>
                    <a:gd name="T43" fmla="*/ 165 h 223"/>
                    <a:gd name="T44" fmla="*/ 219 w 313"/>
                    <a:gd name="T45" fmla="*/ 170 h 223"/>
                    <a:gd name="T46" fmla="*/ 224 w 313"/>
                    <a:gd name="T47" fmla="*/ 174 h 223"/>
                    <a:gd name="T48" fmla="*/ 219 w 313"/>
                    <a:gd name="T49" fmla="*/ 183 h 223"/>
                    <a:gd name="T50" fmla="*/ 224 w 313"/>
                    <a:gd name="T51" fmla="*/ 188 h 223"/>
                    <a:gd name="T52" fmla="*/ 219 w 313"/>
                    <a:gd name="T53" fmla="*/ 201 h 223"/>
                    <a:gd name="T54" fmla="*/ 224 w 313"/>
                    <a:gd name="T55" fmla="*/ 206 h 223"/>
                    <a:gd name="T56" fmla="*/ 224 w 313"/>
                    <a:gd name="T57" fmla="*/ 219 h 223"/>
                    <a:gd name="T58" fmla="*/ 241 w 313"/>
                    <a:gd name="T59" fmla="*/ 206 h 223"/>
                    <a:gd name="T60" fmla="*/ 246 w 313"/>
                    <a:gd name="T61" fmla="*/ 210 h 223"/>
                    <a:gd name="T62" fmla="*/ 246 w 313"/>
                    <a:gd name="T63" fmla="*/ 219 h 223"/>
                    <a:gd name="T64" fmla="*/ 246 w 313"/>
                    <a:gd name="T65" fmla="*/ 210 h 223"/>
                    <a:gd name="T66" fmla="*/ 246 w 313"/>
                    <a:gd name="T67" fmla="*/ 201 h 223"/>
                    <a:gd name="T68" fmla="*/ 250 w 313"/>
                    <a:gd name="T69" fmla="*/ 214 h 223"/>
                    <a:gd name="T70" fmla="*/ 259 w 313"/>
                    <a:gd name="T71" fmla="*/ 223 h 223"/>
                    <a:gd name="T72" fmla="*/ 264 w 313"/>
                    <a:gd name="T73" fmla="*/ 219 h 223"/>
                    <a:gd name="T74" fmla="*/ 264 w 313"/>
                    <a:gd name="T75" fmla="*/ 214 h 223"/>
                    <a:gd name="T76" fmla="*/ 250 w 313"/>
                    <a:gd name="T77" fmla="*/ 214 h 223"/>
                    <a:gd name="T78" fmla="*/ 264 w 313"/>
                    <a:gd name="T79" fmla="*/ 192 h 223"/>
                    <a:gd name="T80" fmla="*/ 255 w 313"/>
                    <a:gd name="T81" fmla="*/ 192 h 223"/>
                    <a:gd name="T82" fmla="*/ 255 w 313"/>
                    <a:gd name="T83" fmla="*/ 206 h 223"/>
                    <a:gd name="T84" fmla="*/ 264 w 313"/>
                    <a:gd name="T85" fmla="*/ 210 h 223"/>
                    <a:gd name="T86" fmla="*/ 273 w 313"/>
                    <a:gd name="T87" fmla="*/ 210 h 223"/>
                    <a:gd name="T88" fmla="*/ 273 w 313"/>
                    <a:gd name="T89" fmla="*/ 201 h 223"/>
                    <a:gd name="T90" fmla="*/ 273 w 313"/>
                    <a:gd name="T91" fmla="*/ 197 h 223"/>
                    <a:gd name="T92" fmla="*/ 273 w 313"/>
                    <a:gd name="T93" fmla="*/ 183 h 223"/>
                    <a:gd name="T94" fmla="*/ 264 w 313"/>
                    <a:gd name="T95" fmla="*/ 183 h 223"/>
                    <a:gd name="T96" fmla="*/ 304 w 313"/>
                    <a:gd name="T97" fmla="*/ 210 h 223"/>
                    <a:gd name="T98" fmla="*/ 313 w 313"/>
                    <a:gd name="T99" fmla="*/ 20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3" h="223">
                      <a:moveTo>
                        <a:pt x="0" y="4"/>
                      </a:moveTo>
                      <a:lnTo>
                        <a:pt x="0" y="9"/>
                      </a:lnTo>
                      <a:lnTo>
                        <a:pt x="5" y="13"/>
                      </a:lnTo>
                      <a:lnTo>
                        <a:pt x="5" y="18"/>
                      </a:lnTo>
                      <a:lnTo>
                        <a:pt x="9" y="22"/>
                      </a:lnTo>
                      <a:lnTo>
                        <a:pt x="5" y="27"/>
                      </a:lnTo>
                      <a:lnTo>
                        <a:pt x="9" y="31"/>
                      </a:lnTo>
                      <a:lnTo>
                        <a:pt x="9" y="31"/>
                      </a:lnTo>
                      <a:lnTo>
                        <a:pt x="5" y="27"/>
                      </a:lnTo>
                      <a:lnTo>
                        <a:pt x="9" y="18"/>
                      </a:lnTo>
                      <a:lnTo>
                        <a:pt x="5" y="13"/>
                      </a:lnTo>
                      <a:lnTo>
                        <a:pt x="5" y="13"/>
                      </a:lnTo>
                      <a:lnTo>
                        <a:pt x="5" y="4"/>
                      </a:lnTo>
                      <a:lnTo>
                        <a:pt x="14" y="0"/>
                      </a:lnTo>
                      <a:lnTo>
                        <a:pt x="9" y="0"/>
                      </a:lnTo>
                      <a:lnTo>
                        <a:pt x="0" y="4"/>
                      </a:lnTo>
                      <a:close/>
                      <a:moveTo>
                        <a:pt x="224" y="219"/>
                      </a:moveTo>
                      <a:lnTo>
                        <a:pt x="241" y="214"/>
                      </a:lnTo>
                      <a:lnTo>
                        <a:pt x="237" y="210"/>
                      </a:lnTo>
                      <a:lnTo>
                        <a:pt x="237" y="206"/>
                      </a:lnTo>
                      <a:lnTo>
                        <a:pt x="241" y="197"/>
                      </a:lnTo>
                      <a:lnTo>
                        <a:pt x="237" y="192"/>
                      </a:lnTo>
                      <a:lnTo>
                        <a:pt x="241" y="192"/>
                      </a:lnTo>
                      <a:lnTo>
                        <a:pt x="241" y="188"/>
                      </a:lnTo>
                      <a:lnTo>
                        <a:pt x="241" y="179"/>
                      </a:lnTo>
                      <a:lnTo>
                        <a:pt x="246" y="183"/>
                      </a:lnTo>
                      <a:lnTo>
                        <a:pt x="250" y="174"/>
                      </a:lnTo>
                      <a:lnTo>
                        <a:pt x="250" y="170"/>
                      </a:lnTo>
                      <a:lnTo>
                        <a:pt x="246" y="170"/>
                      </a:lnTo>
                      <a:lnTo>
                        <a:pt x="246" y="165"/>
                      </a:lnTo>
                      <a:lnTo>
                        <a:pt x="241" y="156"/>
                      </a:lnTo>
                      <a:lnTo>
                        <a:pt x="241" y="156"/>
                      </a:lnTo>
                      <a:lnTo>
                        <a:pt x="241" y="152"/>
                      </a:lnTo>
                      <a:lnTo>
                        <a:pt x="246" y="156"/>
                      </a:lnTo>
                      <a:lnTo>
                        <a:pt x="250" y="147"/>
                      </a:lnTo>
                      <a:lnTo>
                        <a:pt x="246" y="143"/>
                      </a:lnTo>
                      <a:lnTo>
                        <a:pt x="246" y="139"/>
                      </a:lnTo>
                      <a:lnTo>
                        <a:pt x="246" y="134"/>
                      </a:lnTo>
                      <a:lnTo>
                        <a:pt x="241" y="134"/>
                      </a:lnTo>
                      <a:lnTo>
                        <a:pt x="237" y="152"/>
                      </a:lnTo>
                      <a:lnTo>
                        <a:pt x="224" y="156"/>
                      </a:lnTo>
                      <a:lnTo>
                        <a:pt x="219" y="161"/>
                      </a:lnTo>
                      <a:lnTo>
                        <a:pt x="219" y="165"/>
                      </a:lnTo>
                      <a:lnTo>
                        <a:pt x="224" y="165"/>
                      </a:lnTo>
                      <a:lnTo>
                        <a:pt x="224" y="170"/>
                      </a:lnTo>
                      <a:lnTo>
                        <a:pt x="219" y="170"/>
                      </a:lnTo>
                      <a:lnTo>
                        <a:pt x="219" y="174"/>
                      </a:lnTo>
                      <a:lnTo>
                        <a:pt x="224" y="174"/>
                      </a:lnTo>
                      <a:lnTo>
                        <a:pt x="219" y="179"/>
                      </a:lnTo>
                      <a:lnTo>
                        <a:pt x="219" y="183"/>
                      </a:lnTo>
                      <a:lnTo>
                        <a:pt x="219" y="183"/>
                      </a:lnTo>
                      <a:lnTo>
                        <a:pt x="224" y="188"/>
                      </a:lnTo>
                      <a:lnTo>
                        <a:pt x="219" y="192"/>
                      </a:lnTo>
                      <a:lnTo>
                        <a:pt x="219" y="201"/>
                      </a:lnTo>
                      <a:lnTo>
                        <a:pt x="224" y="197"/>
                      </a:lnTo>
                      <a:lnTo>
                        <a:pt x="224" y="206"/>
                      </a:lnTo>
                      <a:lnTo>
                        <a:pt x="224" y="214"/>
                      </a:lnTo>
                      <a:lnTo>
                        <a:pt x="224" y="219"/>
                      </a:lnTo>
                      <a:close/>
                      <a:moveTo>
                        <a:pt x="241" y="197"/>
                      </a:moveTo>
                      <a:lnTo>
                        <a:pt x="241" y="206"/>
                      </a:lnTo>
                      <a:lnTo>
                        <a:pt x="241" y="210"/>
                      </a:lnTo>
                      <a:lnTo>
                        <a:pt x="246" y="210"/>
                      </a:lnTo>
                      <a:lnTo>
                        <a:pt x="246" y="219"/>
                      </a:lnTo>
                      <a:lnTo>
                        <a:pt x="246" y="219"/>
                      </a:lnTo>
                      <a:lnTo>
                        <a:pt x="250" y="210"/>
                      </a:lnTo>
                      <a:lnTo>
                        <a:pt x="246" y="210"/>
                      </a:lnTo>
                      <a:lnTo>
                        <a:pt x="246" y="206"/>
                      </a:lnTo>
                      <a:lnTo>
                        <a:pt x="246" y="201"/>
                      </a:lnTo>
                      <a:lnTo>
                        <a:pt x="241" y="197"/>
                      </a:lnTo>
                      <a:close/>
                      <a:moveTo>
                        <a:pt x="250" y="214"/>
                      </a:moveTo>
                      <a:lnTo>
                        <a:pt x="250" y="219"/>
                      </a:lnTo>
                      <a:lnTo>
                        <a:pt x="259" y="223"/>
                      </a:lnTo>
                      <a:lnTo>
                        <a:pt x="264" y="219"/>
                      </a:lnTo>
                      <a:lnTo>
                        <a:pt x="264" y="219"/>
                      </a:lnTo>
                      <a:lnTo>
                        <a:pt x="268" y="219"/>
                      </a:lnTo>
                      <a:lnTo>
                        <a:pt x="264" y="214"/>
                      </a:lnTo>
                      <a:lnTo>
                        <a:pt x="259" y="214"/>
                      </a:lnTo>
                      <a:lnTo>
                        <a:pt x="250" y="214"/>
                      </a:lnTo>
                      <a:close/>
                      <a:moveTo>
                        <a:pt x="264" y="183"/>
                      </a:moveTo>
                      <a:lnTo>
                        <a:pt x="264" y="192"/>
                      </a:lnTo>
                      <a:lnTo>
                        <a:pt x="259" y="183"/>
                      </a:lnTo>
                      <a:lnTo>
                        <a:pt x="255" y="192"/>
                      </a:lnTo>
                      <a:lnTo>
                        <a:pt x="250" y="192"/>
                      </a:lnTo>
                      <a:lnTo>
                        <a:pt x="255" y="206"/>
                      </a:lnTo>
                      <a:lnTo>
                        <a:pt x="259" y="206"/>
                      </a:lnTo>
                      <a:lnTo>
                        <a:pt x="264" y="210"/>
                      </a:lnTo>
                      <a:lnTo>
                        <a:pt x="273" y="214"/>
                      </a:lnTo>
                      <a:lnTo>
                        <a:pt x="273" y="210"/>
                      </a:lnTo>
                      <a:lnTo>
                        <a:pt x="268" y="206"/>
                      </a:lnTo>
                      <a:lnTo>
                        <a:pt x="273" y="201"/>
                      </a:lnTo>
                      <a:lnTo>
                        <a:pt x="268" y="197"/>
                      </a:lnTo>
                      <a:lnTo>
                        <a:pt x="273" y="197"/>
                      </a:lnTo>
                      <a:lnTo>
                        <a:pt x="273" y="192"/>
                      </a:lnTo>
                      <a:lnTo>
                        <a:pt x="273" y="183"/>
                      </a:lnTo>
                      <a:lnTo>
                        <a:pt x="268" y="179"/>
                      </a:lnTo>
                      <a:lnTo>
                        <a:pt x="264" y="183"/>
                      </a:lnTo>
                      <a:close/>
                      <a:moveTo>
                        <a:pt x="308" y="206"/>
                      </a:moveTo>
                      <a:lnTo>
                        <a:pt x="304" y="210"/>
                      </a:lnTo>
                      <a:lnTo>
                        <a:pt x="313" y="210"/>
                      </a:lnTo>
                      <a:lnTo>
                        <a:pt x="313" y="206"/>
                      </a:lnTo>
                      <a:lnTo>
                        <a:pt x="308" y="20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75" name="Freeform 180"/>
                <p:cNvSpPr>
                  <a:spLocks noEditPoints="1"/>
                </p:cNvSpPr>
                <p:nvPr/>
              </p:nvSpPr>
              <p:spPr bwMode="gray">
                <a:xfrm>
                  <a:off x="3036" y="1689"/>
                  <a:ext cx="98" cy="62"/>
                </a:xfrm>
                <a:custGeom>
                  <a:avLst/>
                  <a:gdLst>
                    <a:gd name="T0" fmla="*/ 4 w 98"/>
                    <a:gd name="T1" fmla="*/ 31 h 62"/>
                    <a:gd name="T2" fmla="*/ 0 w 98"/>
                    <a:gd name="T3" fmla="*/ 36 h 62"/>
                    <a:gd name="T4" fmla="*/ 4 w 98"/>
                    <a:gd name="T5" fmla="*/ 40 h 62"/>
                    <a:gd name="T6" fmla="*/ 0 w 98"/>
                    <a:gd name="T7" fmla="*/ 45 h 62"/>
                    <a:gd name="T8" fmla="*/ 4 w 98"/>
                    <a:gd name="T9" fmla="*/ 49 h 62"/>
                    <a:gd name="T10" fmla="*/ 9 w 98"/>
                    <a:gd name="T11" fmla="*/ 40 h 62"/>
                    <a:gd name="T12" fmla="*/ 13 w 98"/>
                    <a:gd name="T13" fmla="*/ 40 h 62"/>
                    <a:gd name="T14" fmla="*/ 22 w 98"/>
                    <a:gd name="T15" fmla="*/ 31 h 62"/>
                    <a:gd name="T16" fmla="*/ 22 w 98"/>
                    <a:gd name="T17" fmla="*/ 27 h 62"/>
                    <a:gd name="T18" fmla="*/ 18 w 98"/>
                    <a:gd name="T19" fmla="*/ 27 h 62"/>
                    <a:gd name="T20" fmla="*/ 13 w 98"/>
                    <a:gd name="T21" fmla="*/ 27 h 62"/>
                    <a:gd name="T22" fmla="*/ 22 w 98"/>
                    <a:gd name="T23" fmla="*/ 22 h 62"/>
                    <a:gd name="T24" fmla="*/ 13 w 98"/>
                    <a:gd name="T25" fmla="*/ 18 h 62"/>
                    <a:gd name="T26" fmla="*/ 9 w 98"/>
                    <a:gd name="T27" fmla="*/ 22 h 62"/>
                    <a:gd name="T28" fmla="*/ 13 w 98"/>
                    <a:gd name="T29" fmla="*/ 27 h 62"/>
                    <a:gd name="T30" fmla="*/ 13 w 98"/>
                    <a:gd name="T31" fmla="*/ 27 h 62"/>
                    <a:gd name="T32" fmla="*/ 4 w 98"/>
                    <a:gd name="T33" fmla="*/ 31 h 62"/>
                    <a:gd name="T34" fmla="*/ 40 w 98"/>
                    <a:gd name="T35" fmla="*/ 54 h 62"/>
                    <a:gd name="T36" fmla="*/ 53 w 98"/>
                    <a:gd name="T37" fmla="*/ 49 h 62"/>
                    <a:gd name="T38" fmla="*/ 62 w 98"/>
                    <a:gd name="T39" fmla="*/ 54 h 62"/>
                    <a:gd name="T40" fmla="*/ 71 w 98"/>
                    <a:gd name="T41" fmla="*/ 58 h 62"/>
                    <a:gd name="T42" fmla="*/ 76 w 98"/>
                    <a:gd name="T43" fmla="*/ 58 h 62"/>
                    <a:gd name="T44" fmla="*/ 85 w 98"/>
                    <a:gd name="T45" fmla="*/ 62 h 62"/>
                    <a:gd name="T46" fmla="*/ 94 w 98"/>
                    <a:gd name="T47" fmla="*/ 58 h 62"/>
                    <a:gd name="T48" fmla="*/ 98 w 98"/>
                    <a:gd name="T49" fmla="*/ 54 h 62"/>
                    <a:gd name="T50" fmla="*/ 89 w 98"/>
                    <a:gd name="T51" fmla="*/ 45 h 62"/>
                    <a:gd name="T52" fmla="*/ 85 w 98"/>
                    <a:gd name="T53" fmla="*/ 36 h 62"/>
                    <a:gd name="T54" fmla="*/ 85 w 98"/>
                    <a:gd name="T55" fmla="*/ 31 h 62"/>
                    <a:gd name="T56" fmla="*/ 85 w 98"/>
                    <a:gd name="T57" fmla="*/ 22 h 62"/>
                    <a:gd name="T58" fmla="*/ 94 w 98"/>
                    <a:gd name="T59" fmla="*/ 18 h 62"/>
                    <a:gd name="T60" fmla="*/ 98 w 98"/>
                    <a:gd name="T61" fmla="*/ 9 h 62"/>
                    <a:gd name="T62" fmla="*/ 94 w 98"/>
                    <a:gd name="T63" fmla="*/ 0 h 62"/>
                    <a:gd name="T64" fmla="*/ 89 w 98"/>
                    <a:gd name="T65" fmla="*/ 4 h 62"/>
                    <a:gd name="T66" fmla="*/ 71 w 98"/>
                    <a:gd name="T67" fmla="*/ 0 h 62"/>
                    <a:gd name="T68" fmla="*/ 40 w 98"/>
                    <a:gd name="T69" fmla="*/ 9 h 62"/>
                    <a:gd name="T70" fmla="*/ 27 w 98"/>
                    <a:gd name="T71" fmla="*/ 18 h 62"/>
                    <a:gd name="T72" fmla="*/ 27 w 98"/>
                    <a:gd name="T73" fmla="*/ 31 h 62"/>
                    <a:gd name="T74" fmla="*/ 35 w 98"/>
                    <a:gd name="T75" fmla="*/ 40 h 62"/>
                    <a:gd name="T76" fmla="*/ 40 w 98"/>
                    <a:gd name="T77" fmla="*/ 36 h 62"/>
                    <a:gd name="T78" fmla="*/ 40 w 98"/>
                    <a:gd name="T7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 h="62">
                      <a:moveTo>
                        <a:pt x="4" y="31"/>
                      </a:moveTo>
                      <a:lnTo>
                        <a:pt x="0" y="36"/>
                      </a:lnTo>
                      <a:lnTo>
                        <a:pt x="4" y="40"/>
                      </a:lnTo>
                      <a:lnTo>
                        <a:pt x="0" y="45"/>
                      </a:lnTo>
                      <a:lnTo>
                        <a:pt x="4" y="49"/>
                      </a:lnTo>
                      <a:lnTo>
                        <a:pt x="9" y="40"/>
                      </a:lnTo>
                      <a:lnTo>
                        <a:pt x="13" y="40"/>
                      </a:lnTo>
                      <a:lnTo>
                        <a:pt x="22" y="31"/>
                      </a:lnTo>
                      <a:lnTo>
                        <a:pt x="22" y="27"/>
                      </a:lnTo>
                      <a:lnTo>
                        <a:pt x="18" y="27"/>
                      </a:lnTo>
                      <a:lnTo>
                        <a:pt x="13" y="27"/>
                      </a:lnTo>
                      <a:lnTo>
                        <a:pt x="22" y="22"/>
                      </a:lnTo>
                      <a:lnTo>
                        <a:pt x="13" y="18"/>
                      </a:lnTo>
                      <a:lnTo>
                        <a:pt x="9" y="22"/>
                      </a:lnTo>
                      <a:lnTo>
                        <a:pt x="13" y="27"/>
                      </a:lnTo>
                      <a:lnTo>
                        <a:pt x="13" y="27"/>
                      </a:lnTo>
                      <a:lnTo>
                        <a:pt x="4" y="31"/>
                      </a:lnTo>
                      <a:close/>
                      <a:moveTo>
                        <a:pt x="40" y="54"/>
                      </a:moveTo>
                      <a:lnTo>
                        <a:pt x="53" y="49"/>
                      </a:lnTo>
                      <a:lnTo>
                        <a:pt x="62" y="54"/>
                      </a:lnTo>
                      <a:lnTo>
                        <a:pt x="71" y="58"/>
                      </a:lnTo>
                      <a:lnTo>
                        <a:pt x="76" y="58"/>
                      </a:lnTo>
                      <a:lnTo>
                        <a:pt x="85" y="62"/>
                      </a:lnTo>
                      <a:lnTo>
                        <a:pt x="94" y="58"/>
                      </a:lnTo>
                      <a:lnTo>
                        <a:pt x="98" y="54"/>
                      </a:lnTo>
                      <a:lnTo>
                        <a:pt x="89" y="45"/>
                      </a:lnTo>
                      <a:lnTo>
                        <a:pt x="85" y="36"/>
                      </a:lnTo>
                      <a:lnTo>
                        <a:pt x="85" y="31"/>
                      </a:lnTo>
                      <a:lnTo>
                        <a:pt x="85" y="22"/>
                      </a:lnTo>
                      <a:lnTo>
                        <a:pt x="94" y="18"/>
                      </a:lnTo>
                      <a:lnTo>
                        <a:pt x="98" y="9"/>
                      </a:lnTo>
                      <a:lnTo>
                        <a:pt x="94" y="0"/>
                      </a:lnTo>
                      <a:lnTo>
                        <a:pt x="89" y="4"/>
                      </a:lnTo>
                      <a:lnTo>
                        <a:pt x="71" y="0"/>
                      </a:lnTo>
                      <a:lnTo>
                        <a:pt x="40" y="9"/>
                      </a:lnTo>
                      <a:lnTo>
                        <a:pt x="27" y="18"/>
                      </a:lnTo>
                      <a:lnTo>
                        <a:pt x="27" y="31"/>
                      </a:lnTo>
                      <a:lnTo>
                        <a:pt x="35" y="40"/>
                      </a:lnTo>
                      <a:lnTo>
                        <a:pt x="40" y="36"/>
                      </a:lnTo>
                      <a:lnTo>
                        <a:pt x="40" y="5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76" name="Freeform 181"/>
                <p:cNvSpPr>
                  <a:spLocks/>
                </p:cNvSpPr>
                <p:nvPr/>
              </p:nvSpPr>
              <p:spPr bwMode="gray">
                <a:xfrm>
                  <a:off x="3018" y="1327"/>
                  <a:ext cx="165" cy="362"/>
                </a:xfrm>
                <a:custGeom>
                  <a:avLst/>
                  <a:gdLst>
                    <a:gd name="T0" fmla="*/ 18 w 165"/>
                    <a:gd name="T1" fmla="*/ 54 h 362"/>
                    <a:gd name="T2" fmla="*/ 45 w 165"/>
                    <a:gd name="T3" fmla="*/ 76 h 362"/>
                    <a:gd name="T4" fmla="*/ 53 w 165"/>
                    <a:gd name="T5" fmla="*/ 121 h 362"/>
                    <a:gd name="T6" fmla="*/ 49 w 165"/>
                    <a:gd name="T7" fmla="*/ 152 h 362"/>
                    <a:gd name="T8" fmla="*/ 58 w 165"/>
                    <a:gd name="T9" fmla="*/ 165 h 362"/>
                    <a:gd name="T10" fmla="*/ 67 w 165"/>
                    <a:gd name="T11" fmla="*/ 192 h 362"/>
                    <a:gd name="T12" fmla="*/ 45 w 165"/>
                    <a:gd name="T13" fmla="*/ 219 h 362"/>
                    <a:gd name="T14" fmla="*/ 22 w 165"/>
                    <a:gd name="T15" fmla="*/ 250 h 362"/>
                    <a:gd name="T16" fmla="*/ 9 w 165"/>
                    <a:gd name="T17" fmla="*/ 264 h 362"/>
                    <a:gd name="T18" fmla="*/ 13 w 165"/>
                    <a:gd name="T19" fmla="*/ 277 h 362"/>
                    <a:gd name="T20" fmla="*/ 13 w 165"/>
                    <a:gd name="T21" fmla="*/ 313 h 362"/>
                    <a:gd name="T22" fmla="*/ 27 w 165"/>
                    <a:gd name="T23" fmla="*/ 335 h 362"/>
                    <a:gd name="T24" fmla="*/ 36 w 165"/>
                    <a:gd name="T25" fmla="*/ 340 h 362"/>
                    <a:gd name="T26" fmla="*/ 36 w 165"/>
                    <a:gd name="T27" fmla="*/ 348 h 362"/>
                    <a:gd name="T28" fmla="*/ 40 w 165"/>
                    <a:gd name="T29" fmla="*/ 353 h 362"/>
                    <a:gd name="T30" fmla="*/ 40 w 165"/>
                    <a:gd name="T31" fmla="*/ 362 h 362"/>
                    <a:gd name="T32" fmla="*/ 58 w 165"/>
                    <a:gd name="T33" fmla="*/ 348 h 362"/>
                    <a:gd name="T34" fmla="*/ 62 w 165"/>
                    <a:gd name="T35" fmla="*/ 353 h 362"/>
                    <a:gd name="T36" fmla="*/ 76 w 165"/>
                    <a:gd name="T37" fmla="*/ 348 h 362"/>
                    <a:gd name="T38" fmla="*/ 85 w 165"/>
                    <a:gd name="T39" fmla="*/ 344 h 362"/>
                    <a:gd name="T40" fmla="*/ 98 w 165"/>
                    <a:gd name="T41" fmla="*/ 340 h 362"/>
                    <a:gd name="T42" fmla="*/ 112 w 165"/>
                    <a:gd name="T43" fmla="*/ 340 h 362"/>
                    <a:gd name="T44" fmla="*/ 129 w 165"/>
                    <a:gd name="T45" fmla="*/ 322 h 362"/>
                    <a:gd name="T46" fmla="*/ 161 w 165"/>
                    <a:gd name="T47" fmla="*/ 281 h 362"/>
                    <a:gd name="T48" fmla="*/ 147 w 165"/>
                    <a:gd name="T49" fmla="*/ 255 h 362"/>
                    <a:gd name="T50" fmla="*/ 147 w 165"/>
                    <a:gd name="T51" fmla="*/ 228 h 362"/>
                    <a:gd name="T52" fmla="*/ 143 w 165"/>
                    <a:gd name="T53" fmla="*/ 214 h 362"/>
                    <a:gd name="T54" fmla="*/ 134 w 165"/>
                    <a:gd name="T55" fmla="*/ 165 h 362"/>
                    <a:gd name="T56" fmla="*/ 134 w 165"/>
                    <a:gd name="T57" fmla="*/ 147 h 362"/>
                    <a:gd name="T58" fmla="*/ 120 w 165"/>
                    <a:gd name="T59" fmla="*/ 116 h 362"/>
                    <a:gd name="T60" fmla="*/ 134 w 165"/>
                    <a:gd name="T61" fmla="*/ 80 h 362"/>
                    <a:gd name="T62" fmla="*/ 116 w 165"/>
                    <a:gd name="T63" fmla="*/ 54 h 362"/>
                    <a:gd name="T64" fmla="*/ 112 w 165"/>
                    <a:gd name="T65" fmla="*/ 40 h 362"/>
                    <a:gd name="T66" fmla="*/ 116 w 165"/>
                    <a:gd name="T67" fmla="*/ 31 h 362"/>
                    <a:gd name="T68" fmla="*/ 120 w 165"/>
                    <a:gd name="T69" fmla="*/ 9 h 362"/>
                    <a:gd name="T70" fmla="*/ 107 w 165"/>
                    <a:gd name="T71" fmla="*/ 0 h 362"/>
                    <a:gd name="T72" fmla="*/ 76 w 165"/>
                    <a:gd name="T73" fmla="*/ 22 h 362"/>
                    <a:gd name="T74" fmla="*/ 62 w 165"/>
                    <a:gd name="T75" fmla="*/ 58 h 362"/>
                    <a:gd name="T76" fmla="*/ 31 w 165"/>
                    <a:gd name="T77" fmla="*/ 54 h 362"/>
                    <a:gd name="T78" fmla="*/ 9 w 165"/>
                    <a:gd name="T79" fmla="*/ 31 h 362"/>
                    <a:gd name="T80" fmla="*/ 0 w 165"/>
                    <a:gd name="T81" fmla="*/ 3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5" h="362">
                      <a:moveTo>
                        <a:pt x="4" y="40"/>
                      </a:moveTo>
                      <a:lnTo>
                        <a:pt x="18" y="54"/>
                      </a:lnTo>
                      <a:lnTo>
                        <a:pt x="40" y="62"/>
                      </a:lnTo>
                      <a:lnTo>
                        <a:pt x="45" y="76"/>
                      </a:lnTo>
                      <a:lnTo>
                        <a:pt x="49" y="98"/>
                      </a:lnTo>
                      <a:lnTo>
                        <a:pt x="53" y="121"/>
                      </a:lnTo>
                      <a:lnTo>
                        <a:pt x="49" y="138"/>
                      </a:lnTo>
                      <a:lnTo>
                        <a:pt x="49" y="152"/>
                      </a:lnTo>
                      <a:lnTo>
                        <a:pt x="53" y="165"/>
                      </a:lnTo>
                      <a:lnTo>
                        <a:pt x="58" y="165"/>
                      </a:lnTo>
                      <a:lnTo>
                        <a:pt x="71" y="183"/>
                      </a:lnTo>
                      <a:lnTo>
                        <a:pt x="67" y="192"/>
                      </a:lnTo>
                      <a:lnTo>
                        <a:pt x="71" y="197"/>
                      </a:lnTo>
                      <a:lnTo>
                        <a:pt x="45" y="219"/>
                      </a:lnTo>
                      <a:lnTo>
                        <a:pt x="31" y="237"/>
                      </a:lnTo>
                      <a:lnTo>
                        <a:pt x="22" y="250"/>
                      </a:lnTo>
                      <a:lnTo>
                        <a:pt x="13" y="250"/>
                      </a:lnTo>
                      <a:lnTo>
                        <a:pt x="9" y="264"/>
                      </a:lnTo>
                      <a:lnTo>
                        <a:pt x="9" y="277"/>
                      </a:lnTo>
                      <a:lnTo>
                        <a:pt x="13" y="277"/>
                      </a:lnTo>
                      <a:lnTo>
                        <a:pt x="18" y="299"/>
                      </a:lnTo>
                      <a:lnTo>
                        <a:pt x="13" y="313"/>
                      </a:lnTo>
                      <a:lnTo>
                        <a:pt x="18" y="331"/>
                      </a:lnTo>
                      <a:lnTo>
                        <a:pt x="27" y="335"/>
                      </a:lnTo>
                      <a:lnTo>
                        <a:pt x="31" y="344"/>
                      </a:lnTo>
                      <a:lnTo>
                        <a:pt x="36" y="340"/>
                      </a:lnTo>
                      <a:lnTo>
                        <a:pt x="36" y="344"/>
                      </a:lnTo>
                      <a:lnTo>
                        <a:pt x="36" y="348"/>
                      </a:lnTo>
                      <a:lnTo>
                        <a:pt x="36" y="353"/>
                      </a:lnTo>
                      <a:lnTo>
                        <a:pt x="40" y="353"/>
                      </a:lnTo>
                      <a:lnTo>
                        <a:pt x="36" y="362"/>
                      </a:lnTo>
                      <a:lnTo>
                        <a:pt x="40" y="362"/>
                      </a:lnTo>
                      <a:lnTo>
                        <a:pt x="45" y="353"/>
                      </a:lnTo>
                      <a:lnTo>
                        <a:pt x="58" y="348"/>
                      </a:lnTo>
                      <a:lnTo>
                        <a:pt x="58" y="353"/>
                      </a:lnTo>
                      <a:lnTo>
                        <a:pt x="62" y="353"/>
                      </a:lnTo>
                      <a:lnTo>
                        <a:pt x="67" y="344"/>
                      </a:lnTo>
                      <a:lnTo>
                        <a:pt x="76" y="348"/>
                      </a:lnTo>
                      <a:lnTo>
                        <a:pt x="80" y="344"/>
                      </a:lnTo>
                      <a:lnTo>
                        <a:pt x="85" y="344"/>
                      </a:lnTo>
                      <a:lnTo>
                        <a:pt x="94" y="344"/>
                      </a:lnTo>
                      <a:lnTo>
                        <a:pt x="98" y="340"/>
                      </a:lnTo>
                      <a:lnTo>
                        <a:pt x="107" y="344"/>
                      </a:lnTo>
                      <a:lnTo>
                        <a:pt x="112" y="340"/>
                      </a:lnTo>
                      <a:lnTo>
                        <a:pt x="120" y="331"/>
                      </a:lnTo>
                      <a:lnTo>
                        <a:pt x="129" y="322"/>
                      </a:lnTo>
                      <a:lnTo>
                        <a:pt x="134" y="308"/>
                      </a:lnTo>
                      <a:lnTo>
                        <a:pt x="161" y="281"/>
                      </a:lnTo>
                      <a:lnTo>
                        <a:pt x="165" y="273"/>
                      </a:lnTo>
                      <a:lnTo>
                        <a:pt x="147" y="255"/>
                      </a:lnTo>
                      <a:lnTo>
                        <a:pt x="134" y="241"/>
                      </a:lnTo>
                      <a:lnTo>
                        <a:pt x="147" y="228"/>
                      </a:lnTo>
                      <a:lnTo>
                        <a:pt x="134" y="219"/>
                      </a:lnTo>
                      <a:lnTo>
                        <a:pt x="143" y="214"/>
                      </a:lnTo>
                      <a:lnTo>
                        <a:pt x="134" y="210"/>
                      </a:lnTo>
                      <a:lnTo>
                        <a:pt x="134" y="165"/>
                      </a:lnTo>
                      <a:lnTo>
                        <a:pt x="143" y="161"/>
                      </a:lnTo>
                      <a:lnTo>
                        <a:pt x="134" y="147"/>
                      </a:lnTo>
                      <a:lnTo>
                        <a:pt x="129" y="130"/>
                      </a:lnTo>
                      <a:lnTo>
                        <a:pt x="120" y="116"/>
                      </a:lnTo>
                      <a:lnTo>
                        <a:pt x="134" y="89"/>
                      </a:lnTo>
                      <a:lnTo>
                        <a:pt x="134" y="80"/>
                      </a:lnTo>
                      <a:lnTo>
                        <a:pt x="120" y="71"/>
                      </a:lnTo>
                      <a:lnTo>
                        <a:pt x="116" y="54"/>
                      </a:lnTo>
                      <a:lnTo>
                        <a:pt x="125" y="36"/>
                      </a:lnTo>
                      <a:lnTo>
                        <a:pt x="112" y="40"/>
                      </a:lnTo>
                      <a:lnTo>
                        <a:pt x="112" y="36"/>
                      </a:lnTo>
                      <a:lnTo>
                        <a:pt x="116" y="31"/>
                      </a:lnTo>
                      <a:lnTo>
                        <a:pt x="120" y="13"/>
                      </a:lnTo>
                      <a:lnTo>
                        <a:pt x="120" y="9"/>
                      </a:lnTo>
                      <a:lnTo>
                        <a:pt x="112" y="9"/>
                      </a:lnTo>
                      <a:lnTo>
                        <a:pt x="107" y="0"/>
                      </a:lnTo>
                      <a:lnTo>
                        <a:pt x="89" y="4"/>
                      </a:lnTo>
                      <a:lnTo>
                        <a:pt x="76" y="22"/>
                      </a:lnTo>
                      <a:lnTo>
                        <a:pt x="76" y="45"/>
                      </a:lnTo>
                      <a:lnTo>
                        <a:pt x="62" y="58"/>
                      </a:lnTo>
                      <a:lnTo>
                        <a:pt x="53" y="54"/>
                      </a:lnTo>
                      <a:lnTo>
                        <a:pt x="31" y="54"/>
                      </a:lnTo>
                      <a:lnTo>
                        <a:pt x="18" y="31"/>
                      </a:lnTo>
                      <a:lnTo>
                        <a:pt x="9" y="31"/>
                      </a:lnTo>
                      <a:lnTo>
                        <a:pt x="9" y="36"/>
                      </a:lnTo>
                      <a:lnTo>
                        <a:pt x="0" y="36"/>
                      </a:lnTo>
                      <a:lnTo>
                        <a:pt x="4" y="4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77" name="Freeform 182"/>
                <p:cNvSpPr>
                  <a:spLocks noEditPoints="1"/>
                </p:cNvSpPr>
                <p:nvPr/>
              </p:nvSpPr>
              <p:spPr bwMode="gray">
                <a:xfrm>
                  <a:off x="2661" y="1908"/>
                  <a:ext cx="205" cy="205"/>
                </a:xfrm>
                <a:custGeom>
                  <a:avLst/>
                  <a:gdLst>
                    <a:gd name="T0" fmla="*/ 49 w 205"/>
                    <a:gd name="T1" fmla="*/ 174 h 205"/>
                    <a:gd name="T2" fmla="*/ 67 w 205"/>
                    <a:gd name="T3" fmla="*/ 183 h 205"/>
                    <a:gd name="T4" fmla="*/ 89 w 205"/>
                    <a:gd name="T5" fmla="*/ 183 h 205"/>
                    <a:gd name="T6" fmla="*/ 107 w 205"/>
                    <a:gd name="T7" fmla="*/ 188 h 205"/>
                    <a:gd name="T8" fmla="*/ 116 w 205"/>
                    <a:gd name="T9" fmla="*/ 174 h 205"/>
                    <a:gd name="T10" fmla="*/ 129 w 205"/>
                    <a:gd name="T11" fmla="*/ 174 h 205"/>
                    <a:gd name="T12" fmla="*/ 142 w 205"/>
                    <a:gd name="T13" fmla="*/ 170 h 205"/>
                    <a:gd name="T14" fmla="*/ 165 w 205"/>
                    <a:gd name="T15" fmla="*/ 170 h 205"/>
                    <a:gd name="T16" fmla="*/ 178 w 205"/>
                    <a:gd name="T17" fmla="*/ 161 h 205"/>
                    <a:gd name="T18" fmla="*/ 165 w 205"/>
                    <a:gd name="T19" fmla="*/ 156 h 205"/>
                    <a:gd name="T20" fmla="*/ 160 w 205"/>
                    <a:gd name="T21" fmla="*/ 129 h 205"/>
                    <a:gd name="T22" fmla="*/ 169 w 205"/>
                    <a:gd name="T23" fmla="*/ 116 h 205"/>
                    <a:gd name="T24" fmla="*/ 160 w 205"/>
                    <a:gd name="T25" fmla="*/ 103 h 205"/>
                    <a:gd name="T26" fmla="*/ 156 w 205"/>
                    <a:gd name="T27" fmla="*/ 103 h 205"/>
                    <a:gd name="T28" fmla="*/ 165 w 205"/>
                    <a:gd name="T29" fmla="*/ 85 h 205"/>
                    <a:gd name="T30" fmla="*/ 178 w 205"/>
                    <a:gd name="T31" fmla="*/ 80 h 205"/>
                    <a:gd name="T32" fmla="*/ 183 w 205"/>
                    <a:gd name="T33" fmla="*/ 53 h 205"/>
                    <a:gd name="T34" fmla="*/ 174 w 205"/>
                    <a:gd name="T35" fmla="*/ 45 h 205"/>
                    <a:gd name="T36" fmla="*/ 160 w 205"/>
                    <a:gd name="T37" fmla="*/ 40 h 205"/>
                    <a:gd name="T38" fmla="*/ 151 w 205"/>
                    <a:gd name="T39" fmla="*/ 40 h 205"/>
                    <a:gd name="T40" fmla="*/ 142 w 205"/>
                    <a:gd name="T41" fmla="*/ 36 h 205"/>
                    <a:gd name="T42" fmla="*/ 138 w 205"/>
                    <a:gd name="T43" fmla="*/ 22 h 205"/>
                    <a:gd name="T44" fmla="*/ 125 w 205"/>
                    <a:gd name="T45" fmla="*/ 27 h 205"/>
                    <a:gd name="T46" fmla="*/ 120 w 205"/>
                    <a:gd name="T47" fmla="*/ 18 h 205"/>
                    <a:gd name="T48" fmla="*/ 111 w 205"/>
                    <a:gd name="T49" fmla="*/ 13 h 205"/>
                    <a:gd name="T50" fmla="*/ 93 w 205"/>
                    <a:gd name="T51" fmla="*/ 4 h 205"/>
                    <a:gd name="T52" fmla="*/ 93 w 205"/>
                    <a:gd name="T53" fmla="*/ 22 h 205"/>
                    <a:gd name="T54" fmla="*/ 93 w 205"/>
                    <a:gd name="T55" fmla="*/ 27 h 205"/>
                    <a:gd name="T56" fmla="*/ 80 w 205"/>
                    <a:gd name="T57" fmla="*/ 31 h 205"/>
                    <a:gd name="T58" fmla="*/ 67 w 205"/>
                    <a:gd name="T59" fmla="*/ 36 h 205"/>
                    <a:gd name="T60" fmla="*/ 67 w 205"/>
                    <a:gd name="T61" fmla="*/ 40 h 205"/>
                    <a:gd name="T62" fmla="*/ 49 w 205"/>
                    <a:gd name="T63" fmla="*/ 45 h 205"/>
                    <a:gd name="T64" fmla="*/ 40 w 205"/>
                    <a:gd name="T65" fmla="*/ 36 h 205"/>
                    <a:gd name="T66" fmla="*/ 44 w 205"/>
                    <a:gd name="T67" fmla="*/ 45 h 205"/>
                    <a:gd name="T68" fmla="*/ 49 w 205"/>
                    <a:gd name="T69" fmla="*/ 58 h 205"/>
                    <a:gd name="T70" fmla="*/ 35 w 205"/>
                    <a:gd name="T71" fmla="*/ 58 h 205"/>
                    <a:gd name="T72" fmla="*/ 22 w 205"/>
                    <a:gd name="T73" fmla="*/ 53 h 205"/>
                    <a:gd name="T74" fmla="*/ 17 w 205"/>
                    <a:gd name="T75" fmla="*/ 58 h 205"/>
                    <a:gd name="T76" fmla="*/ 8 w 205"/>
                    <a:gd name="T77" fmla="*/ 58 h 205"/>
                    <a:gd name="T78" fmla="*/ 0 w 205"/>
                    <a:gd name="T79" fmla="*/ 62 h 205"/>
                    <a:gd name="T80" fmla="*/ 4 w 205"/>
                    <a:gd name="T81" fmla="*/ 62 h 205"/>
                    <a:gd name="T82" fmla="*/ 0 w 205"/>
                    <a:gd name="T83" fmla="*/ 67 h 205"/>
                    <a:gd name="T84" fmla="*/ 4 w 205"/>
                    <a:gd name="T85" fmla="*/ 76 h 205"/>
                    <a:gd name="T86" fmla="*/ 22 w 205"/>
                    <a:gd name="T87" fmla="*/ 80 h 205"/>
                    <a:gd name="T88" fmla="*/ 26 w 205"/>
                    <a:gd name="T89" fmla="*/ 80 h 205"/>
                    <a:gd name="T90" fmla="*/ 35 w 205"/>
                    <a:gd name="T91" fmla="*/ 89 h 205"/>
                    <a:gd name="T92" fmla="*/ 40 w 205"/>
                    <a:gd name="T93" fmla="*/ 98 h 205"/>
                    <a:gd name="T94" fmla="*/ 53 w 205"/>
                    <a:gd name="T95" fmla="*/ 112 h 205"/>
                    <a:gd name="T96" fmla="*/ 49 w 205"/>
                    <a:gd name="T97" fmla="*/ 116 h 205"/>
                    <a:gd name="T98" fmla="*/ 58 w 205"/>
                    <a:gd name="T99" fmla="*/ 129 h 205"/>
                    <a:gd name="T100" fmla="*/ 49 w 205"/>
                    <a:gd name="T101" fmla="*/ 129 h 205"/>
                    <a:gd name="T102" fmla="*/ 53 w 205"/>
                    <a:gd name="T103" fmla="*/ 138 h 205"/>
                    <a:gd name="T104" fmla="*/ 49 w 205"/>
                    <a:gd name="T105" fmla="*/ 147 h 205"/>
                    <a:gd name="T106" fmla="*/ 44 w 205"/>
                    <a:gd name="T107" fmla="*/ 165 h 205"/>
                    <a:gd name="T108" fmla="*/ 192 w 205"/>
                    <a:gd name="T109" fmla="*/ 192 h 205"/>
                    <a:gd name="T110" fmla="*/ 192 w 205"/>
                    <a:gd name="T111" fmla="*/ 205 h 205"/>
                    <a:gd name="T112" fmla="*/ 205 w 205"/>
                    <a:gd name="T113" fmla="*/ 188 h 205"/>
                    <a:gd name="T114" fmla="*/ 196 w 205"/>
                    <a:gd name="T115" fmla="*/ 174 h 205"/>
                    <a:gd name="T116" fmla="*/ 192 w 205"/>
                    <a:gd name="T117" fmla="*/ 18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5" h="205">
                      <a:moveTo>
                        <a:pt x="44" y="165"/>
                      </a:moveTo>
                      <a:lnTo>
                        <a:pt x="49" y="174"/>
                      </a:lnTo>
                      <a:lnTo>
                        <a:pt x="62" y="183"/>
                      </a:lnTo>
                      <a:lnTo>
                        <a:pt x="67" y="183"/>
                      </a:lnTo>
                      <a:lnTo>
                        <a:pt x="80" y="183"/>
                      </a:lnTo>
                      <a:lnTo>
                        <a:pt x="89" y="183"/>
                      </a:lnTo>
                      <a:lnTo>
                        <a:pt x="98" y="188"/>
                      </a:lnTo>
                      <a:lnTo>
                        <a:pt x="107" y="188"/>
                      </a:lnTo>
                      <a:lnTo>
                        <a:pt x="116" y="188"/>
                      </a:lnTo>
                      <a:lnTo>
                        <a:pt x="116" y="174"/>
                      </a:lnTo>
                      <a:lnTo>
                        <a:pt x="120" y="170"/>
                      </a:lnTo>
                      <a:lnTo>
                        <a:pt x="129" y="174"/>
                      </a:lnTo>
                      <a:lnTo>
                        <a:pt x="134" y="170"/>
                      </a:lnTo>
                      <a:lnTo>
                        <a:pt x="142" y="170"/>
                      </a:lnTo>
                      <a:lnTo>
                        <a:pt x="151" y="174"/>
                      </a:lnTo>
                      <a:lnTo>
                        <a:pt x="165" y="170"/>
                      </a:lnTo>
                      <a:lnTo>
                        <a:pt x="169" y="165"/>
                      </a:lnTo>
                      <a:lnTo>
                        <a:pt x="178" y="161"/>
                      </a:lnTo>
                      <a:lnTo>
                        <a:pt x="174" y="156"/>
                      </a:lnTo>
                      <a:lnTo>
                        <a:pt x="165" y="156"/>
                      </a:lnTo>
                      <a:lnTo>
                        <a:pt x="156" y="143"/>
                      </a:lnTo>
                      <a:lnTo>
                        <a:pt x="160" y="129"/>
                      </a:lnTo>
                      <a:lnTo>
                        <a:pt x="165" y="129"/>
                      </a:lnTo>
                      <a:lnTo>
                        <a:pt x="169" y="116"/>
                      </a:lnTo>
                      <a:lnTo>
                        <a:pt x="165" y="107"/>
                      </a:lnTo>
                      <a:lnTo>
                        <a:pt x="160" y="103"/>
                      </a:lnTo>
                      <a:lnTo>
                        <a:pt x="156" y="112"/>
                      </a:lnTo>
                      <a:lnTo>
                        <a:pt x="156" y="103"/>
                      </a:lnTo>
                      <a:lnTo>
                        <a:pt x="165" y="89"/>
                      </a:lnTo>
                      <a:lnTo>
                        <a:pt x="165" y="85"/>
                      </a:lnTo>
                      <a:lnTo>
                        <a:pt x="174" y="85"/>
                      </a:lnTo>
                      <a:lnTo>
                        <a:pt x="178" y="80"/>
                      </a:lnTo>
                      <a:lnTo>
                        <a:pt x="178" y="67"/>
                      </a:lnTo>
                      <a:lnTo>
                        <a:pt x="183" y="53"/>
                      </a:lnTo>
                      <a:lnTo>
                        <a:pt x="178" y="45"/>
                      </a:lnTo>
                      <a:lnTo>
                        <a:pt x="174" y="45"/>
                      </a:lnTo>
                      <a:lnTo>
                        <a:pt x="160" y="49"/>
                      </a:lnTo>
                      <a:lnTo>
                        <a:pt x="160" y="40"/>
                      </a:lnTo>
                      <a:lnTo>
                        <a:pt x="156" y="40"/>
                      </a:lnTo>
                      <a:lnTo>
                        <a:pt x="151" y="40"/>
                      </a:lnTo>
                      <a:lnTo>
                        <a:pt x="147" y="40"/>
                      </a:lnTo>
                      <a:lnTo>
                        <a:pt x="142" y="36"/>
                      </a:lnTo>
                      <a:lnTo>
                        <a:pt x="134" y="31"/>
                      </a:lnTo>
                      <a:lnTo>
                        <a:pt x="138" y="22"/>
                      </a:lnTo>
                      <a:lnTo>
                        <a:pt x="129" y="27"/>
                      </a:lnTo>
                      <a:lnTo>
                        <a:pt x="125" y="27"/>
                      </a:lnTo>
                      <a:lnTo>
                        <a:pt x="125" y="18"/>
                      </a:lnTo>
                      <a:lnTo>
                        <a:pt x="120" y="18"/>
                      </a:lnTo>
                      <a:lnTo>
                        <a:pt x="116" y="13"/>
                      </a:lnTo>
                      <a:lnTo>
                        <a:pt x="111" y="13"/>
                      </a:lnTo>
                      <a:lnTo>
                        <a:pt x="102" y="0"/>
                      </a:lnTo>
                      <a:lnTo>
                        <a:pt x="93" y="4"/>
                      </a:lnTo>
                      <a:lnTo>
                        <a:pt x="93" y="13"/>
                      </a:lnTo>
                      <a:lnTo>
                        <a:pt x="93" y="22"/>
                      </a:lnTo>
                      <a:lnTo>
                        <a:pt x="93" y="27"/>
                      </a:lnTo>
                      <a:lnTo>
                        <a:pt x="93" y="27"/>
                      </a:lnTo>
                      <a:lnTo>
                        <a:pt x="84" y="27"/>
                      </a:lnTo>
                      <a:lnTo>
                        <a:pt x="80" y="31"/>
                      </a:lnTo>
                      <a:lnTo>
                        <a:pt x="75" y="31"/>
                      </a:lnTo>
                      <a:lnTo>
                        <a:pt x="67" y="36"/>
                      </a:lnTo>
                      <a:lnTo>
                        <a:pt x="71" y="40"/>
                      </a:lnTo>
                      <a:lnTo>
                        <a:pt x="67" y="40"/>
                      </a:lnTo>
                      <a:lnTo>
                        <a:pt x="53" y="40"/>
                      </a:lnTo>
                      <a:lnTo>
                        <a:pt x="49" y="45"/>
                      </a:lnTo>
                      <a:lnTo>
                        <a:pt x="49" y="36"/>
                      </a:lnTo>
                      <a:lnTo>
                        <a:pt x="40" y="36"/>
                      </a:lnTo>
                      <a:lnTo>
                        <a:pt x="40" y="40"/>
                      </a:lnTo>
                      <a:lnTo>
                        <a:pt x="44" y="45"/>
                      </a:lnTo>
                      <a:lnTo>
                        <a:pt x="44" y="53"/>
                      </a:lnTo>
                      <a:lnTo>
                        <a:pt x="49" y="58"/>
                      </a:lnTo>
                      <a:lnTo>
                        <a:pt x="40" y="58"/>
                      </a:lnTo>
                      <a:lnTo>
                        <a:pt x="35" y="58"/>
                      </a:lnTo>
                      <a:lnTo>
                        <a:pt x="31" y="62"/>
                      </a:lnTo>
                      <a:lnTo>
                        <a:pt x="22" y="53"/>
                      </a:lnTo>
                      <a:lnTo>
                        <a:pt x="17" y="53"/>
                      </a:lnTo>
                      <a:lnTo>
                        <a:pt x="17" y="58"/>
                      </a:lnTo>
                      <a:lnTo>
                        <a:pt x="13" y="58"/>
                      </a:lnTo>
                      <a:lnTo>
                        <a:pt x="8" y="58"/>
                      </a:lnTo>
                      <a:lnTo>
                        <a:pt x="4" y="58"/>
                      </a:lnTo>
                      <a:lnTo>
                        <a:pt x="0" y="62"/>
                      </a:lnTo>
                      <a:lnTo>
                        <a:pt x="0" y="67"/>
                      </a:lnTo>
                      <a:lnTo>
                        <a:pt x="4" y="62"/>
                      </a:lnTo>
                      <a:lnTo>
                        <a:pt x="8" y="67"/>
                      </a:lnTo>
                      <a:lnTo>
                        <a:pt x="0" y="67"/>
                      </a:lnTo>
                      <a:lnTo>
                        <a:pt x="0" y="71"/>
                      </a:lnTo>
                      <a:lnTo>
                        <a:pt x="4" y="76"/>
                      </a:lnTo>
                      <a:lnTo>
                        <a:pt x="8" y="71"/>
                      </a:lnTo>
                      <a:lnTo>
                        <a:pt x="22" y="80"/>
                      </a:lnTo>
                      <a:lnTo>
                        <a:pt x="22" y="85"/>
                      </a:lnTo>
                      <a:lnTo>
                        <a:pt x="26" y="80"/>
                      </a:lnTo>
                      <a:lnTo>
                        <a:pt x="35" y="85"/>
                      </a:lnTo>
                      <a:lnTo>
                        <a:pt x="35" y="89"/>
                      </a:lnTo>
                      <a:lnTo>
                        <a:pt x="40" y="89"/>
                      </a:lnTo>
                      <a:lnTo>
                        <a:pt x="40" y="98"/>
                      </a:lnTo>
                      <a:lnTo>
                        <a:pt x="44" y="107"/>
                      </a:lnTo>
                      <a:lnTo>
                        <a:pt x="53" y="112"/>
                      </a:lnTo>
                      <a:lnTo>
                        <a:pt x="49" y="116"/>
                      </a:lnTo>
                      <a:lnTo>
                        <a:pt x="49" y="116"/>
                      </a:lnTo>
                      <a:lnTo>
                        <a:pt x="49" y="121"/>
                      </a:lnTo>
                      <a:lnTo>
                        <a:pt x="58" y="129"/>
                      </a:lnTo>
                      <a:lnTo>
                        <a:pt x="58" y="129"/>
                      </a:lnTo>
                      <a:lnTo>
                        <a:pt x="49" y="129"/>
                      </a:lnTo>
                      <a:lnTo>
                        <a:pt x="49" y="143"/>
                      </a:lnTo>
                      <a:lnTo>
                        <a:pt x="53" y="138"/>
                      </a:lnTo>
                      <a:lnTo>
                        <a:pt x="53" y="143"/>
                      </a:lnTo>
                      <a:lnTo>
                        <a:pt x="49" y="147"/>
                      </a:lnTo>
                      <a:lnTo>
                        <a:pt x="44" y="165"/>
                      </a:lnTo>
                      <a:lnTo>
                        <a:pt x="44" y="165"/>
                      </a:lnTo>
                      <a:close/>
                      <a:moveTo>
                        <a:pt x="192" y="183"/>
                      </a:moveTo>
                      <a:lnTo>
                        <a:pt x="192" y="192"/>
                      </a:lnTo>
                      <a:lnTo>
                        <a:pt x="187" y="196"/>
                      </a:lnTo>
                      <a:lnTo>
                        <a:pt x="192" y="205"/>
                      </a:lnTo>
                      <a:lnTo>
                        <a:pt x="201" y="205"/>
                      </a:lnTo>
                      <a:lnTo>
                        <a:pt x="205" y="188"/>
                      </a:lnTo>
                      <a:lnTo>
                        <a:pt x="201" y="174"/>
                      </a:lnTo>
                      <a:lnTo>
                        <a:pt x="196" y="174"/>
                      </a:lnTo>
                      <a:lnTo>
                        <a:pt x="196" y="183"/>
                      </a:lnTo>
                      <a:lnTo>
                        <a:pt x="192" y="18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78" name="Freeform 183"/>
                <p:cNvSpPr>
                  <a:spLocks noEditPoints="1"/>
                </p:cNvSpPr>
                <p:nvPr/>
              </p:nvSpPr>
              <p:spPr bwMode="gray">
                <a:xfrm>
                  <a:off x="2812" y="1818"/>
                  <a:ext cx="125" cy="175"/>
                </a:xfrm>
                <a:custGeom>
                  <a:avLst/>
                  <a:gdLst>
                    <a:gd name="T0" fmla="*/ 9 w 125"/>
                    <a:gd name="T1" fmla="*/ 108 h 175"/>
                    <a:gd name="T2" fmla="*/ 0 w 125"/>
                    <a:gd name="T3" fmla="*/ 94 h 175"/>
                    <a:gd name="T4" fmla="*/ 0 w 125"/>
                    <a:gd name="T5" fmla="*/ 81 h 175"/>
                    <a:gd name="T6" fmla="*/ 9 w 125"/>
                    <a:gd name="T7" fmla="*/ 72 h 175"/>
                    <a:gd name="T8" fmla="*/ 14 w 125"/>
                    <a:gd name="T9" fmla="*/ 54 h 175"/>
                    <a:gd name="T10" fmla="*/ 18 w 125"/>
                    <a:gd name="T11" fmla="*/ 45 h 175"/>
                    <a:gd name="T12" fmla="*/ 14 w 125"/>
                    <a:gd name="T13" fmla="*/ 36 h 175"/>
                    <a:gd name="T14" fmla="*/ 18 w 125"/>
                    <a:gd name="T15" fmla="*/ 36 h 175"/>
                    <a:gd name="T16" fmla="*/ 27 w 125"/>
                    <a:gd name="T17" fmla="*/ 32 h 175"/>
                    <a:gd name="T18" fmla="*/ 32 w 125"/>
                    <a:gd name="T19" fmla="*/ 36 h 175"/>
                    <a:gd name="T20" fmla="*/ 36 w 125"/>
                    <a:gd name="T21" fmla="*/ 32 h 175"/>
                    <a:gd name="T22" fmla="*/ 41 w 125"/>
                    <a:gd name="T23" fmla="*/ 27 h 175"/>
                    <a:gd name="T24" fmla="*/ 50 w 125"/>
                    <a:gd name="T25" fmla="*/ 27 h 175"/>
                    <a:gd name="T26" fmla="*/ 45 w 125"/>
                    <a:gd name="T27" fmla="*/ 18 h 175"/>
                    <a:gd name="T28" fmla="*/ 45 w 125"/>
                    <a:gd name="T29" fmla="*/ 14 h 175"/>
                    <a:gd name="T30" fmla="*/ 58 w 125"/>
                    <a:gd name="T31" fmla="*/ 0 h 175"/>
                    <a:gd name="T32" fmla="*/ 58 w 125"/>
                    <a:gd name="T33" fmla="*/ 14 h 175"/>
                    <a:gd name="T34" fmla="*/ 67 w 125"/>
                    <a:gd name="T35" fmla="*/ 14 h 175"/>
                    <a:gd name="T36" fmla="*/ 72 w 125"/>
                    <a:gd name="T37" fmla="*/ 9 h 175"/>
                    <a:gd name="T38" fmla="*/ 67 w 125"/>
                    <a:gd name="T39" fmla="*/ 18 h 175"/>
                    <a:gd name="T40" fmla="*/ 63 w 125"/>
                    <a:gd name="T41" fmla="*/ 23 h 175"/>
                    <a:gd name="T42" fmla="*/ 72 w 125"/>
                    <a:gd name="T43" fmla="*/ 27 h 175"/>
                    <a:gd name="T44" fmla="*/ 76 w 125"/>
                    <a:gd name="T45" fmla="*/ 23 h 175"/>
                    <a:gd name="T46" fmla="*/ 90 w 125"/>
                    <a:gd name="T47" fmla="*/ 14 h 175"/>
                    <a:gd name="T48" fmla="*/ 94 w 125"/>
                    <a:gd name="T49" fmla="*/ 18 h 175"/>
                    <a:gd name="T50" fmla="*/ 108 w 125"/>
                    <a:gd name="T51" fmla="*/ 23 h 175"/>
                    <a:gd name="T52" fmla="*/ 112 w 125"/>
                    <a:gd name="T53" fmla="*/ 27 h 175"/>
                    <a:gd name="T54" fmla="*/ 112 w 125"/>
                    <a:gd name="T55" fmla="*/ 50 h 175"/>
                    <a:gd name="T56" fmla="*/ 121 w 125"/>
                    <a:gd name="T57" fmla="*/ 72 h 175"/>
                    <a:gd name="T58" fmla="*/ 125 w 125"/>
                    <a:gd name="T59" fmla="*/ 90 h 175"/>
                    <a:gd name="T60" fmla="*/ 121 w 125"/>
                    <a:gd name="T61" fmla="*/ 99 h 175"/>
                    <a:gd name="T62" fmla="*/ 103 w 125"/>
                    <a:gd name="T63" fmla="*/ 108 h 175"/>
                    <a:gd name="T64" fmla="*/ 90 w 125"/>
                    <a:gd name="T65" fmla="*/ 117 h 175"/>
                    <a:gd name="T66" fmla="*/ 90 w 125"/>
                    <a:gd name="T67" fmla="*/ 126 h 175"/>
                    <a:gd name="T68" fmla="*/ 103 w 125"/>
                    <a:gd name="T69" fmla="*/ 135 h 175"/>
                    <a:gd name="T70" fmla="*/ 112 w 125"/>
                    <a:gd name="T71" fmla="*/ 148 h 175"/>
                    <a:gd name="T72" fmla="*/ 99 w 125"/>
                    <a:gd name="T73" fmla="*/ 157 h 175"/>
                    <a:gd name="T74" fmla="*/ 103 w 125"/>
                    <a:gd name="T75" fmla="*/ 166 h 175"/>
                    <a:gd name="T76" fmla="*/ 94 w 125"/>
                    <a:gd name="T77" fmla="*/ 170 h 175"/>
                    <a:gd name="T78" fmla="*/ 54 w 125"/>
                    <a:gd name="T79" fmla="*/ 170 h 175"/>
                    <a:gd name="T80" fmla="*/ 36 w 125"/>
                    <a:gd name="T81" fmla="*/ 170 h 175"/>
                    <a:gd name="T82" fmla="*/ 27 w 125"/>
                    <a:gd name="T83" fmla="*/ 170 h 175"/>
                    <a:gd name="T84" fmla="*/ 32 w 125"/>
                    <a:gd name="T85" fmla="*/ 143 h 175"/>
                    <a:gd name="T86" fmla="*/ 23 w 125"/>
                    <a:gd name="T87" fmla="*/ 135 h 175"/>
                    <a:gd name="T88" fmla="*/ 9 w 125"/>
                    <a:gd name="T89" fmla="*/ 130 h 175"/>
                    <a:gd name="T90" fmla="*/ 5 w 125"/>
                    <a:gd name="T91" fmla="*/ 121 h 175"/>
                    <a:gd name="T92" fmla="*/ 103 w 125"/>
                    <a:gd name="T93" fmla="*/ 9 h 175"/>
                    <a:gd name="T94" fmla="*/ 108 w 125"/>
                    <a:gd name="T95" fmla="*/ 18 h 175"/>
                    <a:gd name="T96" fmla="*/ 103 w 125"/>
                    <a:gd name="T97" fmla="*/ 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175">
                      <a:moveTo>
                        <a:pt x="5" y="117"/>
                      </a:moveTo>
                      <a:lnTo>
                        <a:pt x="9" y="108"/>
                      </a:lnTo>
                      <a:lnTo>
                        <a:pt x="5" y="99"/>
                      </a:lnTo>
                      <a:lnTo>
                        <a:pt x="0" y="94"/>
                      </a:lnTo>
                      <a:lnTo>
                        <a:pt x="5" y="85"/>
                      </a:lnTo>
                      <a:lnTo>
                        <a:pt x="0" y="81"/>
                      </a:lnTo>
                      <a:lnTo>
                        <a:pt x="0" y="76"/>
                      </a:lnTo>
                      <a:lnTo>
                        <a:pt x="9" y="72"/>
                      </a:lnTo>
                      <a:lnTo>
                        <a:pt x="14" y="72"/>
                      </a:lnTo>
                      <a:lnTo>
                        <a:pt x="14" y="54"/>
                      </a:lnTo>
                      <a:lnTo>
                        <a:pt x="14" y="54"/>
                      </a:lnTo>
                      <a:lnTo>
                        <a:pt x="18" y="45"/>
                      </a:lnTo>
                      <a:lnTo>
                        <a:pt x="14" y="45"/>
                      </a:lnTo>
                      <a:lnTo>
                        <a:pt x="14" y="36"/>
                      </a:lnTo>
                      <a:lnTo>
                        <a:pt x="18" y="36"/>
                      </a:lnTo>
                      <a:lnTo>
                        <a:pt x="18" y="36"/>
                      </a:lnTo>
                      <a:lnTo>
                        <a:pt x="18" y="32"/>
                      </a:lnTo>
                      <a:lnTo>
                        <a:pt x="27" y="32"/>
                      </a:lnTo>
                      <a:lnTo>
                        <a:pt x="32" y="32"/>
                      </a:lnTo>
                      <a:lnTo>
                        <a:pt x="32" y="36"/>
                      </a:lnTo>
                      <a:lnTo>
                        <a:pt x="36" y="36"/>
                      </a:lnTo>
                      <a:lnTo>
                        <a:pt x="36" y="32"/>
                      </a:lnTo>
                      <a:lnTo>
                        <a:pt x="36" y="32"/>
                      </a:lnTo>
                      <a:lnTo>
                        <a:pt x="41" y="27"/>
                      </a:lnTo>
                      <a:lnTo>
                        <a:pt x="45" y="27"/>
                      </a:lnTo>
                      <a:lnTo>
                        <a:pt x="50" y="27"/>
                      </a:lnTo>
                      <a:lnTo>
                        <a:pt x="45" y="23"/>
                      </a:lnTo>
                      <a:lnTo>
                        <a:pt x="45" y="18"/>
                      </a:lnTo>
                      <a:lnTo>
                        <a:pt x="41" y="14"/>
                      </a:lnTo>
                      <a:lnTo>
                        <a:pt x="45" y="14"/>
                      </a:lnTo>
                      <a:lnTo>
                        <a:pt x="41" y="5"/>
                      </a:lnTo>
                      <a:lnTo>
                        <a:pt x="58" y="0"/>
                      </a:lnTo>
                      <a:lnTo>
                        <a:pt x="58" y="9"/>
                      </a:lnTo>
                      <a:lnTo>
                        <a:pt x="58" y="14"/>
                      </a:lnTo>
                      <a:lnTo>
                        <a:pt x="63" y="18"/>
                      </a:lnTo>
                      <a:lnTo>
                        <a:pt x="67" y="14"/>
                      </a:lnTo>
                      <a:lnTo>
                        <a:pt x="67" y="9"/>
                      </a:lnTo>
                      <a:lnTo>
                        <a:pt x="72" y="9"/>
                      </a:lnTo>
                      <a:lnTo>
                        <a:pt x="72" y="14"/>
                      </a:lnTo>
                      <a:lnTo>
                        <a:pt x="67" y="18"/>
                      </a:lnTo>
                      <a:lnTo>
                        <a:pt x="67" y="18"/>
                      </a:lnTo>
                      <a:lnTo>
                        <a:pt x="63" y="23"/>
                      </a:lnTo>
                      <a:lnTo>
                        <a:pt x="63" y="27"/>
                      </a:lnTo>
                      <a:lnTo>
                        <a:pt x="72" y="27"/>
                      </a:lnTo>
                      <a:lnTo>
                        <a:pt x="76" y="27"/>
                      </a:lnTo>
                      <a:lnTo>
                        <a:pt x="76" y="23"/>
                      </a:lnTo>
                      <a:lnTo>
                        <a:pt x="85" y="23"/>
                      </a:lnTo>
                      <a:lnTo>
                        <a:pt x="90" y="14"/>
                      </a:lnTo>
                      <a:lnTo>
                        <a:pt x="94" y="14"/>
                      </a:lnTo>
                      <a:lnTo>
                        <a:pt x="94" y="18"/>
                      </a:lnTo>
                      <a:lnTo>
                        <a:pt x="99" y="18"/>
                      </a:lnTo>
                      <a:lnTo>
                        <a:pt x="108" y="23"/>
                      </a:lnTo>
                      <a:lnTo>
                        <a:pt x="108" y="27"/>
                      </a:lnTo>
                      <a:lnTo>
                        <a:pt x="112" y="27"/>
                      </a:lnTo>
                      <a:lnTo>
                        <a:pt x="112" y="36"/>
                      </a:lnTo>
                      <a:lnTo>
                        <a:pt x="112" y="50"/>
                      </a:lnTo>
                      <a:lnTo>
                        <a:pt x="121" y="59"/>
                      </a:lnTo>
                      <a:lnTo>
                        <a:pt x="121" y="72"/>
                      </a:lnTo>
                      <a:lnTo>
                        <a:pt x="121" y="85"/>
                      </a:lnTo>
                      <a:lnTo>
                        <a:pt x="125" y="90"/>
                      </a:lnTo>
                      <a:lnTo>
                        <a:pt x="125" y="99"/>
                      </a:lnTo>
                      <a:lnTo>
                        <a:pt x="121" y="99"/>
                      </a:lnTo>
                      <a:lnTo>
                        <a:pt x="117" y="108"/>
                      </a:lnTo>
                      <a:lnTo>
                        <a:pt x="103" y="108"/>
                      </a:lnTo>
                      <a:lnTo>
                        <a:pt x="94" y="117"/>
                      </a:lnTo>
                      <a:lnTo>
                        <a:pt x="90" y="117"/>
                      </a:lnTo>
                      <a:lnTo>
                        <a:pt x="85" y="117"/>
                      </a:lnTo>
                      <a:lnTo>
                        <a:pt x="90" y="126"/>
                      </a:lnTo>
                      <a:lnTo>
                        <a:pt x="94" y="135"/>
                      </a:lnTo>
                      <a:lnTo>
                        <a:pt x="103" y="135"/>
                      </a:lnTo>
                      <a:lnTo>
                        <a:pt x="112" y="143"/>
                      </a:lnTo>
                      <a:lnTo>
                        <a:pt x="112" y="148"/>
                      </a:lnTo>
                      <a:lnTo>
                        <a:pt x="108" y="152"/>
                      </a:lnTo>
                      <a:lnTo>
                        <a:pt x="99" y="157"/>
                      </a:lnTo>
                      <a:lnTo>
                        <a:pt x="94" y="161"/>
                      </a:lnTo>
                      <a:lnTo>
                        <a:pt x="103" y="166"/>
                      </a:lnTo>
                      <a:lnTo>
                        <a:pt x="99" y="175"/>
                      </a:lnTo>
                      <a:lnTo>
                        <a:pt x="94" y="170"/>
                      </a:lnTo>
                      <a:lnTo>
                        <a:pt x="76" y="175"/>
                      </a:lnTo>
                      <a:lnTo>
                        <a:pt x="54" y="170"/>
                      </a:lnTo>
                      <a:lnTo>
                        <a:pt x="45" y="170"/>
                      </a:lnTo>
                      <a:lnTo>
                        <a:pt x="36" y="170"/>
                      </a:lnTo>
                      <a:lnTo>
                        <a:pt x="27" y="175"/>
                      </a:lnTo>
                      <a:lnTo>
                        <a:pt x="27" y="170"/>
                      </a:lnTo>
                      <a:lnTo>
                        <a:pt x="27" y="157"/>
                      </a:lnTo>
                      <a:lnTo>
                        <a:pt x="32" y="143"/>
                      </a:lnTo>
                      <a:lnTo>
                        <a:pt x="27" y="135"/>
                      </a:lnTo>
                      <a:lnTo>
                        <a:pt x="23" y="135"/>
                      </a:lnTo>
                      <a:lnTo>
                        <a:pt x="9" y="139"/>
                      </a:lnTo>
                      <a:lnTo>
                        <a:pt x="9" y="130"/>
                      </a:lnTo>
                      <a:lnTo>
                        <a:pt x="9" y="126"/>
                      </a:lnTo>
                      <a:lnTo>
                        <a:pt x="5" y="121"/>
                      </a:lnTo>
                      <a:lnTo>
                        <a:pt x="5" y="117"/>
                      </a:lnTo>
                      <a:close/>
                      <a:moveTo>
                        <a:pt x="103" y="9"/>
                      </a:moveTo>
                      <a:lnTo>
                        <a:pt x="99" y="18"/>
                      </a:lnTo>
                      <a:lnTo>
                        <a:pt x="108" y="18"/>
                      </a:lnTo>
                      <a:lnTo>
                        <a:pt x="108" y="14"/>
                      </a:lnTo>
                      <a:lnTo>
                        <a:pt x="103" y="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79" name="Freeform 184"/>
                <p:cNvSpPr>
                  <a:spLocks noEditPoints="1"/>
                </p:cNvSpPr>
                <p:nvPr/>
              </p:nvSpPr>
              <p:spPr bwMode="gray">
                <a:xfrm>
                  <a:off x="3013" y="2113"/>
                  <a:ext cx="117" cy="126"/>
                </a:xfrm>
                <a:custGeom>
                  <a:avLst/>
                  <a:gdLst>
                    <a:gd name="T0" fmla="*/ 9 w 117"/>
                    <a:gd name="T1" fmla="*/ 45 h 126"/>
                    <a:gd name="T2" fmla="*/ 14 w 117"/>
                    <a:gd name="T3" fmla="*/ 63 h 126"/>
                    <a:gd name="T4" fmla="*/ 41 w 117"/>
                    <a:gd name="T5" fmla="*/ 63 h 126"/>
                    <a:gd name="T6" fmla="*/ 41 w 117"/>
                    <a:gd name="T7" fmla="*/ 72 h 126"/>
                    <a:gd name="T8" fmla="*/ 14 w 117"/>
                    <a:gd name="T9" fmla="*/ 67 h 126"/>
                    <a:gd name="T10" fmla="*/ 23 w 117"/>
                    <a:gd name="T11" fmla="*/ 94 h 126"/>
                    <a:gd name="T12" fmla="*/ 36 w 117"/>
                    <a:gd name="T13" fmla="*/ 94 h 126"/>
                    <a:gd name="T14" fmla="*/ 41 w 117"/>
                    <a:gd name="T15" fmla="*/ 99 h 126"/>
                    <a:gd name="T16" fmla="*/ 41 w 117"/>
                    <a:gd name="T17" fmla="*/ 81 h 126"/>
                    <a:gd name="T18" fmla="*/ 50 w 117"/>
                    <a:gd name="T19" fmla="*/ 81 h 126"/>
                    <a:gd name="T20" fmla="*/ 54 w 117"/>
                    <a:gd name="T21" fmla="*/ 76 h 126"/>
                    <a:gd name="T22" fmla="*/ 45 w 117"/>
                    <a:gd name="T23" fmla="*/ 59 h 126"/>
                    <a:gd name="T24" fmla="*/ 36 w 117"/>
                    <a:gd name="T25" fmla="*/ 50 h 126"/>
                    <a:gd name="T26" fmla="*/ 36 w 117"/>
                    <a:gd name="T27" fmla="*/ 27 h 126"/>
                    <a:gd name="T28" fmla="*/ 45 w 117"/>
                    <a:gd name="T29" fmla="*/ 32 h 126"/>
                    <a:gd name="T30" fmla="*/ 58 w 117"/>
                    <a:gd name="T31" fmla="*/ 27 h 126"/>
                    <a:gd name="T32" fmla="*/ 72 w 117"/>
                    <a:gd name="T33" fmla="*/ 9 h 126"/>
                    <a:gd name="T34" fmla="*/ 72 w 117"/>
                    <a:gd name="T35" fmla="*/ 5 h 126"/>
                    <a:gd name="T36" fmla="*/ 45 w 117"/>
                    <a:gd name="T37" fmla="*/ 5 h 126"/>
                    <a:gd name="T38" fmla="*/ 27 w 117"/>
                    <a:gd name="T39" fmla="*/ 14 h 126"/>
                    <a:gd name="T40" fmla="*/ 5 w 117"/>
                    <a:gd name="T41" fmla="*/ 41 h 126"/>
                    <a:gd name="T42" fmla="*/ 54 w 117"/>
                    <a:gd name="T43" fmla="*/ 59 h 126"/>
                    <a:gd name="T44" fmla="*/ 67 w 117"/>
                    <a:gd name="T45" fmla="*/ 72 h 126"/>
                    <a:gd name="T46" fmla="*/ 58 w 117"/>
                    <a:gd name="T47" fmla="*/ 54 h 126"/>
                    <a:gd name="T48" fmla="*/ 41 w 117"/>
                    <a:gd name="T49" fmla="*/ 50 h 126"/>
                    <a:gd name="T50" fmla="*/ 50 w 117"/>
                    <a:gd name="T51" fmla="*/ 112 h 126"/>
                    <a:gd name="T52" fmla="*/ 63 w 117"/>
                    <a:gd name="T53" fmla="*/ 126 h 126"/>
                    <a:gd name="T54" fmla="*/ 81 w 117"/>
                    <a:gd name="T55" fmla="*/ 117 h 126"/>
                    <a:gd name="T56" fmla="*/ 63 w 117"/>
                    <a:gd name="T57" fmla="*/ 112 h 126"/>
                    <a:gd name="T58" fmla="*/ 58 w 117"/>
                    <a:gd name="T59" fmla="*/ 90 h 126"/>
                    <a:gd name="T60" fmla="*/ 58 w 117"/>
                    <a:gd name="T61" fmla="*/ 90 h 126"/>
                    <a:gd name="T62" fmla="*/ 72 w 117"/>
                    <a:gd name="T63" fmla="*/ 85 h 126"/>
                    <a:gd name="T64" fmla="*/ 76 w 117"/>
                    <a:gd name="T65" fmla="*/ 81 h 126"/>
                    <a:gd name="T66" fmla="*/ 81 w 117"/>
                    <a:gd name="T67" fmla="*/ 90 h 126"/>
                    <a:gd name="T68" fmla="*/ 81 w 117"/>
                    <a:gd name="T69" fmla="*/ 90 h 126"/>
                    <a:gd name="T70" fmla="*/ 85 w 117"/>
                    <a:gd name="T71" fmla="*/ 45 h 126"/>
                    <a:gd name="T72" fmla="*/ 90 w 117"/>
                    <a:gd name="T73" fmla="*/ 45 h 126"/>
                    <a:gd name="T74" fmla="*/ 81 w 117"/>
                    <a:gd name="T75" fmla="*/ 76 h 126"/>
                    <a:gd name="T76" fmla="*/ 81 w 117"/>
                    <a:gd name="T77" fmla="*/ 76 h 126"/>
                    <a:gd name="T78" fmla="*/ 85 w 117"/>
                    <a:gd name="T79" fmla="*/ 63 h 126"/>
                    <a:gd name="T80" fmla="*/ 112 w 117"/>
                    <a:gd name="T81" fmla="*/ 99 h 126"/>
                    <a:gd name="T82" fmla="*/ 112 w 117"/>
                    <a:gd name="T83" fmla="*/ 108 h 126"/>
                    <a:gd name="T84" fmla="*/ 112 w 117"/>
                    <a:gd name="T85" fmla="*/ 9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126">
                      <a:moveTo>
                        <a:pt x="0" y="41"/>
                      </a:moveTo>
                      <a:lnTo>
                        <a:pt x="5" y="45"/>
                      </a:lnTo>
                      <a:lnTo>
                        <a:pt x="9" y="45"/>
                      </a:lnTo>
                      <a:lnTo>
                        <a:pt x="14" y="50"/>
                      </a:lnTo>
                      <a:lnTo>
                        <a:pt x="9" y="50"/>
                      </a:lnTo>
                      <a:lnTo>
                        <a:pt x="14" y="63"/>
                      </a:lnTo>
                      <a:lnTo>
                        <a:pt x="18" y="59"/>
                      </a:lnTo>
                      <a:lnTo>
                        <a:pt x="36" y="59"/>
                      </a:lnTo>
                      <a:lnTo>
                        <a:pt x="41" y="63"/>
                      </a:lnTo>
                      <a:lnTo>
                        <a:pt x="41" y="67"/>
                      </a:lnTo>
                      <a:lnTo>
                        <a:pt x="45" y="72"/>
                      </a:lnTo>
                      <a:lnTo>
                        <a:pt x="41" y="72"/>
                      </a:lnTo>
                      <a:lnTo>
                        <a:pt x="27" y="63"/>
                      </a:lnTo>
                      <a:lnTo>
                        <a:pt x="23" y="63"/>
                      </a:lnTo>
                      <a:lnTo>
                        <a:pt x="14" y="67"/>
                      </a:lnTo>
                      <a:lnTo>
                        <a:pt x="18" y="76"/>
                      </a:lnTo>
                      <a:lnTo>
                        <a:pt x="23" y="85"/>
                      </a:lnTo>
                      <a:lnTo>
                        <a:pt x="23" y="94"/>
                      </a:lnTo>
                      <a:lnTo>
                        <a:pt x="27" y="85"/>
                      </a:lnTo>
                      <a:lnTo>
                        <a:pt x="32" y="99"/>
                      </a:lnTo>
                      <a:lnTo>
                        <a:pt x="36" y="94"/>
                      </a:lnTo>
                      <a:lnTo>
                        <a:pt x="36" y="90"/>
                      </a:lnTo>
                      <a:lnTo>
                        <a:pt x="41" y="94"/>
                      </a:lnTo>
                      <a:lnTo>
                        <a:pt x="41" y="99"/>
                      </a:lnTo>
                      <a:lnTo>
                        <a:pt x="45" y="94"/>
                      </a:lnTo>
                      <a:lnTo>
                        <a:pt x="45" y="90"/>
                      </a:lnTo>
                      <a:lnTo>
                        <a:pt x="41" y="81"/>
                      </a:lnTo>
                      <a:lnTo>
                        <a:pt x="41" y="76"/>
                      </a:lnTo>
                      <a:lnTo>
                        <a:pt x="45" y="81"/>
                      </a:lnTo>
                      <a:lnTo>
                        <a:pt x="50" y="81"/>
                      </a:lnTo>
                      <a:lnTo>
                        <a:pt x="45" y="76"/>
                      </a:lnTo>
                      <a:lnTo>
                        <a:pt x="50" y="72"/>
                      </a:lnTo>
                      <a:lnTo>
                        <a:pt x="54" y="76"/>
                      </a:lnTo>
                      <a:lnTo>
                        <a:pt x="58" y="72"/>
                      </a:lnTo>
                      <a:lnTo>
                        <a:pt x="54" y="63"/>
                      </a:lnTo>
                      <a:lnTo>
                        <a:pt x="45" y="59"/>
                      </a:lnTo>
                      <a:lnTo>
                        <a:pt x="41" y="54"/>
                      </a:lnTo>
                      <a:lnTo>
                        <a:pt x="32" y="50"/>
                      </a:lnTo>
                      <a:lnTo>
                        <a:pt x="36" y="50"/>
                      </a:lnTo>
                      <a:lnTo>
                        <a:pt x="41" y="45"/>
                      </a:lnTo>
                      <a:lnTo>
                        <a:pt x="45" y="45"/>
                      </a:lnTo>
                      <a:lnTo>
                        <a:pt x="36" y="27"/>
                      </a:lnTo>
                      <a:lnTo>
                        <a:pt x="36" y="18"/>
                      </a:lnTo>
                      <a:lnTo>
                        <a:pt x="41" y="27"/>
                      </a:lnTo>
                      <a:lnTo>
                        <a:pt x="45" y="32"/>
                      </a:lnTo>
                      <a:lnTo>
                        <a:pt x="54" y="32"/>
                      </a:lnTo>
                      <a:lnTo>
                        <a:pt x="54" y="23"/>
                      </a:lnTo>
                      <a:lnTo>
                        <a:pt x="58" y="27"/>
                      </a:lnTo>
                      <a:lnTo>
                        <a:pt x="50" y="18"/>
                      </a:lnTo>
                      <a:lnTo>
                        <a:pt x="58" y="9"/>
                      </a:lnTo>
                      <a:lnTo>
                        <a:pt x="72" y="9"/>
                      </a:lnTo>
                      <a:lnTo>
                        <a:pt x="85" y="9"/>
                      </a:lnTo>
                      <a:lnTo>
                        <a:pt x="85" y="5"/>
                      </a:lnTo>
                      <a:lnTo>
                        <a:pt x="72" y="5"/>
                      </a:lnTo>
                      <a:lnTo>
                        <a:pt x="63" y="0"/>
                      </a:lnTo>
                      <a:lnTo>
                        <a:pt x="54" y="5"/>
                      </a:lnTo>
                      <a:lnTo>
                        <a:pt x="45" y="5"/>
                      </a:lnTo>
                      <a:lnTo>
                        <a:pt x="36" y="9"/>
                      </a:lnTo>
                      <a:lnTo>
                        <a:pt x="32" y="9"/>
                      </a:lnTo>
                      <a:lnTo>
                        <a:pt x="27" y="14"/>
                      </a:lnTo>
                      <a:lnTo>
                        <a:pt x="18" y="18"/>
                      </a:lnTo>
                      <a:lnTo>
                        <a:pt x="5" y="32"/>
                      </a:lnTo>
                      <a:lnTo>
                        <a:pt x="5" y="41"/>
                      </a:lnTo>
                      <a:lnTo>
                        <a:pt x="0" y="41"/>
                      </a:lnTo>
                      <a:close/>
                      <a:moveTo>
                        <a:pt x="41" y="50"/>
                      </a:moveTo>
                      <a:lnTo>
                        <a:pt x="54" y="59"/>
                      </a:lnTo>
                      <a:lnTo>
                        <a:pt x="58" y="67"/>
                      </a:lnTo>
                      <a:lnTo>
                        <a:pt x="67" y="72"/>
                      </a:lnTo>
                      <a:lnTo>
                        <a:pt x="67" y="72"/>
                      </a:lnTo>
                      <a:lnTo>
                        <a:pt x="58" y="63"/>
                      </a:lnTo>
                      <a:lnTo>
                        <a:pt x="58" y="59"/>
                      </a:lnTo>
                      <a:lnTo>
                        <a:pt x="58" y="54"/>
                      </a:lnTo>
                      <a:lnTo>
                        <a:pt x="50" y="54"/>
                      </a:lnTo>
                      <a:lnTo>
                        <a:pt x="45" y="50"/>
                      </a:lnTo>
                      <a:lnTo>
                        <a:pt x="41" y="50"/>
                      </a:lnTo>
                      <a:close/>
                      <a:moveTo>
                        <a:pt x="58" y="108"/>
                      </a:moveTo>
                      <a:lnTo>
                        <a:pt x="54" y="108"/>
                      </a:lnTo>
                      <a:lnTo>
                        <a:pt x="50" y="112"/>
                      </a:lnTo>
                      <a:lnTo>
                        <a:pt x="50" y="117"/>
                      </a:lnTo>
                      <a:lnTo>
                        <a:pt x="63" y="117"/>
                      </a:lnTo>
                      <a:lnTo>
                        <a:pt x="63" y="126"/>
                      </a:lnTo>
                      <a:lnTo>
                        <a:pt x="90" y="121"/>
                      </a:lnTo>
                      <a:lnTo>
                        <a:pt x="90" y="112"/>
                      </a:lnTo>
                      <a:lnTo>
                        <a:pt x="81" y="117"/>
                      </a:lnTo>
                      <a:lnTo>
                        <a:pt x="81" y="112"/>
                      </a:lnTo>
                      <a:lnTo>
                        <a:pt x="67" y="112"/>
                      </a:lnTo>
                      <a:lnTo>
                        <a:pt x="63" y="112"/>
                      </a:lnTo>
                      <a:lnTo>
                        <a:pt x="58" y="108"/>
                      </a:lnTo>
                      <a:close/>
                      <a:moveTo>
                        <a:pt x="58" y="90"/>
                      </a:moveTo>
                      <a:lnTo>
                        <a:pt x="58" y="90"/>
                      </a:lnTo>
                      <a:lnTo>
                        <a:pt x="58" y="94"/>
                      </a:lnTo>
                      <a:lnTo>
                        <a:pt x="63" y="90"/>
                      </a:lnTo>
                      <a:lnTo>
                        <a:pt x="58" y="90"/>
                      </a:lnTo>
                      <a:close/>
                      <a:moveTo>
                        <a:pt x="72" y="81"/>
                      </a:moveTo>
                      <a:lnTo>
                        <a:pt x="72" y="85"/>
                      </a:lnTo>
                      <a:lnTo>
                        <a:pt x="72" y="85"/>
                      </a:lnTo>
                      <a:lnTo>
                        <a:pt x="76" y="85"/>
                      </a:lnTo>
                      <a:lnTo>
                        <a:pt x="76" y="85"/>
                      </a:lnTo>
                      <a:lnTo>
                        <a:pt x="76" y="81"/>
                      </a:lnTo>
                      <a:lnTo>
                        <a:pt x="72" y="85"/>
                      </a:lnTo>
                      <a:lnTo>
                        <a:pt x="72" y="81"/>
                      </a:lnTo>
                      <a:close/>
                      <a:moveTo>
                        <a:pt x="81" y="90"/>
                      </a:moveTo>
                      <a:lnTo>
                        <a:pt x="81" y="90"/>
                      </a:lnTo>
                      <a:lnTo>
                        <a:pt x="85" y="85"/>
                      </a:lnTo>
                      <a:lnTo>
                        <a:pt x="81" y="90"/>
                      </a:lnTo>
                      <a:close/>
                      <a:moveTo>
                        <a:pt x="81" y="41"/>
                      </a:moveTo>
                      <a:lnTo>
                        <a:pt x="81" y="41"/>
                      </a:lnTo>
                      <a:lnTo>
                        <a:pt x="85" y="45"/>
                      </a:lnTo>
                      <a:lnTo>
                        <a:pt x="90" y="45"/>
                      </a:lnTo>
                      <a:lnTo>
                        <a:pt x="90" y="50"/>
                      </a:lnTo>
                      <a:lnTo>
                        <a:pt x="90" y="45"/>
                      </a:lnTo>
                      <a:lnTo>
                        <a:pt x="90" y="41"/>
                      </a:lnTo>
                      <a:lnTo>
                        <a:pt x="81" y="41"/>
                      </a:lnTo>
                      <a:close/>
                      <a:moveTo>
                        <a:pt x="81" y="76"/>
                      </a:moveTo>
                      <a:lnTo>
                        <a:pt x="85" y="76"/>
                      </a:lnTo>
                      <a:lnTo>
                        <a:pt x="90" y="76"/>
                      </a:lnTo>
                      <a:lnTo>
                        <a:pt x="81" y="76"/>
                      </a:lnTo>
                      <a:close/>
                      <a:moveTo>
                        <a:pt x="85" y="54"/>
                      </a:moveTo>
                      <a:lnTo>
                        <a:pt x="81" y="59"/>
                      </a:lnTo>
                      <a:lnTo>
                        <a:pt x="85" y="63"/>
                      </a:lnTo>
                      <a:lnTo>
                        <a:pt x="85" y="59"/>
                      </a:lnTo>
                      <a:lnTo>
                        <a:pt x="85" y="54"/>
                      </a:lnTo>
                      <a:close/>
                      <a:moveTo>
                        <a:pt x="112" y="99"/>
                      </a:moveTo>
                      <a:lnTo>
                        <a:pt x="108" y="103"/>
                      </a:lnTo>
                      <a:lnTo>
                        <a:pt x="108" y="112"/>
                      </a:lnTo>
                      <a:lnTo>
                        <a:pt x="112" y="108"/>
                      </a:lnTo>
                      <a:lnTo>
                        <a:pt x="117" y="108"/>
                      </a:lnTo>
                      <a:lnTo>
                        <a:pt x="117" y="99"/>
                      </a:lnTo>
                      <a:lnTo>
                        <a:pt x="112" y="9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80" name="Freeform 185"/>
                <p:cNvSpPr>
                  <a:spLocks/>
                </p:cNvSpPr>
                <p:nvPr/>
              </p:nvSpPr>
              <p:spPr bwMode="gray">
                <a:xfrm>
                  <a:off x="2955" y="1966"/>
                  <a:ext cx="99" cy="63"/>
                </a:xfrm>
                <a:custGeom>
                  <a:avLst/>
                  <a:gdLst>
                    <a:gd name="T0" fmla="*/ 0 w 99"/>
                    <a:gd name="T1" fmla="*/ 40 h 63"/>
                    <a:gd name="T2" fmla="*/ 5 w 99"/>
                    <a:gd name="T3" fmla="*/ 36 h 63"/>
                    <a:gd name="T4" fmla="*/ 5 w 99"/>
                    <a:gd name="T5" fmla="*/ 31 h 63"/>
                    <a:gd name="T6" fmla="*/ 5 w 99"/>
                    <a:gd name="T7" fmla="*/ 27 h 63"/>
                    <a:gd name="T8" fmla="*/ 5 w 99"/>
                    <a:gd name="T9" fmla="*/ 22 h 63"/>
                    <a:gd name="T10" fmla="*/ 14 w 99"/>
                    <a:gd name="T11" fmla="*/ 22 h 63"/>
                    <a:gd name="T12" fmla="*/ 18 w 99"/>
                    <a:gd name="T13" fmla="*/ 13 h 63"/>
                    <a:gd name="T14" fmla="*/ 18 w 99"/>
                    <a:gd name="T15" fmla="*/ 9 h 63"/>
                    <a:gd name="T16" fmla="*/ 23 w 99"/>
                    <a:gd name="T17" fmla="*/ 13 h 63"/>
                    <a:gd name="T18" fmla="*/ 41 w 99"/>
                    <a:gd name="T19" fmla="*/ 13 h 63"/>
                    <a:gd name="T20" fmla="*/ 45 w 99"/>
                    <a:gd name="T21" fmla="*/ 9 h 63"/>
                    <a:gd name="T22" fmla="*/ 54 w 99"/>
                    <a:gd name="T23" fmla="*/ 9 h 63"/>
                    <a:gd name="T24" fmla="*/ 63 w 99"/>
                    <a:gd name="T25" fmla="*/ 0 h 63"/>
                    <a:gd name="T26" fmla="*/ 72 w 99"/>
                    <a:gd name="T27" fmla="*/ 4 h 63"/>
                    <a:gd name="T28" fmla="*/ 76 w 99"/>
                    <a:gd name="T29" fmla="*/ 0 h 63"/>
                    <a:gd name="T30" fmla="*/ 81 w 99"/>
                    <a:gd name="T31" fmla="*/ 4 h 63"/>
                    <a:gd name="T32" fmla="*/ 90 w 99"/>
                    <a:gd name="T33" fmla="*/ 4 h 63"/>
                    <a:gd name="T34" fmla="*/ 99 w 99"/>
                    <a:gd name="T35" fmla="*/ 18 h 63"/>
                    <a:gd name="T36" fmla="*/ 99 w 99"/>
                    <a:gd name="T37" fmla="*/ 22 h 63"/>
                    <a:gd name="T38" fmla="*/ 85 w 99"/>
                    <a:gd name="T39" fmla="*/ 27 h 63"/>
                    <a:gd name="T40" fmla="*/ 76 w 99"/>
                    <a:gd name="T41" fmla="*/ 45 h 63"/>
                    <a:gd name="T42" fmla="*/ 76 w 99"/>
                    <a:gd name="T43" fmla="*/ 49 h 63"/>
                    <a:gd name="T44" fmla="*/ 67 w 99"/>
                    <a:gd name="T45" fmla="*/ 54 h 63"/>
                    <a:gd name="T46" fmla="*/ 63 w 99"/>
                    <a:gd name="T47" fmla="*/ 54 h 63"/>
                    <a:gd name="T48" fmla="*/ 49 w 99"/>
                    <a:gd name="T49" fmla="*/ 54 h 63"/>
                    <a:gd name="T50" fmla="*/ 36 w 99"/>
                    <a:gd name="T51" fmla="*/ 58 h 63"/>
                    <a:gd name="T52" fmla="*/ 27 w 99"/>
                    <a:gd name="T53" fmla="*/ 63 h 63"/>
                    <a:gd name="T54" fmla="*/ 9 w 99"/>
                    <a:gd name="T55" fmla="*/ 58 h 63"/>
                    <a:gd name="T56" fmla="*/ 5 w 99"/>
                    <a:gd name="T57" fmla="*/ 49 h 63"/>
                    <a:gd name="T58" fmla="*/ 5 w 99"/>
                    <a:gd name="T59" fmla="*/ 49 h 63"/>
                    <a:gd name="T60" fmla="*/ 0 w 99"/>
                    <a:gd name="T61"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63">
                      <a:moveTo>
                        <a:pt x="0" y="40"/>
                      </a:moveTo>
                      <a:lnTo>
                        <a:pt x="5" y="36"/>
                      </a:lnTo>
                      <a:lnTo>
                        <a:pt x="5" y="31"/>
                      </a:lnTo>
                      <a:lnTo>
                        <a:pt x="5" y="27"/>
                      </a:lnTo>
                      <a:lnTo>
                        <a:pt x="5" y="22"/>
                      </a:lnTo>
                      <a:lnTo>
                        <a:pt x="14" y="22"/>
                      </a:lnTo>
                      <a:lnTo>
                        <a:pt x="18" y="13"/>
                      </a:lnTo>
                      <a:lnTo>
                        <a:pt x="18" y="9"/>
                      </a:lnTo>
                      <a:lnTo>
                        <a:pt x="23" y="13"/>
                      </a:lnTo>
                      <a:lnTo>
                        <a:pt x="41" y="13"/>
                      </a:lnTo>
                      <a:lnTo>
                        <a:pt x="45" y="9"/>
                      </a:lnTo>
                      <a:lnTo>
                        <a:pt x="54" y="9"/>
                      </a:lnTo>
                      <a:lnTo>
                        <a:pt x="63" y="0"/>
                      </a:lnTo>
                      <a:lnTo>
                        <a:pt x="72" y="4"/>
                      </a:lnTo>
                      <a:lnTo>
                        <a:pt x="76" y="0"/>
                      </a:lnTo>
                      <a:lnTo>
                        <a:pt x="81" y="4"/>
                      </a:lnTo>
                      <a:lnTo>
                        <a:pt x="90" y="4"/>
                      </a:lnTo>
                      <a:lnTo>
                        <a:pt x="99" y="18"/>
                      </a:lnTo>
                      <a:lnTo>
                        <a:pt x="99" y="22"/>
                      </a:lnTo>
                      <a:lnTo>
                        <a:pt x="85" y="27"/>
                      </a:lnTo>
                      <a:lnTo>
                        <a:pt x="76" y="45"/>
                      </a:lnTo>
                      <a:lnTo>
                        <a:pt x="76" y="49"/>
                      </a:lnTo>
                      <a:lnTo>
                        <a:pt x="67" y="54"/>
                      </a:lnTo>
                      <a:lnTo>
                        <a:pt x="63" y="54"/>
                      </a:lnTo>
                      <a:lnTo>
                        <a:pt x="49" y="54"/>
                      </a:lnTo>
                      <a:lnTo>
                        <a:pt x="36" y="58"/>
                      </a:lnTo>
                      <a:lnTo>
                        <a:pt x="27" y="63"/>
                      </a:lnTo>
                      <a:lnTo>
                        <a:pt x="9" y="58"/>
                      </a:lnTo>
                      <a:lnTo>
                        <a:pt x="5" y="49"/>
                      </a:lnTo>
                      <a:lnTo>
                        <a:pt x="5" y="49"/>
                      </a:lnTo>
                      <a:lnTo>
                        <a:pt x="0" y="4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81" name="Freeform 186"/>
                <p:cNvSpPr>
                  <a:spLocks/>
                </p:cNvSpPr>
                <p:nvPr/>
              </p:nvSpPr>
              <p:spPr bwMode="gray">
                <a:xfrm>
                  <a:off x="2379" y="1470"/>
                  <a:ext cx="156" cy="103"/>
                </a:xfrm>
                <a:custGeom>
                  <a:avLst/>
                  <a:gdLst>
                    <a:gd name="T0" fmla="*/ 45 w 156"/>
                    <a:gd name="T1" fmla="*/ 85 h 103"/>
                    <a:gd name="T2" fmla="*/ 81 w 156"/>
                    <a:gd name="T3" fmla="*/ 103 h 103"/>
                    <a:gd name="T4" fmla="*/ 98 w 156"/>
                    <a:gd name="T5" fmla="*/ 89 h 103"/>
                    <a:gd name="T6" fmla="*/ 121 w 156"/>
                    <a:gd name="T7" fmla="*/ 76 h 103"/>
                    <a:gd name="T8" fmla="*/ 134 w 156"/>
                    <a:gd name="T9" fmla="*/ 71 h 103"/>
                    <a:gd name="T10" fmla="*/ 148 w 156"/>
                    <a:gd name="T11" fmla="*/ 62 h 103"/>
                    <a:gd name="T12" fmla="*/ 152 w 156"/>
                    <a:gd name="T13" fmla="*/ 54 h 103"/>
                    <a:gd name="T14" fmla="*/ 152 w 156"/>
                    <a:gd name="T15" fmla="*/ 45 h 103"/>
                    <a:gd name="T16" fmla="*/ 148 w 156"/>
                    <a:gd name="T17" fmla="*/ 31 h 103"/>
                    <a:gd name="T18" fmla="*/ 143 w 156"/>
                    <a:gd name="T19" fmla="*/ 27 h 103"/>
                    <a:gd name="T20" fmla="*/ 143 w 156"/>
                    <a:gd name="T21" fmla="*/ 18 h 103"/>
                    <a:gd name="T22" fmla="*/ 134 w 156"/>
                    <a:gd name="T23" fmla="*/ 13 h 103"/>
                    <a:gd name="T24" fmla="*/ 139 w 156"/>
                    <a:gd name="T25" fmla="*/ 0 h 103"/>
                    <a:gd name="T26" fmla="*/ 125 w 156"/>
                    <a:gd name="T27" fmla="*/ 9 h 103"/>
                    <a:gd name="T28" fmla="*/ 107 w 156"/>
                    <a:gd name="T29" fmla="*/ 0 h 103"/>
                    <a:gd name="T30" fmla="*/ 107 w 156"/>
                    <a:gd name="T31" fmla="*/ 13 h 103"/>
                    <a:gd name="T32" fmla="*/ 98 w 156"/>
                    <a:gd name="T33" fmla="*/ 18 h 103"/>
                    <a:gd name="T34" fmla="*/ 85 w 156"/>
                    <a:gd name="T35" fmla="*/ 13 h 103"/>
                    <a:gd name="T36" fmla="*/ 76 w 156"/>
                    <a:gd name="T37" fmla="*/ 13 h 103"/>
                    <a:gd name="T38" fmla="*/ 72 w 156"/>
                    <a:gd name="T39" fmla="*/ 27 h 103"/>
                    <a:gd name="T40" fmla="*/ 58 w 156"/>
                    <a:gd name="T41" fmla="*/ 13 h 103"/>
                    <a:gd name="T42" fmla="*/ 54 w 156"/>
                    <a:gd name="T43" fmla="*/ 31 h 103"/>
                    <a:gd name="T44" fmla="*/ 40 w 156"/>
                    <a:gd name="T45" fmla="*/ 27 h 103"/>
                    <a:gd name="T46" fmla="*/ 45 w 156"/>
                    <a:gd name="T47" fmla="*/ 13 h 103"/>
                    <a:gd name="T48" fmla="*/ 18 w 156"/>
                    <a:gd name="T49" fmla="*/ 0 h 103"/>
                    <a:gd name="T50" fmla="*/ 22 w 156"/>
                    <a:gd name="T51" fmla="*/ 9 h 103"/>
                    <a:gd name="T52" fmla="*/ 22 w 156"/>
                    <a:gd name="T53" fmla="*/ 13 h 103"/>
                    <a:gd name="T54" fmla="*/ 9 w 156"/>
                    <a:gd name="T55" fmla="*/ 13 h 103"/>
                    <a:gd name="T56" fmla="*/ 14 w 156"/>
                    <a:gd name="T57" fmla="*/ 27 h 103"/>
                    <a:gd name="T58" fmla="*/ 9 w 156"/>
                    <a:gd name="T59" fmla="*/ 31 h 103"/>
                    <a:gd name="T60" fmla="*/ 0 w 156"/>
                    <a:gd name="T61" fmla="*/ 36 h 103"/>
                    <a:gd name="T62" fmla="*/ 27 w 156"/>
                    <a:gd name="T63" fmla="*/ 36 h 103"/>
                    <a:gd name="T64" fmla="*/ 31 w 156"/>
                    <a:gd name="T65" fmla="*/ 45 h 103"/>
                    <a:gd name="T66" fmla="*/ 27 w 156"/>
                    <a:gd name="T67" fmla="*/ 49 h 103"/>
                    <a:gd name="T68" fmla="*/ 9 w 156"/>
                    <a:gd name="T69" fmla="*/ 67 h 103"/>
                    <a:gd name="T70" fmla="*/ 31 w 156"/>
                    <a:gd name="T71" fmla="*/ 62 h 103"/>
                    <a:gd name="T72" fmla="*/ 36 w 156"/>
                    <a:gd name="T73" fmla="*/ 62 h 103"/>
                    <a:gd name="T74" fmla="*/ 22 w 156"/>
                    <a:gd name="T75" fmla="*/ 8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03">
                      <a:moveTo>
                        <a:pt x="27" y="89"/>
                      </a:moveTo>
                      <a:lnTo>
                        <a:pt x="45" y="85"/>
                      </a:lnTo>
                      <a:lnTo>
                        <a:pt x="63" y="98"/>
                      </a:lnTo>
                      <a:lnTo>
                        <a:pt x="81" y="103"/>
                      </a:lnTo>
                      <a:lnTo>
                        <a:pt x="94" y="98"/>
                      </a:lnTo>
                      <a:lnTo>
                        <a:pt x="98" y="89"/>
                      </a:lnTo>
                      <a:lnTo>
                        <a:pt x="112" y="89"/>
                      </a:lnTo>
                      <a:lnTo>
                        <a:pt x="121" y="76"/>
                      </a:lnTo>
                      <a:lnTo>
                        <a:pt x="130" y="71"/>
                      </a:lnTo>
                      <a:lnTo>
                        <a:pt x="134" y="71"/>
                      </a:lnTo>
                      <a:lnTo>
                        <a:pt x="143" y="67"/>
                      </a:lnTo>
                      <a:lnTo>
                        <a:pt x="148" y="62"/>
                      </a:lnTo>
                      <a:lnTo>
                        <a:pt x="148" y="62"/>
                      </a:lnTo>
                      <a:lnTo>
                        <a:pt x="152" y="54"/>
                      </a:lnTo>
                      <a:lnTo>
                        <a:pt x="156" y="49"/>
                      </a:lnTo>
                      <a:lnTo>
                        <a:pt x="152" y="45"/>
                      </a:lnTo>
                      <a:lnTo>
                        <a:pt x="152" y="36"/>
                      </a:lnTo>
                      <a:lnTo>
                        <a:pt x="148" y="31"/>
                      </a:lnTo>
                      <a:lnTo>
                        <a:pt x="143" y="36"/>
                      </a:lnTo>
                      <a:lnTo>
                        <a:pt x="143" y="27"/>
                      </a:lnTo>
                      <a:lnTo>
                        <a:pt x="139" y="27"/>
                      </a:lnTo>
                      <a:lnTo>
                        <a:pt x="143" y="18"/>
                      </a:lnTo>
                      <a:lnTo>
                        <a:pt x="139" y="22"/>
                      </a:lnTo>
                      <a:lnTo>
                        <a:pt x="134" y="13"/>
                      </a:lnTo>
                      <a:lnTo>
                        <a:pt x="143" y="4"/>
                      </a:lnTo>
                      <a:lnTo>
                        <a:pt x="139" y="0"/>
                      </a:lnTo>
                      <a:lnTo>
                        <a:pt x="130" y="13"/>
                      </a:lnTo>
                      <a:lnTo>
                        <a:pt x="125" y="9"/>
                      </a:lnTo>
                      <a:lnTo>
                        <a:pt x="116" y="0"/>
                      </a:lnTo>
                      <a:lnTo>
                        <a:pt x="107" y="0"/>
                      </a:lnTo>
                      <a:lnTo>
                        <a:pt x="112" y="9"/>
                      </a:lnTo>
                      <a:lnTo>
                        <a:pt x="107" y="13"/>
                      </a:lnTo>
                      <a:lnTo>
                        <a:pt x="103" y="13"/>
                      </a:lnTo>
                      <a:lnTo>
                        <a:pt x="98" y="18"/>
                      </a:lnTo>
                      <a:lnTo>
                        <a:pt x="89" y="9"/>
                      </a:lnTo>
                      <a:lnTo>
                        <a:pt x="85" y="13"/>
                      </a:lnTo>
                      <a:lnTo>
                        <a:pt x="89" y="27"/>
                      </a:lnTo>
                      <a:lnTo>
                        <a:pt x="76" y="13"/>
                      </a:lnTo>
                      <a:lnTo>
                        <a:pt x="72" y="13"/>
                      </a:lnTo>
                      <a:lnTo>
                        <a:pt x="72" y="27"/>
                      </a:lnTo>
                      <a:lnTo>
                        <a:pt x="63" y="13"/>
                      </a:lnTo>
                      <a:lnTo>
                        <a:pt x="58" y="13"/>
                      </a:lnTo>
                      <a:lnTo>
                        <a:pt x="58" y="31"/>
                      </a:lnTo>
                      <a:lnTo>
                        <a:pt x="54" y="31"/>
                      </a:lnTo>
                      <a:lnTo>
                        <a:pt x="45" y="40"/>
                      </a:lnTo>
                      <a:lnTo>
                        <a:pt x="40" y="27"/>
                      </a:lnTo>
                      <a:lnTo>
                        <a:pt x="45" y="22"/>
                      </a:lnTo>
                      <a:lnTo>
                        <a:pt x="45" y="13"/>
                      </a:lnTo>
                      <a:lnTo>
                        <a:pt x="27" y="0"/>
                      </a:lnTo>
                      <a:lnTo>
                        <a:pt x="18" y="0"/>
                      </a:lnTo>
                      <a:lnTo>
                        <a:pt x="18" y="4"/>
                      </a:lnTo>
                      <a:lnTo>
                        <a:pt x="22" y="9"/>
                      </a:lnTo>
                      <a:lnTo>
                        <a:pt x="27" y="18"/>
                      </a:lnTo>
                      <a:lnTo>
                        <a:pt x="22" y="13"/>
                      </a:lnTo>
                      <a:lnTo>
                        <a:pt x="14" y="9"/>
                      </a:lnTo>
                      <a:lnTo>
                        <a:pt x="9" y="13"/>
                      </a:lnTo>
                      <a:lnTo>
                        <a:pt x="14" y="18"/>
                      </a:lnTo>
                      <a:lnTo>
                        <a:pt x="14" y="27"/>
                      </a:lnTo>
                      <a:lnTo>
                        <a:pt x="9" y="27"/>
                      </a:lnTo>
                      <a:lnTo>
                        <a:pt x="9" y="31"/>
                      </a:lnTo>
                      <a:lnTo>
                        <a:pt x="5" y="31"/>
                      </a:lnTo>
                      <a:lnTo>
                        <a:pt x="0" y="36"/>
                      </a:lnTo>
                      <a:lnTo>
                        <a:pt x="14" y="40"/>
                      </a:lnTo>
                      <a:lnTo>
                        <a:pt x="27" y="36"/>
                      </a:lnTo>
                      <a:lnTo>
                        <a:pt x="36" y="36"/>
                      </a:lnTo>
                      <a:lnTo>
                        <a:pt x="31" y="45"/>
                      </a:lnTo>
                      <a:lnTo>
                        <a:pt x="31" y="49"/>
                      </a:lnTo>
                      <a:lnTo>
                        <a:pt x="27" y="49"/>
                      </a:lnTo>
                      <a:lnTo>
                        <a:pt x="5" y="58"/>
                      </a:lnTo>
                      <a:lnTo>
                        <a:pt x="9" y="67"/>
                      </a:lnTo>
                      <a:lnTo>
                        <a:pt x="14" y="62"/>
                      </a:lnTo>
                      <a:lnTo>
                        <a:pt x="31" y="62"/>
                      </a:lnTo>
                      <a:lnTo>
                        <a:pt x="31" y="67"/>
                      </a:lnTo>
                      <a:lnTo>
                        <a:pt x="36" y="62"/>
                      </a:lnTo>
                      <a:lnTo>
                        <a:pt x="31" y="80"/>
                      </a:lnTo>
                      <a:lnTo>
                        <a:pt x="22" y="80"/>
                      </a:lnTo>
                      <a:lnTo>
                        <a:pt x="27" y="8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82" name="Freeform 187"/>
                <p:cNvSpPr>
                  <a:spLocks/>
                </p:cNvSpPr>
                <p:nvPr/>
              </p:nvSpPr>
              <p:spPr bwMode="gray">
                <a:xfrm>
                  <a:off x="2580" y="1805"/>
                  <a:ext cx="58" cy="98"/>
                </a:xfrm>
                <a:custGeom>
                  <a:avLst/>
                  <a:gdLst>
                    <a:gd name="T0" fmla="*/ 45 w 58"/>
                    <a:gd name="T1" fmla="*/ 5 h 98"/>
                    <a:gd name="T2" fmla="*/ 45 w 58"/>
                    <a:gd name="T3" fmla="*/ 0 h 98"/>
                    <a:gd name="T4" fmla="*/ 40 w 58"/>
                    <a:gd name="T5" fmla="*/ 0 h 98"/>
                    <a:gd name="T6" fmla="*/ 40 w 58"/>
                    <a:gd name="T7" fmla="*/ 0 h 98"/>
                    <a:gd name="T8" fmla="*/ 36 w 58"/>
                    <a:gd name="T9" fmla="*/ 9 h 98"/>
                    <a:gd name="T10" fmla="*/ 36 w 58"/>
                    <a:gd name="T11" fmla="*/ 0 h 98"/>
                    <a:gd name="T12" fmla="*/ 27 w 58"/>
                    <a:gd name="T13" fmla="*/ 5 h 98"/>
                    <a:gd name="T14" fmla="*/ 27 w 58"/>
                    <a:gd name="T15" fmla="*/ 13 h 98"/>
                    <a:gd name="T16" fmla="*/ 22 w 58"/>
                    <a:gd name="T17" fmla="*/ 18 h 98"/>
                    <a:gd name="T18" fmla="*/ 27 w 58"/>
                    <a:gd name="T19" fmla="*/ 22 h 98"/>
                    <a:gd name="T20" fmla="*/ 27 w 58"/>
                    <a:gd name="T21" fmla="*/ 22 h 98"/>
                    <a:gd name="T22" fmla="*/ 22 w 58"/>
                    <a:gd name="T23" fmla="*/ 27 h 98"/>
                    <a:gd name="T24" fmla="*/ 22 w 58"/>
                    <a:gd name="T25" fmla="*/ 27 h 98"/>
                    <a:gd name="T26" fmla="*/ 18 w 58"/>
                    <a:gd name="T27" fmla="*/ 27 h 98"/>
                    <a:gd name="T28" fmla="*/ 5 w 58"/>
                    <a:gd name="T29" fmla="*/ 27 h 98"/>
                    <a:gd name="T30" fmla="*/ 0 w 58"/>
                    <a:gd name="T31" fmla="*/ 36 h 98"/>
                    <a:gd name="T32" fmla="*/ 9 w 58"/>
                    <a:gd name="T33" fmla="*/ 36 h 98"/>
                    <a:gd name="T34" fmla="*/ 5 w 58"/>
                    <a:gd name="T35" fmla="*/ 45 h 98"/>
                    <a:gd name="T36" fmla="*/ 0 w 58"/>
                    <a:gd name="T37" fmla="*/ 45 h 98"/>
                    <a:gd name="T38" fmla="*/ 0 w 58"/>
                    <a:gd name="T39" fmla="*/ 54 h 98"/>
                    <a:gd name="T40" fmla="*/ 9 w 58"/>
                    <a:gd name="T41" fmla="*/ 58 h 98"/>
                    <a:gd name="T42" fmla="*/ 14 w 58"/>
                    <a:gd name="T43" fmla="*/ 54 h 98"/>
                    <a:gd name="T44" fmla="*/ 18 w 58"/>
                    <a:gd name="T45" fmla="*/ 54 h 98"/>
                    <a:gd name="T46" fmla="*/ 14 w 58"/>
                    <a:gd name="T47" fmla="*/ 63 h 98"/>
                    <a:gd name="T48" fmla="*/ 14 w 58"/>
                    <a:gd name="T49" fmla="*/ 63 h 98"/>
                    <a:gd name="T50" fmla="*/ 9 w 58"/>
                    <a:gd name="T51" fmla="*/ 72 h 98"/>
                    <a:gd name="T52" fmla="*/ 18 w 58"/>
                    <a:gd name="T53" fmla="*/ 67 h 98"/>
                    <a:gd name="T54" fmla="*/ 18 w 58"/>
                    <a:gd name="T55" fmla="*/ 72 h 98"/>
                    <a:gd name="T56" fmla="*/ 9 w 58"/>
                    <a:gd name="T57" fmla="*/ 76 h 98"/>
                    <a:gd name="T58" fmla="*/ 9 w 58"/>
                    <a:gd name="T59" fmla="*/ 81 h 98"/>
                    <a:gd name="T60" fmla="*/ 0 w 58"/>
                    <a:gd name="T61" fmla="*/ 81 h 98"/>
                    <a:gd name="T62" fmla="*/ 0 w 58"/>
                    <a:gd name="T63" fmla="*/ 89 h 98"/>
                    <a:gd name="T64" fmla="*/ 9 w 58"/>
                    <a:gd name="T65" fmla="*/ 89 h 98"/>
                    <a:gd name="T66" fmla="*/ 0 w 58"/>
                    <a:gd name="T67" fmla="*/ 94 h 98"/>
                    <a:gd name="T68" fmla="*/ 9 w 58"/>
                    <a:gd name="T69" fmla="*/ 98 h 98"/>
                    <a:gd name="T70" fmla="*/ 27 w 58"/>
                    <a:gd name="T71" fmla="*/ 89 h 98"/>
                    <a:gd name="T72" fmla="*/ 40 w 58"/>
                    <a:gd name="T73" fmla="*/ 85 h 98"/>
                    <a:gd name="T74" fmla="*/ 49 w 58"/>
                    <a:gd name="T75" fmla="*/ 85 h 98"/>
                    <a:gd name="T76" fmla="*/ 54 w 58"/>
                    <a:gd name="T77" fmla="*/ 81 h 98"/>
                    <a:gd name="T78" fmla="*/ 58 w 58"/>
                    <a:gd name="T79" fmla="*/ 72 h 98"/>
                    <a:gd name="T80" fmla="*/ 58 w 58"/>
                    <a:gd name="T81" fmla="*/ 54 h 98"/>
                    <a:gd name="T82" fmla="*/ 58 w 58"/>
                    <a:gd name="T83" fmla="*/ 49 h 98"/>
                    <a:gd name="T84" fmla="*/ 58 w 58"/>
                    <a:gd name="T85" fmla="*/ 49 h 98"/>
                    <a:gd name="T86" fmla="*/ 54 w 58"/>
                    <a:gd name="T87" fmla="*/ 31 h 98"/>
                    <a:gd name="T88" fmla="*/ 49 w 58"/>
                    <a:gd name="T89" fmla="*/ 31 h 98"/>
                    <a:gd name="T90" fmla="*/ 40 w 58"/>
                    <a:gd name="T91" fmla="*/ 27 h 98"/>
                    <a:gd name="T92" fmla="*/ 40 w 58"/>
                    <a:gd name="T93" fmla="*/ 36 h 98"/>
                    <a:gd name="T94" fmla="*/ 27 w 58"/>
                    <a:gd name="T95" fmla="*/ 31 h 98"/>
                    <a:gd name="T96" fmla="*/ 27 w 58"/>
                    <a:gd name="T97" fmla="*/ 27 h 98"/>
                    <a:gd name="T98" fmla="*/ 31 w 58"/>
                    <a:gd name="T99" fmla="*/ 18 h 98"/>
                    <a:gd name="T100" fmla="*/ 36 w 58"/>
                    <a:gd name="T101" fmla="*/ 18 h 98"/>
                    <a:gd name="T102" fmla="*/ 40 w 58"/>
                    <a:gd name="T103" fmla="*/ 13 h 98"/>
                    <a:gd name="T104" fmla="*/ 45 w 58"/>
                    <a:gd name="T105" fmla="*/ 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98">
                      <a:moveTo>
                        <a:pt x="45" y="5"/>
                      </a:moveTo>
                      <a:lnTo>
                        <a:pt x="45" y="0"/>
                      </a:lnTo>
                      <a:lnTo>
                        <a:pt x="40" y="0"/>
                      </a:lnTo>
                      <a:lnTo>
                        <a:pt x="40" y="0"/>
                      </a:lnTo>
                      <a:lnTo>
                        <a:pt x="36" y="9"/>
                      </a:lnTo>
                      <a:lnTo>
                        <a:pt x="36" y="0"/>
                      </a:lnTo>
                      <a:lnTo>
                        <a:pt x="27" y="5"/>
                      </a:lnTo>
                      <a:lnTo>
                        <a:pt x="27" y="13"/>
                      </a:lnTo>
                      <a:lnTo>
                        <a:pt x="22" y="18"/>
                      </a:lnTo>
                      <a:lnTo>
                        <a:pt x="27" y="22"/>
                      </a:lnTo>
                      <a:lnTo>
                        <a:pt x="27" y="22"/>
                      </a:lnTo>
                      <a:lnTo>
                        <a:pt x="22" y="27"/>
                      </a:lnTo>
                      <a:lnTo>
                        <a:pt x="22" y="27"/>
                      </a:lnTo>
                      <a:lnTo>
                        <a:pt x="18" y="27"/>
                      </a:lnTo>
                      <a:lnTo>
                        <a:pt x="5" y="27"/>
                      </a:lnTo>
                      <a:lnTo>
                        <a:pt x="0" y="36"/>
                      </a:lnTo>
                      <a:lnTo>
                        <a:pt x="9" y="36"/>
                      </a:lnTo>
                      <a:lnTo>
                        <a:pt x="5" y="45"/>
                      </a:lnTo>
                      <a:lnTo>
                        <a:pt x="0" y="45"/>
                      </a:lnTo>
                      <a:lnTo>
                        <a:pt x="0" y="54"/>
                      </a:lnTo>
                      <a:lnTo>
                        <a:pt x="9" y="58"/>
                      </a:lnTo>
                      <a:lnTo>
                        <a:pt x="14" y="54"/>
                      </a:lnTo>
                      <a:lnTo>
                        <a:pt x="18" y="54"/>
                      </a:lnTo>
                      <a:lnTo>
                        <a:pt x="14" y="63"/>
                      </a:lnTo>
                      <a:lnTo>
                        <a:pt x="14" y="63"/>
                      </a:lnTo>
                      <a:lnTo>
                        <a:pt x="9" y="72"/>
                      </a:lnTo>
                      <a:lnTo>
                        <a:pt x="18" y="67"/>
                      </a:lnTo>
                      <a:lnTo>
                        <a:pt x="18" y="72"/>
                      </a:lnTo>
                      <a:lnTo>
                        <a:pt x="9" y="76"/>
                      </a:lnTo>
                      <a:lnTo>
                        <a:pt x="9" y="81"/>
                      </a:lnTo>
                      <a:lnTo>
                        <a:pt x="0" y="81"/>
                      </a:lnTo>
                      <a:lnTo>
                        <a:pt x="0" y="89"/>
                      </a:lnTo>
                      <a:lnTo>
                        <a:pt x="9" y="89"/>
                      </a:lnTo>
                      <a:lnTo>
                        <a:pt x="0" y="94"/>
                      </a:lnTo>
                      <a:lnTo>
                        <a:pt x="9" y="98"/>
                      </a:lnTo>
                      <a:lnTo>
                        <a:pt x="27" y="89"/>
                      </a:lnTo>
                      <a:lnTo>
                        <a:pt x="40" y="85"/>
                      </a:lnTo>
                      <a:lnTo>
                        <a:pt x="49" y="85"/>
                      </a:lnTo>
                      <a:lnTo>
                        <a:pt x="54" y="81"/>
                      </a:lnTo>
                      <a:lnTo>
                        <a:pt x="58" y="72"/>
                      </a:lnTo>
                      <a:lnTo>
                        <a:pt x="58" y="54"/>
                      </a:lnTo>
                      <a:lnTo>
                        <a:pt x="58" y="49"/>
                      </a:lnTo>
                      <a:lnTo>
                        <a:pt x="58" y="49"/>
                      </a:lnTo>
                      <a:lnTo>
                        <a:pt x="54" y="31"/>
                      </a:lnTo>
                      <a:lnTo>
                        <a:pt x="49" y="31"/>
                      </a:lnTo>
                      <a:lnTo>
                        <a:pt x="40" y="27"/>
                      </a:lnTo>
                      <a:lnTo>
                        <a:pt x="40" y="36"/>
                      </a:lnTo>
                      <a:lnTo>
                        <a:pt x="27" y="31"/>
                      </a:lnTo>
                      <a:lnTo>
                        <a:pt x="27" y="27"/>
                      </a:lnTo>
                      <a:lnTo>
                        <a:pt x="31" y="18"/>
                      </a:lnTo>
                      <a:lnTo>
                        <a:pt x="36" y="18"/>
                      </a:lnTo>
                      <a:lnTo>
                        <a:pt x="40" y="13"/>
                      </a:lnTo>
                      <a:lnTo>
                        <a:pt x="45" y="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83" name="Freeform 188"/>
                <p:cNvSpPr>
                  <a:spLocks noEditPoints="1"/>
                </p:cNvSpPr>
                <p:nvPr/>
              </p:nvSpPr>
              <p:spPr bwMode="gray">
                <a:xfrm>
                  <a:off x="2817" y="2002"/>
                  <a:ext cx="174" cy="205"/>
                </a:xfrm>
                <a:custGeom>
                  <a:avLst/>
                  <a:gdLst>
                    <a:gd name="T0" fmla="*/ 27 w 174"/>
                    <a:gd name="T1" fmla="*/ 62 h 205"/>
                    <a:gd name="T2" fmla="*/ 36 w 174"/>
                    <a:gd name="T3" fmla="*/ 49 h 205"/>
                    <a:gd name="T4" fmla="*/ 53 w 174"/>
                    <a:gd name="T5" fmla="*/ 62 h 205"/>
                    <a:gd name="T6" fmla="*/ 62 w 174"/>
                    <a:gd name="T7" fmla="*/ 94 h 205"/>
                    <a:gd name="T8" fmla="*/ 94 w 174"/>
                    <a:gd name="T9" fmla="*/ 120 h 205"/>
                    <a:gd name="T10" fmla="*/ 112 w 174"/>
                    <a:gd name="T11" fmla="*/ 129 h 205"/>
                    <a:gd name="T12" fmla="*/ 120 w 174"/>
                    <a:gd name="T13" fmla="*/ 138 h 205"/>
                    <a:gd name="T14" fmla="*/ 138 w 174"/>
                    <a:gd name="T15" fmla="*/ 161 h 205"/>
                    <a:gd name="T16" fmla="*/ 134 w 174"/>
                    <a:gd name="T17" fmla="*/ 170 h 205"/>
                    <a:gd name="T18" fmla="*/ 134 w 174"/>
                    <a:gd name="T19" fmla="*/ 183 h 205"/>
                    <a:gd name="T20" fmla="*/ 147 w 174"/>
                    <a:gd name="T21" fmla="*/ 170 h 205"/>
                    <a:gd name="T22" fmla="*/ 152 w 174"/>
                    <a:gd name="T23" fmla="*/ 161 h 205"/>
                    <a:gd name="T24" fmla="*/ 143 w 174"/>
                    <a:gd name="T25" fmla="*/ 143 h 205"/>
                    <a:gd name="T26" fmla="*/ 156 w 174"/>
                    <a:gd name="T27" fmla="*/ 134 h 205"/>
                    <a:gd name="T28" fmla="*/ 165 w 174"/>
                    <a:gd name="T29" fmla="*/ 143 h 205"/>
                    <a:gd name="T30" fmla="*/ 174 w 174"/>
                    <a:gd name="T31" fmla="*/ 138 h 205"/>
                    <a:gd name="T32" fmla="*/ 147 w 174"/>
                    <a:gd name="T33" fmla="*/ 111 h 205"/>
                    <a:gd name="T34" fmla="*/ 138 w 174"/>
                    <a:gd name="T35" fmla="*/ 102 h 205"/>
                    <a:gd name="T36" fmla="*/ 120 w 174"/>
                    <a:gd name="T37" fmla="*/ 98 h 205"/>
                    <a:gd name="T38" fmla="*/ 103 w 174"/>
                    <a:gd name="T39" fmla="*/ 80 h 205"/>
                    <a:gd name="T40" fmla="*/ 85 w 174"/>
                    <a:gd name="T41" fmla="*/ 58 h 205"/>
                    <a:gd name="T42" fmla="*/ 85 w 174"/>
                    <a:gd name="T43" fmla="*/ 44 h 205"/>
                    <a:gd name="T44" fmla="*/ 80 w 174"/>
                    <a:gd name="T45" fmla="*/ 31 h 205"/>
                    <a:gd name="T46" fmla="*/ 94 w 174"/>
                    <a:gd name="T47" fmla="*/ 22 h 205"/>
                    <a:gd name="T48" fmla="*/ 103 w 174"/>
                    <a:gd name="T49" fmla="*/ 27 h 205"/>
                    <a:gd name="T50" fmla="*/ 107 w 174"/>
                    <a:gd name="T51" fmla="*/ 31 h 205"/>
                    <a:gd name="T52" fmla="*/ 103 w 174"/>
                    <a:gd name="T53" fmla="*/ 18 h 205"/>
                    <a:gd name="T54" fmla="*/ 103 w 174"/>
                    <a:gd name="T55" fmla="*/ 13 h 205"/>
                    <a:gd name="T56" fmla="*/ 85 w 174"/>
                    <a:gd name="T57" fmla="*/ 0 h 205"/>
                    <a:gd name="T58" fmla="*/ 67 w 174"/>
                    <a:gd name="T59" fmla="*/ 4 h 205"/>
                    <a:gd name="T60" fmla="*/ 53 w 174"/>
                    <a:gd name="T61" fmla="*/ 13 h 205"/>
                    <a:gd name="T62" fmla="*/ 40 w 174"/>
                    <a:gd name="T63" fmla="*/ 9 h 205"/>
                    <a:gd name="T64" fmla="*/ 36 w 174"/>
                    <a:gd name="T65" fmla="*/ 22 h 205"/>
                    <a:gd name="T66" fmla="*/ 27 w 174"/>
                    <a:gd name="T67" fmla="*/ 13 h 205"/>
                    <a:gd name="T68" fmla="*/ 18 w 174"/>
                    <a:gd name="T69" fmla="*/ 22 h 205"/>
                    <a:gd name="T70" fmla="*/ 9 w 174"/>
                    <a:gd name="T71" fmla="*/ 35 h 205"/>
                    <a:gd name="T72" fmla="*/ 0 w 174"/>
                    <a:gd name="T73" fmla="*/ 49 h 205"/>
                    <a:gd name="T74" fmla="*/ 18 w 174"/>
                    <a:gd name="T75" fmla="*/ 62 h 205"/>
                    <a:gd name="T76" fmla="*/ 40 w 174"/>
                    <a:gd name="T77" fmla="*/ 116 h 205"/>
                    <a:gd name="T78" fmla="*/ 27 w 174"/>
                    <a:gd name="T79" fmla="*/ 125 h 205"/>
                    <a:gd name="T80" fmla="*/ 31 w 174"/>
                    <a:gd name="T81" fmla="*/ 129 h 205"/>
                    <a:gd name="T82" fmla="*/ 36 w 174"/>
                    <a:gd name="T83" fmla="*/ 143 h 205"/>
                    <a:gd name="T84" fmla="*/ 31 w 174"/>
                    <a:gd name="T85" fmla="*/ 147 h 205"/>
                    <a:gd name="T86" fmla="*/ 36 w 174"/>
                    <a:gd name="T87" fmla="*/ 161 h 205"/>
                    <a:gd name="T88" fmla="*/ 45 w 174"/>
                    <a:gd name="T89" fmla="*/ 156 h 205"/>
                    <a:gd name="T90" fmla="*/ 49 w 174"/>
                    <a:gd name="T91" fmla="*/ 143 h 205"/>
                    <a:gd name="T92" fmla="*/ 49 w 174"/>
                    <a:gd name="T93" fmla="*/ 129 h 205"/>
                    <a:gd name="T94" fmla="*/ 40 w 174"/>
                    <a:gd name="T95" fmla="*/ 116 h 205"/>
                    <a:gd name="T96" fmla="*/ 120 w 174"/>
                    <a:gd name="T97" fmla="*/ 174 h 205"/>
                    <a:gd name="T98" fmla="*/ 98 w 174"/>
                    <a:gd name="T99" fmla="*/ 170 h 205"/>
                    <a:gd name="T100" fmla="*/ 85 w 174"/>
                    <a:gd name="T101" fmla="*/ 178 h 205"/>
                    <a:gd name="T102" fmla="*/ 89 w 174"/>
                    <a:gd name="T103" fmla="*/ 187 h 205"/>
                    <a:gd name="T104" fmla="*/ 103 w 174"/>
                    <a:gd name="T105" fmla="*/ 196 h 205"/>
                    <a:gd name="T106" fmla="*/ 116 w 174"/>
                    <a:gd name="T107" fmla="*/ 201 h 205"/>
                    <a:gd name="T108" fmla="*/ 125 w 174"/>
                    <a:gd name="T109" fmla="*/ 201 h 205"/>
                    <a:gd name="T110" fmla="*/ 129 w 174"/>
                    <a:gd name="T111" fmla="*/ 178 h 205"/>
                    <a:gd name="T112" fmla="*/ 125 w 174"/>
                    <a:gd name="T113" fmla="*/ 17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205">
                      <a:moveTo>
                        <a:pt x="22" y="67"/>
                      </a:moveTo>
                      <a:lnTo>
                        <a:pt x="27" y="62"/>
                      </a:lnTo>
                      <a:lnTo>
                        <a:pt x="31" y="58"/>
                      </a:lnTo>
                      <a:lnTo>
                        <a:pt x="36" y="49"/>
                      </a:lnTo>
                      <a:lnTo>
                        <a:pt x="49" y="58"/>
                      </a:lnTo>
                      <a:lnTo>
                        <a:pt x="53" y="62"/>
                      </a:lnTo>
                      <a:lnTo>
                        <a:pt x="58" y="80"/>
                      </a:lnTo>
                      <a:lnTo>
                        <a:pt x="62" y="94"/>
                      </a:lnTo>
                      <a:lnTo>
                        <a:pt x="85" y="111"/>
                      </a:lnTo>
                      <a:lnTo>
                        <a:pt x="94" y="120"/>
                      </a:lnTo>
                      <a:lnTo>
                        <a:pt x="103" y="116"/>
                      </a:lnTo>
                      <a:lnTo>
                        <a:pt x="112" y="129"/>
                      </a:lnTo>
                      <a:lnTo>
                        <a:pt x="120" y="129"/>
                      </a:lnTo>
                      <a:lnTo>
                        <a:pt x="120" y="138"/>
                      </a:lnTo>
                      <a:lnTo>
                        <a:pt x="129" y="143"/>
                      </a:lnTo>
                      <a:lnTo>
                        <a:pt x="138" y="161"/>
                      </a:lnTo>
                      <a:lnTo>
                        <a:pt x="134" y="165"/>
                      </a:lnTo>
                      <a:lnTo>
                        <a:pt x="134" y="170"/>
                      </a:lnTo>
                      <a:lnTo>
                        <a:pt x="129" y="174"/>
                      </a:lnTo>
                      <a:lnTo>
                        <a:pt x="134" y="183"/>
                      </a:lnTo>
                      <a:lnTo>
                        <a:pt x="138" y="178"/>
                      </a:lnTo>
                      <a:lnTo>
                        <a:pt x="147" y="170"/>
                      </a:lnTo>
                      <a:lnTo>
                        <a:pt x="147" y="165"/>
                      </a:lnTo>
                      <a:lnTo>
                        <a:pt x="152" y="161"/>
                      </a:lnTo>
                      <a:lnTo>
                        <a:pt x="156" y="152"/>
                      </a:lnTo>
                      <a:lnTo>
                        <a:pt x="143" y="143"/>
                      </a:lnTo>
                      <a:lnTo>
                        <a:pt x="152" y="134"/>
                      </a:lnTo>
                      <a:lnTo>
                        <a:pt x="156" y="134"/>
                      </a:lnTo>
                      <a:lnTo>
                        <a:pt x="165" y="134"/>
                      </a:lnTo>
                      <a:lnTo>
                        <a:pt x="165" y="143"/>
                      </a:lnTo>
                      <a:lnTo>
                        <a:pt x="170" y="147"/>
                      </a:lnTo>
                      <a:lnTo>
                        <a:pt x="174" y="138"/>
                      </a:lnTo>
                      <a:lnTo>
                        <a:pt x="165" y="125"/>
                      </a:lnTo>
                      <a:lnTo>
                        <a:pt x="147" y="111"/>
                      </a:lnTo>
                      <a:lnTo>
                        <a:pt x="138" y="111"/>
                      </a:lnTo>
                      <a:lnTo>
                        <a:pt x="138" y="102"/>
                      </a:lnTo>
                      <a:lnTo>
                        <a:pt x="138" y="98"/>
                      </a:lnTo>
                      <a:lnTo>
                        <a:pt x="120" y="98"/>
                      </a:lnTo>
                      <a:lnTo>
                        <a:pt x="112" y="89"/>
                      </a:lnTo>
                      <a:lnTo>
                        <a:pt x="103" y="80"/>
                      </a:lnTo>
                      <a:lnTo>
                        <a:pt x="98" y="71"/>
                      </a:lnTo>
                      <a:lnTo>
                        <a:pt x="85" y="58"/>
                      </a:lnTo>
                      <a:lnTo>
                        <a:pt x="80" y="49"/>
                      </a:lnTo>
                      <a:lnTo>
                        <a:pt x="85" y="44"/>
                      </a:lnTo>
                      <a:lnTo>
                        <a:pt x="80" y="35"/>
                      </a:lnTo>
                      <a:lnTo>
                        <a:pt x="80" y="31"/>
                      </a:lnTo>
                      <a:lnTo>
                        <a:pt x="85" y="27"/>
                      </a:lnTo>
                      <a:lnTo>
                        <a:pt x="94" y="22"/>
                      </a:lnTo>
                      <a:lnTo>
                        <a:pt x="98" y="27"/>
                      </a:lnTo>
                      <a:lnTo>
                        <a:pt x="103" y="27"/>
                      </a:lnTo>
                      <a:lnTo>
                        <a:pt x="103" y="31"/>
                      </a:lnTo>
                      <a:lnTo>
                        <a:pt x="107" y="31"/>
                      </a:lnTo>
                      <a:lnTo>
                        <a:pt x="103" y="22"/>
                      </a:lnTo>
                      <a:lnTo>
                        <a:pt x="103" y="18"/>
                      </a:lnTo>
                      <a:lnTo>
                        <a:pt x="98" y="13"/>
                      </a:lnTo>
                      <a:lnTo>
                        <a:pt x="103" y="13"/>
                      </a:lnTo>
                      <a:lnTo>
                        <a:pt x="89" y="9"/>
                      </a:lnTo>
                      <a:lnTo>
                        <a:pt x="85" y="0"/>
                      </a:lnTo>
                      <a:lnTo>
                        <a:pt x="71" y="0"/>
                      </a:lnTo>
                      <a:lnTo>
                        <a:pt x="67" y="4"/>
                      </a:lnTo>
                      <a:lnTo>
                        <a:pt x="58" y="4"/>
                      </a:lnTo>
                      <a:lnTo>
                        <a:pt x="53" y="13"/>
                      </a:lnTo>
                      <a:lnTo>
                        <a:pt x="45" y="13"/>
                      </a:lnTo>
                      <a:lnTo>
                        <a:pt x="40" y="9"/>
                      </a:lnTo>
                      <a:lnTo>
                        <a:pt x="40" y="18"/>
                      </a:lnTo>
                      <a:lnTo>
                        <a:pt x="36" y="22"/>
                      </a:lnTo>
                      <a:lnTo>
                        <a:pt x="31" y="13"/>
                      </a:lnTo>
                      <a:lnTo>
                        <a:pt x="27" y="13"/>
                      </a:lnTo>
                      <a:lnTo>
                        <a:pt x="27" y="22"/>
                      </a:lnTo>
                      <a:lnTo>
                        <a:pt x="18" y="22"/>
                      </a:lnTo>
                      <a:lnTo>
                        <a:pt x="13" y="22"/>
                      </a:lnTo>
                      <a:lnTo>
                        <a:pt x="9" y="35"/>
                      </a:lnTo>
                      <a:lnTo>
                        <a:pt x="4" y="35"/>
                      </a:lnTo>
                      <a:lnTo>
                        <a:pt x="0" y="49"/>
                      </a:lnTo>
                      <a:lnTo>
                        <a:pt x="9" y="62"/>
                      </a:lnTo>
                      <a:lnTo>
                        <a:pt x="18" y="62"/>
                      </a:lnTo>
                      <a:lnTo>
                        <a:pt x="22" y="67"/>
                      </a:lnTo>
                      <a:close/>
                      <a:moveTo>
                        <a:pt x="40" y="116"/>
                      </a:moveTo>
                      <a:lnTo>
                        <a:pt x="36" y="125"/>
                      </a:lnTo>
                      <a:lnTo>
                        <a:pt x="27" y="125"/>
                      </a:lnTo>
                      <a:lnTo>
                        <a:pt x="27" y="129"/>
                      </a:lnTo>
                      <a:lnTo>
                        <a:pt x="31" y="129"/>
                      </a:lnTo>
                      <a:lnTo>
                        <a:pt x="31" y="143"/>
                      </a:lnTo>
                      <a:lnTo>
                        <a:pt x="36" y="143"/>
                      </a:lnTo>
                      <a:lnTo>
                        <a:pt x="36" y="147"/>
                      </a:lnTo>
                      <a:lnTo>
                        <a:pt x="31" y="147"/>
                      </a:lnTo>
                      <a:lnTo>
                        <a:pt x="31" y="156"/>
                      </a:lnTo>
                      <a:lnTo>
                        <a:pt x="36" y="161"/>
                      </a:lnTo>
                      <a:lnTo>
                        <a:pt x="40" y="161"/>
                      </a:lnTo>
                      <a:lnTo>
                        <a:pt x="45" y="156"/>
                      </a:lnTo>
                      <a:lnTo>
                        <a:pt x="45" y="156"/>
                      </a:lnTo>
                      <a:lnTo>
                        <a:pt x="49" y="143"/>
                      </a:lnTo>
                      <a:lnTo>
                        <a:pt x="45" y="134"/>
                      </a:lnTo>
                      <a:lnTo>
                        <a:pt x="49" y="129"/>
                      </a:lnTo>
                      <a:lnTo>
                        <a:pt x="49" y="120"/>
                      </a:lnTo>
                      <a:lnTo>
                        <a:pt x="40" y="116"/>
                      </a:lnTo>
                      <a:close/>
                      <a:moveTo>
                        <a:pt x="125" y="174"/>
                      </a:moveTo>
                      <a:lnTo>
                        <a:pt x="120" y="174"/>
                      </a:lnTo>
                      <a:lnTo>
                        <a:pt x="107" y="174"/>
                      </a:lnTo>
                      <a:lnTo>
                        <a:pt x="98" y="170"/>
                      </a:lnTo>
                      <a:lnTo>
                        <a:pt x="89" y="174"/>
                      </a:lnTo>
                      <a:lnTo>
                        <a:pt x="85" y="178"/>
                      </a:lnTo>
                      <a:lnTo>
                        <a:pt x="85" y="187"/>
                      </a:lnTo>
                      <a:lnTo>
                        <a:pt x="89" y="187"/>
                      </a:lnTo>
                      <a:lnTo>
                        <a:pt x="94" y="187"/>
                      </a:lnTo>
                      <a:lnTo>
                        <a:pt x="103" y="196"/>
                      </a:lnTo>
                      <a:lnTo>
                        <a:pt x="112" y="196"/>
                      </a:lnTo>
                      <a:lnTo>
                        <a:pt x="116" y="201"/>
                      </a:lnTo>
                      <a:lnTo>
                        <a:pt x="125" y="205"/>
                      </a:lnTo>
                      <a:lnTo>
                        <a:pt x="125" y="201"/>
                      </a:lnTo>
                      <a:lnTo>
                        <a:pt x="125" y="187"/>
                      </a:lnTo>
                      <a:lnTo>
                        <a:pt x="129" y="178"/>
                      </a:lnTo>
                      <a:lnTo>
                        <a:pt x="129" y="174"/>
                      </a:lnTo>
                      <a:lnTo>
                        <a:pt x="125" y="17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84" name="Freeform 189"/>
                <p:cNvSpPr>
                  <a:spLocks/>
                </p:cNvSpPr>
                <p:nvPr/>
              </p:nvSpPr>
              <p:spPr bwMode="gray">
                <a:xfrm>
                  <a:off x="3022" y="1738"/>
                  <a:ext cx="108" cy="67"/>
                </a:xfrm>
                <a:custGeom>
                  <a:avLst/>
                  <a:gdLst>
                    <a:gd name="T0" fmla="*/ 5 w 108"/>
                    <a:gd name="T1" fmla="*/ 49 h 67"/>
                    <a:gd name="T2" fmla="*/ 9 w 108"/>
                    <a:gd name="T3" fmla="*/ 49 h 67"/>
                    <a:gd name="T4" fmla="*/ 18 w 108"/>
                    <a:gd name="T5" fmla="*/ 45 h 67"/>
                    <a:gd name="T6" fmla="*/ 23 w 108"/>
                    <a:gd name="T7" fmla="*/ 49 h 67"/>
                    <a:gd name="T8" fmla="*/ 32 w 108"/>
                    <a:gd name="T9" fmla="*/ 45 h 67"/>
                    <a:gd name="T10" fmla="*/ 49 w 108"/>
                    <a:gd name="T11" fmla="*/ 49 h 67"/>
                    <a:gd name="T12" fmla="*/ 58 w 108"/>
                    <a:gd name="T13" fmla="*/ 45 h 67"/>
                    <a:gd name="T14" fmla="*/ 63 w 108"/>
                    <a:gd name="T15" fmla="*/ 49 h 67"/>
                    <a:gd name="T16" fmla="*/ 67 w 108"/>
                    <a:gd name="T17" fmla="*/ 54 h 67"/>
                    <a:gd name="T18" fmla="*/ 81 w 108"/>
                    <a:gd name="T19" fmla="*/ 67 h 67"/>
                    <a:gd name="T20" fmla="*/ 94 w 108"/>
                    <a:gd name="T21" fmla="*/ 63 h 67"/>
                    <a:gd name="T22" fmla="*/ 99 w 108"/>
                    <a:gd name="T23" fmla="*/ 58 h 67"/>
                    <a:gd name="T24" fmla="*/ 103 w 108"/>
                    <a:gd name="T25" fmla="*/ 49 h 67"/>
                    <a:gd name="T26" fmla="*/ 103 w 108"/>
                    <a:gd name="T27" fmla="*/ 49 h 67"/>
                    <a:gd name="T28" fmla="*/ 103 w 108"/>
                    <a:gd name="T29" fmla="*/ 40 h 67"/>
                    <a:gd name="T30" fmla="*/ 103 w 108"/>
                    <a:gd name="T31" fmla="*/ 22 h 67"/>
                    <a:gd name="T32" fmla="*/ 108 w 108"/>
                    <a:gd name="T33" fmla="*/ 18 h 67"/>
                    <a:gd name="T34" fmla="*/ 103 w 108"/>
                    <a:gd name="T35" fmla="*/ 13 h 67"/>
                    <a:gd name="T36" fmla="*/ 99 w 108"/>
                    <a:gd name="T37" fmla="*/ 13 h 67"/>
                    <a:gd name="T38" fmla="*/ 90 w 108"/>
                    <a:gd name="T39" fmla="*/ 9 h 67"/>
                    <a:gd name="T40" fmla="*/ 85 w 108"/>
                    <a:gd name="T41" fmla="*/ 9 h 67"/>
                    <a:gd name="T42" fmla="*/ 76 w 108"/>
                    <a:gd name="T43" fmla="*/ 5 h 67"/>
                    <a:gd name="T44" fmla="*/ 67 w 108"/>
                    <a:gd name="T45" fmla="*/ 0 h 67"/>
                    <a:gd name="T46" fmla="*/ 54 w 108"/>
                    <a:gd name="T47" fmla="*/ 5 h 67"/>
                    <a:gd name="T48" fmla="*/ 54 w 108"/>
                    <a:gd name="T49" fmla="*/ 18 h 67"/>
                    <a:gd name="T50" fmla="*/ 49 w 108"/>
                    <a:gd name="T51" fmla="*/ 22 h 67"/>
                    <a:gd name="T52" fmla="*/ 41 w 108"/>
                    <a:gd name="T53" fmla="*/ 27 h 67"/>
                    <a:gd name="T54" fmla="*/ 32 w 108"/>
                    <a:gd name="T55" fmla="*/ 22 h 67"/>
                    <a:gd name="T56" fmla="*/ 32 w 108"/>
                    <a:gd name="T57" fmla="*/ 18 h 67"/>
                    <a:gd name="T58" fmla="*/ 27 w 108"/>
                    <a:gd name="T59" fmla="*/ 9 h 67"/>
                    <a:gd name="T60" fmla="*/ 23 w 108"/>
                    <a:gd name="T61" fmla="*/ 5 h 67"/>
                    <a:gd name="T62" fmla="*/ 14 w 108"/>
                    <a:gd name="T63" fmla="*/ 9 h 67"/>
                    <a:gd name="T64" fmla="*/ 9 w 108"/>
                    <a:gd name="T65" fmla="*/ 13 h 67"/>
                    <a:gd name="T66" fmla="*/ 9 w 108"/>
                    <a:gd name="T67" fmla="*/ 22 h 67"/>
                    <a:gd name="T68" fmla="*/ 0 w 108"/>
                    <a:gd name="T69" fmla="*/ 31 h 67"/>
                    <a:gd name="T70" fmla="*/ 5 w 108"/>
                    <a:gd name="T71" fmla="*/ 4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67">
                      <a:moveTo>
                        <a:pt x="5" y="49"/>
                      </a:moveTo>
                      <a:lnTo>
                        <a:pt x="9" y="49"/>
                      </a:lnTo>
                      <a:lnTo>
                        <a:pt x="18" y="45"/>
                      </a:lnTo>
                      <a:lnTo>
                        <a:pt x="23" y="49"/>
                      </a:lnTo>
                      <a:lnTo>
                        <a:pt x="32" y="45"/>
                      </a:lnTo>
                      <a:lnTo>
                        <a:pt x="49" y="49"/>
                      </a:lnTo>
                      <a:lnTo>
                        <a:pt x="58" y="45"/>
                      </a:lnTo>
                      <a:lnTo>
                        <a:pt x="63" y="49"/>
                      </a:lnTo>
                      <a:lnTo>
                        <a:pt x="67" y="54"/>
                      </a:lnTo>
                      <a:lnTo>
                        <a:pt x="81" y="67"/>
                      </a:lnTo>
                      <a:lnTo>
                        <a:pt x="94" y="63"/>
                      </a:lnTo>
                      <a:lnTo>
                        <a:pt x="99" y="58"/>
                      </a:lnTo>
                      <a:lnTo>
                        <a:pt x="103" y="49"/>
                      </a:lnTo>
                      <a:lnTo>
                        <a:pt x="103" y="49"/>
                      </a:lnTo>
                      <a:lnTo>
                        <a:pt x="103" y="40"/>
                      </a:lnTo>
                      <a:lnTo>
                        <a:pt x="103" y="22"/>
                      </a:lnTo>
                      <a:lnTo>
                        <a:pt x="108" y="18"/>
                      </a:lnTo>
                      <a:lnTo>
                        <a:pt x="103" y="13"/>
                      </a:lnTo>
                      <a:lnTo>
                        <a:pt x="99" y="13"/>
                      </a:lnTo>
                      <a:lnTo>
                        <a:pt x="90" y="9"/>
                      </a:lnTo>
                      <a:lnTo>
                        <a:pt x="85" y="9"/>
                      </a:lnTo>
                      <a:lnTo>
                        <a:pt x="76" y="5"/>
                      </a:lnTo>
                      <a:lnTo>
                        <a:pt x="67" y="0"/>
                      </a:lnTo>
                      <a:lnTo>
                        <a:pt x="54" y="5"/>
                      </a:lnTo>
                      <a:lnTo>
                        <a:pt x="54" y="18"/>
                      </a:lnTo>
                      <a:lnTo>
                        <a:pt x="49" y="22"/>
                      </a:lnTo>
                      <a:lnTo>
                        <a:pt x="41" y="27"/>
                      </a:lnTo>
                      <a:lnTo>
                        <a:pt x="32" y="22"/>
                      </a:lnTo>
                      <a:lnTo>
                        <a:pt x="32" y="18"/>
                      </a:lnTo>
                      <a:lnTo>
                        <a:pt x="27" y="9"/>
                      </a:lnTo>
                      <a:lnTo>
                        <a:pt x="23" y="5"/>
                      </a:lnTo>
                      <a:lnTo>
                        <a:pt x="14" y="9"/>
                      </a:lnTo>
                      <a:lnTo>
                        <a:pt x="9" y="13"/>
                      </a:lnTo>
                      <a:lnTo>
                        <a:pt x="9" y="22"/>
                      </a:lnTo>
                      <a:lnTo>
                        <a:pt x="0" y="31"/>
                      </a:lnTo>
                      <a:lnTo>
                        <a:pt x="5" y="4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85" name="Freeform 190"/>
                <p:cNvSpPr>
                  <a:spLocks/>
                </p:cNvSpPr>
                <p:nvPr/>
              </p:nvSpPr>
              <p:spPr bwMode="gray">
                <a:xfrm>
                  <a:off x="3022" y="1783"/>
                  <a:ext cx="85" cy="62"/>
                </a:xfrm>
                <a:custGeom>
                  <a:avLst/>
                  <a:gdLst>
                    <a:gd name="T0" fmla="*/ 5 w 85"/>
                    <a:gd name="T1" fmla="*/ 4 h 62"/>
                    <a:gd name="T2" fmla="*/ 0 w 85"/>
                    <a:gd name="T3" fmla="*/ 4 h 62"/>
                    <a:gd name="T4" fmla="*/ 5 w 85"/>
                    <a:gd name="T5" fmla="*/ 18 h 62"/>
                    <a:gd name="T6" fmla="*/ 5 w 85"/>
                    <a:gd name="T7" fmla="*/ 22 h 62"/>
                    <a:gd name="T8" fmla="*/ 9 w 85"/>
                    <a:gd name="T9" fmla="*/ 22 h 62"/>
                    <a:gd name="T10" fmla="*/ 9 w 85"/>
                    <a:gd name="T11" fmla="*/ 27 h 62"/>
                    <a:gd name="T12" fmla="*/ 23 w 85"/>
                    <a:gd name="T13" fmla="*/ 31 h 62"/>
                    <a:gd name="T14" fmla="*/ 32 w 85"/>
                    <a:gd name="T15" fmla="*/ 31 h 62"/>
                    <a:gd name="T16" fmla="*/ 32 w 85"/>
                    <a:gd name="T17" fmla="*/ 35 h 62"/>
                    <a:gd name="T18" fmla="*/ 32 w 85"/>
                    <a:gd name="T19" fmla="*/ 49 h 62"/>
                    <a:gd name="T20" fmla="*/ 41 w 85"/>
                    <a:gd name="T21" fmla="*/ 58 h 62"/>
                    <a:gd name="T22" fmla="*/ 41 w 85"/>
                    <a:gd name="T23" fmla="*/ 62 h 62"/>
                    <a:gd name="T24" fmla="*/ 49 w 85"/>
                    <a:gd name="T25" fmla="*/ 53 h 62"/>
                    <a:gd name="T26" fmla="*/ 58 w 85"/>
                    <a:gd name="T27" fmla="*/ 58 h 62"/>
                    <a:gd name="T28" fmla="*/ 63 w 85"/>
                    <a:gd name="T29" fmla="*/ 53 h 62"/>
                    <a:gd name="T30" fmla="*/ 67 w 85"/>
                    <a:gd name="T31" fmla="*/ 58 h 62"/>
                    <a:gd name="T32" fmla="*/ 67 w 85"/>
                    <a:gd name="T33" fmla="*/ 49 h 62"/>
                    <a:gd name="T34" fmla="*/ 72 w 85"/>
                    <a:gd name="T35" fmla="*/ 44 h 62"/>
                    <a:gd name="T36" fmla="*/ 76 w 85"/>
                    <a:gd name="T37" fmla="*/ 35 h 62"/>
                    <a:gd name="T38" fmla="*/ 81 w 85"/>
                    <a:gd name="T39" fmla="*/ 31 h 62"/>
                    <a:gd name="T40" fmla="*/ 81 w 85"/>
                    <a:gd name="T41" fmla="*/ 31 h 62"/>
                    <a:gd name="T42" fmla="*/ 85 w 85"/>
                    <a:gd name="T43" fmla="*/ 31 h 62"/>
                    <a:gd name="T44" fmla="*/ 81 w 85"/>
                    <a:gd name="T45" fmla="*/ 27 h 62"/>
                    <a:gd name="T46" fmla="*/ 81 w 85"/>
                    <a:gd name="T47" fmla="*/ 27 h 62"/>
                    <a:gd name="T48" fmla="*/ 81 w 85"/>
                    <a:gd name="T49" fmla="*/ 22 h 62"/>
                    <a:gd name="T50" fmla="*/ 67 w 85"/>
                    <a:gd name="T51" fmla="*/ 9 h 62"/>
                    <a:gd name="T52" fmla="*/ 63 w 85"/>
                    <a:gd name="T53" fmla="*/ 4 h 62"/>
                    <a:gd name="T54" fmla="*/ 58 w 85"/>
                    <a:gd name="T55" fmla="*/ 0 h 62"/>
                    <a:gd name="T56" fmla="*/ 49 w 85"/>
                    <a:gd name="T57" fmla="*/ 4 h 62"/>
                    <a:gd name="T58" fmla="*/ 32 w 85"/>
                    <a:gd name="T59" fmla="*/ 0 h 62"/>
                    <a:gd name="T60" fmla="*/ 23 w 85"/>
                    <a:gd name="T61" fmla="*/ 4 h 62"/>
                    <a:gd name="T62" fmla="*/ 18 w 85"/>
                    <a:gd name="T63" fmla="*/ 0 h 62"/>
                    <a:gd name="T64" fmla="*/ 9 w 85"/>
                    <a:gd name="T65" fmla="*/ 4 h 62"/>
                    <a:gd name="T66" fmla="*/ 5 w 85"/>
                    <a:gd name="T6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62">
                      <a:moveTo>
                        <a:pt x="5" y="4"/>
                      </a:moveTo>
                      <a:lnTo>
                        <a:pt x="0" y="4"/>
                      </a:lnTo>
                      <a:lnTo>
                        <a:pt x="5" y="18"/>
                      </a:lnTo>
                      <a:lnTo>
                        <a:pt x="5" y="22"/>
                      </a:lnTo>
                      <a:lnTo>
                        <a:pt x="9" y="22"/>
                      </a:lnTo>
                      <a:lnTo>
                        <a:pt x="9" y="27"/>
                      </a:lnTo>
                      <a:lnTo>
                        <a:pt x="23" y="31"/>
                      </a:lnTo>
                      <a:lnTo>
                        <a:pt x="32" y="31"/>
                      </a:lnTo>
                      <a:lnTo>
                        <a:pt x="32" y="35"/>
                      </a:lnTo>
                      <a:lnTo>
                        <a:pt x="32" y="49"/>
                      </a:lnTo>
                      <a:lnTo>
                        <a:pt x="41" y="58"/>
                      </a:lnTo>
                      <a:lnTo>
                        <a:pt x="41" y="62"/>
                      </a:lnTo>
                      <a:lnTo>
                        <a:pt x="49" y="53"/>
                      </a:lnTo>
                      <a:lnTo>
                        <a:pt x="58" y="58"/>
                      </a:lnTo>
                      <a:lnTo>
                        <a:pt x="63" y="53"/>
                      </a:lnTo>
                      <a:lnTo>
                        <a:pt x="67" y="58"/>
                      </a:lnTo>
                      <a:lnTo>
                        <a:pt x="67" y="49"/>
                      </a:lnTo>
                      <a:lnTo>
                        <a:pt x="72" y="44"/>
                      </a:lnTo>
                      <a:lnTo>
                        <a:pt x="76" y="35"/>
                      </a:lnTo>
                      <a:lnTo>
                        <a:pt x="81" y="31"/>
                      </a:lnTo>
                      <a:lnTo>
                        <a:pt x="81" y="31"/>
                      </a:lnTo>
                      <a:lnTo>
                        <a:pt x="85" y="31"/>
                      </a:lnTo>
                      <a:lnTo>
                        <a:pt x="81" y="27"/>
                      </a:lnTo>
                      <a:lnTo>
                        <a:pt x="81" y="27"/>
                      </a:lnTo>
                      <a:lnTo>
                        <a:pt x="81" y="22"/>
                      </a:lnTo>
                      <a:lnTo>
                        <a:pt x="67" y="9"/>
                      </a:lnTo>
                      <a:lnTo>
                        <a:pt x="63" y="4"/>
                      </a:lnTo>
                      <a:lnTo>
                        <a:pt x="58" y="0"/>
                      </a:lnTo>
                      <a:lnTo>
                        <a:pt x="49" y="4"/>
                      </a:lnTo>
                      <a:lnTo>
                        <a:pt x="32" y="0"/>
                      </a:lnTo>
                      <a:lnTo>
                        <a:pt x="23" y="4"/>
                      </a:lnTo>
                      <a:lnTo>
                        <a:pt x="18" y="0"/>
                      </a:lnTo>
                      <a:lnTo>
                        <a:pt x="9" y="4"/>
                      </a:lnTo>
                      <a:lnTo>
                        <a:pt x="5" y="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86" name="Freeform 191"/>
                <p:cNvSpPr>
                  <a:spLocks/>
                </p:cNvSpPr>
                <p:nvPr/>
              </p:nvSpPr>
              <p:spPr bwMode="gray">
                <a:xfrm>
                  <a:off x="2812" y="1935"/>
                  <a:ext cx="9" cy="13"/>
                </a:xfrm>
                <a:custGeom>
                  <a:avLst/>
                  <a:gdLst>
                    <a:gd name="T0" fmla="*/ 0 w 9"/>
                    <a:gd name="T1" fmla="*/ 13 h 13"/>
                    <a:gd name="T2" fmla="*/ 0 w 9"/>
                    <a:gd name="T3" fmla="*/ 9 h 13"/>
                    <a:gd name="T4" fmla="*/ 0 w 9"/>
                    <a:gd name="T5" fmla="*/ 0 h 13"/>
                    <a:gd name="T6" fmla="*/ 5 w 9"/>
                    <a:gd name="T7" fmla="*/ 0 h 13"/>
                    <a:gd name="T8" fmla="*/ 5 w 9"/>
                    <a:gd name="T9" fmla="*/ 4 h 13"/>
                    <a:gd name="T10" fmla="*/ 9 w 9"/>
                    <a:gd name="T11" fmla="*/ 9 h 13"/>
                    <a:gd name="T12" fmla="*/ 9 w 9"/>
                    <a:gd name="T13" fmla="*/ 13 h 13"/>
                    <a:gd name="T14" fmla="*/ 5 w 9"/>
                    <a:gd name="T15" fmla="*/ 13 h 13"/>
                    <a:gd name="T16" fmla="*/ 0 w 9"/>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3">
                      <a:moveTo>
                        <a:pt x="0" y="13"/>
                      </a:moveTo>
                      <a:lnTo>
                        <a:pt x="0" y="9"/>
                      </a:lnTo>
                      <a:lnTo>
                        <a:pt x="0" y="0"/>
                      </a:lnTo>
                      <a:lnTo>
                        <a:pt x="5" y="0"/>
                      </a:lnTo>
                      <a:lnTo>
                        <a:pt x="5" y="4"/>
                      </a:lnTo>
                      <a:lnTo>
                        <a:pt x="9" y="9"/>
                      </a:lnTo>
                      <a:lnTo>
                        <a:pt x="9" y="13"/>
                      </a:lnTo>
                      <a:lnTo>
                        <a:pt x="5" y="13"/>
                      </a:lnTo>
                      <a:lnTo>
                        <a:pt x="0" y="1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87" name="Freeform 192"/>
                <p:cNvSpPr>
                  <a:spLocks/>
                </p:cNvSpPr>
                <p:nvPr/>
              </p:nvSpPr>
              <p:spPr bwMode="gray">
                <a:xfrm>
                  <a:off x="3107" y="1975"/>
                  <a:ext cx="45" cy="58"/>
                </a:xfrm>
                <a:custGeom>
                  <a:avLst/>
                  <a:gdLst>
                    <a:gd name="T0" fmla="*/ 0 w 45"/>
                    <a:gd name="T1" fmla="*/ 0 h 58"/>
                    <a:gd name="T2" fmla="*/ 14 w 45"/>
                    <a:gd name="T3" fmla="*/ 18 h 58"/>
                    <a:gd name="T4" fmla="*/ 18 w 45"/>
                    <a:gd name="T5" fmla="*/ 27 h 58"/>
                    <a:gd name="T6" fmla="*/ 23 w 45"/>
                    <a:gd name="T7" fmla="*/ 40 h 58"/>
                    <a:gd name="T8" fmla="*/ 18 w 45"/>
                    <a:gd name="T9" fmla="*/ 58 h 58"/>
                    <a:gd name="T10" fmla="*/ 27 w 45"/>
                    <a:gd name="T11" fmla="*/ 58 h 58"/>
                    <a:gd name="T12" fmla="*/ 31 w 45"/>
                    <a:gd name="T13" fmla="*/ 54 h 58"/>
                    <a:gd name="T14" fmla="*/ 31 w 45"/>
                    <a:gd name="T15" fmla="*/ 49 h 58"/>
                    <a:gd name="T16" fmla="*/ 31 w 45"/>
                    <a:gd name="T17" fmla="*/ 40 h 58"/>
                    <a:gd name="T18" fmla="*/ 36 w 45"/>
                    <a:gd name="T19" fmla="*/ 45 h 58"/>
                    <a:gd name="T20" fmla="*/ 36 w 45"/>
                    <a:gd name="T21" fmla="*/ 40 h 58"/>
                    <a:gd name="T22" fmla="*/ 40 w 45"/>
                    <a:gd name="T23" fmla="*/ 40 h 58"/>
                    <a:gd name="T24" fmla="*/ 45 w 45"/>
                    <a:gd name="T25" fmla="*/ 40 h 58"/>
                    <a:gd name="T26" fmla="*/ 45 w 45"/>
                    <a:gd name="T27" fmla="*/ 31 h 58"/>
                    <a:gd name="T28" fmla="*/ 40 w 45"/>
                    <a:gd name="T29" fmla="*/ 22 h 58"/>
                    <a:gd name="T30" fmla="*/ 40 w 45"/>
                    <a:gd name="T31" fmla="*/ 13 h 58"/>
                    <a:gd name="T32" fmla="*/ 27 w 45"/>
                    <a:gd name="T33" fmla="*/ 4 h 58"/>
                    <a:gd name="T34" fmla="*/ 23 w 45"/>
                    <a:gd name="T35" fmla="*/ 4 h 58"/>
                    <a:gd name="T36" fmla="*/ 18 w 45"/>
                    <a:gd name="T37" fmla="*/ 0 h 58"/>
                    <a:gd name="T38" fmla="*/ 14 w 45"/>
                    <a:gd name="T39" fmla="*/ 4 h 58"/>
                    <a:gd name="T40" fmla="*/ 14 w 45"/>
                    <a:gd name="T41" fmla="*/ 0 h 58"/>
                    <a:gd name="T42" fmla="*/ 0 w 45"/>
                    <a:gd name="T4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58">
                      <a:moveTo>
                        <a:pt x="0" y="0"/>
                      </a:moveTo>
                      <a:lnTo>
                        <a:pt x="14" y="18"/>
                      </a:lnTo>
                      <a:lnTo>
                        <a:pt x="18" y="27"/>
                      </a:lnTo>
                      <a:lnTo>
                        <a:pt x="23" y="40"/>
                      </a:lnTo>
                      <a:lnTo>
                        <a:pt x="18" y="58"/>
                      </a:lnTo>
                      <a:lnTo>
                        <a:pt x="27" y="58"/>
                      </a:lnTo>
                      <a:lnTo>
                        <a:pt x="31" y="54"/>
                      </a:lnTo>
                      <a:lnTo>
                        <a:pt x="31" y="49"/>
                      </a:lnTo>
                      <a:lnTo>
                        <a:pt x="31" y="40"/>
                      </a:lnTo>
                      <a:lnTo>
                        <a:pt x="36" y="45"/>
                      </a:lnTo>
                      <a:lnTo>
                        <a:pt x="36" y="40"/>
                      </a:lnTo>
                      <a:lnTo>
                        <a:pt x="40" y="40"/>
                      </a:lnTo>
                      <a:lnTo>
                        <a:pt x="45" y="40"/>
                      </a:lnTo>
                      <a:lnTo>
                        <a:pt x="45" y="31"/>
                      </a:lnTo>
                      <a:lnTo>
                        <a:pt x="40" y="22"/>
                      </a:lnTo>
                      <a:lnTo>
                        <a:pt x="40" y="13"/>
                      </a:lnTo>
                      <a:lnTo>
                        <a:pt x="27" y="4"/>
                      </a:lnTo>
                      <a:lnTo>
                        <a:pt x="23" y="4"/>
                      </a:lnTo>
                      <a:lnTo>
                        <a:pt x="18" y="0"/>
                      </a:lnTo>
                      <a:lnTo>
                        <a:pt x="14" y="4"/>
                      </a:lnTo>
                      <a:lnTo>
                        <a:pt x="14" y="0"/>
                      </a:lnTo>
                      <a:lnTo>
                        <a:pt x="0" y="0"/>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88" name="Freeform 193"/>
                <p:cNvSpPr>
                  <a:spLocks/>
                </p:cNvSpPr>
                <p:nvPr/>
              </p:nvSpPr>
              <p:spPr bwMode="gray">
                <a:xfrm>
                  <a:off x="2772" y="1854"/>
                  <a:ext cx="58" cy="63"/>
                </a:xfrm>
                <a:custGeom>
                  <a:avLst/>
                  <a:gdLst>
                    <a:gd name="T0" fmla="*/ 45 w 58"/>
                    <a:gd name="T1" fmla="*/ 63 h 63"/>
                    <a:gd name="T2" fmla="*/ 40 w 58"/>
                    <a:gd name="T3" fmla="*/ 63 h 63"/>
                    <a:gd name="T4" fmla="*/ 40 w 58"/>
                    <a:gd name="T5" fmla="*/ 58 h 63"/>
                    <a:gd name="T6" fmla="*/ 36 w 58"/>
                    <a:gd name="T7" fmla="*/ 54 h 63"/>
                    <a:gd name="T8" fmla="*/ 27 w 58"/>
                    <a:gd name="T9" fmla="*/ 54 h 63"/>
                    <a:gd name="T10" fmla="*/ 18 w 58"/>
                    <a:gd name="T11" fmla="*/ 45 h 63"/>
                    <a:gd name="T12" fmla="*/ 14 w 58"/>
                    <a:gd name="T13" fmla="*/ 54 h 63"/>
                    <a:gd name="T14" fmla="*/ 9 w 58"/>
                    <a:gd name="T15" fmla="*/ 54 h 63"/>
                    <a:gd name="T16" fmla="*/ 0 w 58"/>
                    <a:gd name="T17" fmla="*/ 54 h 63"/>
                    <a:gd name="T18" fmla="*/ 0 w 58"/>
                    <a:gd name="T19" fmla="*/ 49 h 63"/>
                    <a:gd name="T20" fmla="*/ 5 w 58"/>
                    <a:gd name="T21" fmla="*/ 49 h 63"/>
                    <a:gd name="T22" fmla="*/ 5 w 58"/>
                    <a:gd name="T23" fmla="*/ 49 h 63"/>
                    <a:gd name="T24" fmla="*/ 5 w 58"/>
                    <a:gd name="T25" fmla="*/ 49 h 63"/>
                    <a:gd name="T26" fmla="*/ 0 w 58"/>
                    <a:gd name="T27" fmla="*/ 45 h 63"/>
                    <a:gd name="T28" fmla="*/ 5 w 58"/>
                    <a:gd name="T29" fmla="*/ 40 h 63"/>
                    <a:gd name="T30" fmla="*/ 14 w 58"/>
                    <a:gd name="T31" fmla="*/ 45 h 63"/>
                    <a:gd name="T32" fmla="*/ 14 w 58"/>
                    <a:gd name="T33" fmla="*/ 40 h 63"/>
                    <a:gd name="T34" fmla="*/ 9 w 58"/>
                    <a:gd name="T35" fmla="*/ 40 h 63"/>
                    <a:gd name="T36" fmla="*/ 5 w 58"/>
                    <a:gd name="T37" fmla="*/ 40 h 63"/>
                    <a:gd name="T38" fmla="*/ 14 w 58"/>
                    <a:gd name="T39" fmla="*/ 36 h 63"/>
                    <a:gd name="T40" fmla="*/ 18 w 58"/>
                    <a:gd name="T41" fmla="*/ 27 h 63"/>
                    <a:gd name="T42" fmla="*/ 27 w 58"/>
                    <a:gd name="T43" fmla="*/ 9 h 63"/>
                    <a:gd name="T44" fmla="*/ 27 w 58"/>
                    <a:gd name="T45" fmla="*/ 9 h 63"/>
                    <a:gd name="T46" fmla="*/ 31 w 58"/>
                    <a:gd name="T47" fmla="*/ 9 h 63"/>
                    <a:gd name="T48" fmla="*/ 36 w 58"/>
                    <a:gd name="T49" fmla="*/ 5 h 63"/>
                    <a:gd name="T50" fmla="*/ 40 w 58"/>
                    <a:gd name="T51" fmla="*/ 0 h 63"/>
                    <a:gd name="T52" fmla="*/ 54 w 58"/>
                    <a:gd name="T53" fmla="*/ 0 h 63"/>
                    <a:gd name="T54" fmla="*/ 54 w 58"/>
                    <a:gd name="T55" fmla="*/ 0 h 63"/>
                    <a:gd name="T56" fmla="*/ 54 w 58"/>
                    <a:gd name="T57" fmla="*/ 9 h 63"/>
                    <a:gd name="T58" fmla="*/ 58 w 58"/>
                    <a:gd name="T59" fmla="*/ 9 h 63"/>
                    <a:gd name="T60" fmla="*/ 54 w 58"/>
                    <a:gd name="T61" fmla="*/ 18 h 63"/>
                    <a:gd name="T62" fmla="*/ 54 w 58"/>
                    <a:gd name="T63" fmla="*/ 18 h 63"/>
                    <a:gd name="T64" fmla="*/ 54 w 58"/>
                    <a:gd name="T65" fmla="*/ 36 h 63"/>
                    <a:gd name="T66" fmla="*/ 49 w 58"/>
                    <a:gd name="T67" fmla="*/ 36 h 63"/>
                    <a:gd name="T68" fmla="*/ 40 w 58"/>
                    <a:gd name="T69" fmla="*/ 40 h 63"/>
                    <a:gd name="T70" fmla="*/ 40 w 58"/>
                    <a:gd name="T71" fmla="*/ 45 h 63"/>
                    <a:gd name="T72" fmla="*/ 45 w 58"/>
                    <a:gd name="T73" fmla="*/ 49 h 63"/>
                    <a:gd name="T74" fmla="*/ 40 w 58"/>
                    <a:gd name="T75" fmla="*/ 58 h 63"/>
                    <a:gd name="T76" fmla="*/ 45 w 58"/>
                    <a:gd name="T7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63">
                      <a:moveTo>
                        <a:pt x="45" y="63"/>
                      </a:moveTo>
                      <a:lnTo>
                        <a:pt x="40" y="63"/>
                      </a:lnTo>
                      <a:lnTo>
                        <a:pt x="40" y="58"/>
                      </a:lnTo>
                      <a:lnTo>
                        <a:pt x="36" y="54"/>
                      </a:lnTo>
                      <a:lnTo>
                        <a:pt x="27" y="54"/>
                      </a:lnTo>
                      <a:lnTo>
                        <a:pt x="18" y="45"/>
                      </a:lnTo>
                      <a:lnTo>
                        <a:pt x="14" y="54"/>
                      </a:lnTo>
                      <a:lnTo>
                        <a:pt x="9" y="54"/>
                      </a:lnTo>
                      <a:lnTo>
                        <a:pt x="0" y="54"/>
                      </a:lnTo>
                      <a:lnTo>
                        <a:pt x="0" y="49"/>
                      </a:lnTo>
                      <a:lnTo>
                        <a:pt x="5" y="49"/>
                      </a:lnTo>
                      <a:lnTo>
                        <a:pt x="5" y="49"/>
                      </a:lnTo>
                      <a:lnTo>
                        <a:pt x="5" y="49"/>
                      </a:lnTo>
                      <a:lnTo>
                        <a:pt x="0" y="45"/>
                      </a:lnTo>
                      <a:lnTo>
                        <a:pt x="5" y="40"/>
                      </a:lnTo>
                      <a:lnTo>
                        <a:pt x="14" y="45"/>
                      </a:lnTo>
                      <a:lnTo>
                        <a:pt x="14" y="40"/>
                      </a:lnTo>
                      <a:lnTo>
                        <a:pt x="9" y="40"/>
                      </a:lnTo>
                      <a:lnTo>
                        <a:pt x="5" y="40"/>
                      </a:lnTo>
                      <a:lnTo>
                        <a:pt x="14" y="36"/>
                      </a:lnTo>
                      <a:lnTo>
                        <a:pt x="18" y="27"/>
                      </a:lnTo>
                      <a:lnTo>
                        <a:pt x="27" y="9"/>
                      </a:lnTo>
                      <a:lnTo>
                        <a:pt x="27" y="9"/>
                      </a:lnTo>
                      <a:lnTo>
                        <a:pt x="31" y="9"/>
                      </a:lnTo>
                      <a:lnTo>
                        <a:pt x="36" y="5"/>
                      </a:lnTo>
                      <a:lnTo>
                        <a:pt x="40" y="0"/>
                      </a:lnTo>
                      <a:lnTo>
                        <a:pt x="54" y="0"/>
                      </a:lnTo>
                      <a:lnTo>
                        <a:pt x="54" y="0"/>
                      </a:lnTo>
                      <a:lnTo>
                        <a:pt x="54" y="9"/>
                      </a:lnTo>
                      <a:lnTo>
                        <a:pt x="58" y="9"/>
                      </a:lnTo>
                      <a:lnTo>
                        <a:pt x="54" y="18"/>
                      </a:lnTo>
                      <a:lnTo>
                        <a:pt x="54" y="18"/>
                      </a:lnTo>
                      <a:lnTo>
                        <a:pt x="54" y="36"/>
                      </a:lnTo>
                      <a:lnTo>
                        <a:pt x="49" y="36"/>
                      </a:lnTo>
                      <a:lnTo>
                        <a:pt x="40" y="40"/>
                      </a:lnTo>
                      <a:lnTo>
                        <a:pt x="40" y="45"/>
                      </a:lnTo>
                      <a:lnTo>
                        <a:pt x="45" y="49"/>
                      </a:lnTo>
                      <a:lnTo>
                        <a:pt x="40" y="58"/>
                      </a:lnTo>
                      <a:lnTo>
                        <a:pt x="45" y="63"/>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89" name="Freeform 194"/>
                <p:cNvSpPr>
                  <a:spLocks noEditPoints="1"/>
                </p:cNvSpPr>
                <p:nvPr/>
              </p:nvSpPr>
              <p:spPr bwMode="gray">
                <a:xfrm>
                  <a:off x="2799" y="1273"/>
                  <a:ext cx="371" cy="465"/>
                </a:xfrm>
                <a:custGeom>
                  <a:avLst/>
                  <a:gdLst>
                    <a:gd name="T0" fmla="*/ 98 w 371"/>
                    <a:gd name="T1" fmla="*/ 416 h 465"/>
                    <a:gd name="T2" fmla="*/ 98 w 371"/>
                    <a:gd name="T3" fmla="*/ 349 h 465"/>
                    <a:gd name="T4" fmla="*/ 103 w 371"/>
                    <a:gd name="T5" fmla="*/ 277 h 465"/>
                    <a:gd name="T6" fmla="*/ 125 w 371"/>
                    <a:gd name="T7" fmla="*/ 259 h 465"/>
                    <a:gd name="T8" fmla="*/ 143 w 371"/>
                    <a:gd name="T9" fmla="*/ 215 h 465"/>
                    <a:gd name="T10" fmla="*/ 161 w 371"/>
                    <a:gd name="T11" fmla="*/ 157 h 465"/>
                    <a:gd name="T12" fmla="*/ 188 w 371"/>
                    <a:gd name="T13" fmla="*/ 130 h 465"/>
                    <a:gd name="T14" fmla="*/ 210 w 371"/>
                    <a:gd name="T15" fmla="*/ 103 h 465"/>
                    <a:gd name="T16" fmla="*/ 228 w 371"/>
                    <a:gd name="T17" fmla="*/ 90 h 465"/>
                    <a:gd name="T18" fmla="*/ 272 w 371"/>
                    <a:gd name="T19" fmla="*/ 108 h 465"/>
                    <a:gd name="T20" fmla="*/ 308 w 371"/>
                    <a:gd name="T21" fmla="*/ 58 h 465"/>
                    <a:gd name="T22" fmla="*/ 339 w 371"/>
                    <a:gd name="T23" fmla="*/ 67 h 465"/>
                    <a:gd name="T24" fmla="*/ 344 w 371"/>
                    <a:gd name="T25" fmla="*/ 90 h 465"/>
                    <a:gd name="T26" fmla="*/ 362 w 371"/>
                    <a:gd name="T27" fmla="*/ 76 h 465"/>
                    <a:gd name="T28" fmla="*/ 357 w 371"/>
                    <a:gd name="T29" fmla="*/ 49 h 465"/>
                    <a:gd name="T30" fmla="*/ 348 w 371"/>
                    <a:gd name="T31" fmla="*/ 18 h 465"/>
                    <a:gd name="T32" fmla="*/ 335 w 371"/>
                    <a:gd name="T33" fmla="*/ 14 h 465"/>
                    <a:gd name="T34" fmla="*/ 335 w 371"/>
                    <a:gd name="T35" fmla="*/ 5 h 465"/>
                    <a:gd name="T36" fmla="*/ 308 w 371"/>
                    <a:gd name="T37" fmla="*/ 32 h 465"/>
                    <a:gd name="T38" fmla="*/ 281 w 371"/>
                    <a:gd name="T39" fmla="*/ 49 h 465"/>
                    <a:gd name="T40" fmla="*/ 272 w 371"/>
                    <a:gd name="T41" fmla="*/ 18 h 465"/>
                    <a:gd name="T42" fmla="*/ 259 w 371"/>
                    <a:gd name="T43" fmla="*/ 54 h 465"/>
                    <a:gd name="T44" fmla="*/ 228 w 371"/>
                    <a:gd name="T45" fmla="*/ 45 h 465"/>
                    <a:gd name="T46" fmla="*/ 214 w 371"/>
                    <a:gd name="T47" fmla="*/ 76 h 465"/>
                    <a:gd name="T48" fmla="*/ 179 w 371"/>
                    <a:gd name="T49" fmla="*/ 67 h 465"/>
                    <a:gd name="T50" fmla="*/ 179 w 371"/>
                    <a:gd name="T51" fmla="*/ 81 h 465"/>
                    <a:gd name="T52" fmla="*/ 161 w 371"/>
                    <a:gd name="T53" fmla="*/ 125 h 465"/>
                    <a:gd name="T54" fmla="*/ 147 w 371"/>
                    <a:gd name="T55" fmla="*/ 143 h 465"/>
                    <a:gd name="T56" fmla="*/ 147 w 371"/>
                    <a:gd name="T57" fmla="*/ 157 h 465"/>
                    <a:gd name="T58" fmla="*/ 134 w 371"/>
                    <a:gd name="T59" fmla="*/ 166 h 465"/>
                    <a:gd name="T60" fmla="*/ 121 w 371"/>
                    <a:gd name="T61" fmla="*/ 192 h 465"/>
                    <a:gd name="T62" fmla="*/ 98 w 371"/>
                    <a:gd name="T63" fmla="*/ 233 h 465"/>
                    <a:gd name="T64" fmla="*/ 89 w 371"/>
                    <a:gd name="T65" fmla="*/ 255 h 465"/>
                    <a:gd name="T66" fmla="*/ 76 w 371"/>
                    <a:gd name="T67" fmla="*/ 277 h 465"/>
                    <a:gd name="T68" fmla="*/ 67 w 371"/>
                    <a:gd name="T69" fmla="*/ 295 h 465"/>
                    <a:gd name="T70" fmla="*/ 40 w 371"/>
                    <a:gd name="T71" fmla="*/ 309 h 465"/>
                    <a:gd name="T72" fmla="*/ 4 w 371"/>
                    <a:gd name="T73" fmla="*/ 358 h 465"/>
                    <a:gd name="T74" fmla="*/ 13 w 371"/>
                    <a:gd name="T75" fmla="*/ 376 h 465"/>
                    <a:gd name="T76" fmla="*/ 0 w 371"/>
                    <a:gd name="T77" fmla="*/ 425 h 465"/>
                    <a:gd name="T78" fmla="*/ 27 w 371"/>
                    <a:gd name="T79" fmla="*/ 452 h 465"/>
                    <a:gd name="T80" fmla="*/ 49 w 371"/>
                    <a:gd name="T81" fmla="*/ 456 h 465"/>
                    <a:gd name="T82" fmla="*/ 71 w 371"/>
                    <a:gd name="T83" fmla="*/ 425 h 465"/>
                    <a:gd name="T84" fmla="*/ 89 w 371"/>
                    <a:gd name="T85" fmla="*/ 429 h 465"/>
                    <a:gd name="T86" fmla="*/ 125 w 371"/>
                    <a:gd name="T87" fmla="*/ 125 h 465"/>
                    <a:gd name="T88" fmla="*/ 134 w 371"/>
                    <a:gd name="T89" fmla="*/ 116 h 465"/>
                    <a:gd name="T90" fmla="*/ 112 w 371"/>
                    <a:gd name="T91" fmla="*/ 139 h 465"/>
                    <a:gd name="T92" fmla="*/ 161 w 371"/>
                    <a:gd name="T93" fmla="*/ 94 h 465"/>
                    <a:gd name="T94" fmla="*/ 156 w 371"/>
                    <a:gd name="T95" fmla="*/ 90 h 465"/>
                    <a:gd name="T96" fmla="*/ 138 w 371"/>
                    <a:gd name="T97" fmla="*/ 90 h 465"/>
                    <a:gd name="T98" fmla="*/ 138 w 371"/>
                    <a:gd name="T99" fmla="*/ 108 h 465"/>
                    <a:gd name="T100" fmla="*/ 192 w 371"/>
                    <a:gd name="T101" fmla="*/ 67 h 465"/>
                    <a:gd name="T102" fmla="*/ 205 w 371"/>
                    <a:gd name="T103" fmla="*/ 58 h 465"/>
                    <a:gd name="T104" fmla="*/ 192 w 371"/>
                    <a:gd name="T105" fmla="*/ 54 h 465"/>
                    <a:gd name="T106" fmla="*/ 192 w 371"/>
                    <a:gd name="T107" fmla="*/ 67 h 465"/>
                    <a:gd name="T108" fmla="*/ 255 w 371"/>
                    <a:gd name="T109" fmla="*/ 36 h 465"/>
                    <a:gd name="T110" fmla="*/ 264 w 371"/>
                    <a:gd name="T111" fmla="*/ 14 h 465"/>
                    <a:gd name="T112" fmla="*/ 241 w 371"/>
                    <a:gd name="T113" fmla="*/ 27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1" h="465">
                      <a:moveTo>
                        <a:pt x="89" y="434"/>
                      </a:moveTo>
                      <a:lnTo>
                        <a:pt x="98" y="438"/>
                      </a:lnTo>
                      <a:lnTo>
                        <a:pt x="98" y="425"/>
                      </a:lnTo>
                      <a:lnTo>
                        <a:pt x="98" y="416"/>
                      </a:lnTo>
                      <a:lnTo>
                        <a:pt x="107" y="407"/>
                      </a:lnTo>
                      <a:lnTo>
                        <a:pt x="103" y="380"/>
                      </a:lnTo>
                      <a:lnTo>
                        <a:pt x="112" y="367"/>
                      </a:lnTo>
                      <a:lnTo>
                        <a:pt x="98" y="349"/>
                      </a:lnTo>
                      <a:lnTo>
                        <a:pt x="98" y="304"/>
                      </a:lnTo>
                      <a:lnTo>
                        <a:pt x="103" y="300"/>
                      </a:lnTo>
                      <a:lnTo>
                        <a:pt x="98" y="295"/>
                      </a:lnTo>
                      <a:lnTo>
                        <a:pt x="103" y="277"/>
                      </a:lnTo>
                      <a:lnTo>
                        <a:pt x="112" y="273"/>
                      </a:lnTo>
                      <a:lnTo>
                        <a:pt x="121" y="277"/>
                      </a:lnTo>
                      <a:lnTo>
                        <a:pt x="130" y="273"/>
                      </a:lnTo>
                      <a:lnTo>
                        <a:pt x="125" y="259"/>
                      </a:lnTo>
                      <a:lnTo>
                        <a:pt x="134" y="233"/>
                      </a:lnTo>
                      <a:lnTo>
                        <a:pt x="134" y="215"/>
                      </a:lnTo>
                      <a:lnTo>
                        <a:pt x="138" y="210"/>
                      </a:lnTo>
                      <a:lnTo>
                        <a:pt x="143" y="215"/>
                      </a:lnTo>
                      <a:lnTo>
                        <a:pt x="147" y="206"/>
                      </a:lnTo>
                      <a:lnTo>
                        <a:pt x="143" y="197"/>
                      </a:lnTo>
                      <a:lnTo>
                        <a:pt x="165" y="175"/>
                      </a:lnTo>
                      <a:lnTo>
                        <a:pt x="161" y="157"/>
                      </a:lnTo>
                      <a:lnTo>
                        <a:pt x="165" y="143"/>
                      </a:lnTo>
                      <a:lnTo>
                        <a:pt x="174" y="130"/>
                      </a:lnTo>
                      <a:lnTo>
                        <a:pt x="183" y="134"/>
                      </a:lnTo>
                      <a:lnTo>
                        <a:pt x="188" y="130"/>
                      </a:lnTo>
                      <a:lnTo>
                        <a:pt x="183" y="116"/>
                      </a:lnTo>
                      <a:lnTo>
                        <a:pt x="188" y="112"/>
                      </a:lnTo>
                      <a:lnTo>
                        <a:pt x="210" y="116"/>
                      </a:lnTo>
                      <a:lnTo>
                        <a:pt x="210" y="103"/>
                      </a:lnTo>
                      <a:lnTo>
                        <a:pt x="214" y="94"/>
                      </a:lnTo>
                      <a:lnTo>
                        <a:pt x="223" y="94"/>
                      </a:lnTo>
                      <a:lnTo>
                        <a:pt x="219" y="90"/>
                      </a:lnTo>
                      <a:lnTo>
                        <a:pt x="228" y="90"/>
                      </a:lnTo>
                      <a:lnTo>
                        <a:pt x="228" y="85"/>
                      </a:lnTo>
                      <a:lnTo>
                        <a:pt x="237" y="85"/>
                      </a:lnTo>
                      <a:lnTo>
                        <a:pt x="250" y="108"/>
                      </a:lnTo>
                      <a:lnTo>
                        <a:pt x="272" y="108"/>
                      </a:lnTo>
                      <a:lnTo>
                        <a:pt x="281" y="112"/>
                      </a:lnTo>
                      <a:lnTo>
                        <a:pt x="295" y="99"/>
                      </a:lnTo>
                      <a:lnTo>
                        <a:pt x="295" y="76"/>
                      </a:lnTo>
                      <a:lnTo>
                        <a:pt x="308" y="58"/>
                      </a:lnTo>
                      <a:lnTo>
                        <a:pt x="326" y="54"/>
                      </a:lnTo>
                      <a:lnTo>
                        <a:pt x="331" y="63"/>
                      </a:lnTo>
                      <a:lnTo>
                        <a:pt x="339" y="63"/>
                      </a:lnTo>
                      <a:lnTo>
                        <a:pt x="339" y="67"/>
                      </a:lnTo>
                      <a:lnTo>
                        <a:pt x="335" y="85"/>
                      </a:lnTo>
                      <a:lnTo>
                        <a:pt x="331" y="90"/>
                      </a:lnTo>
                      <a:lnTo>
                        <a:pt x="331" y="94"/>
                      </a:lnTo>
                      <a:lnTo>
                        <a:pt x="344" y="90"/>
                      </a:lnTo>
                      <a:lnTo>
                        <a:pt x="353" y="76"/>
                      </a:lnTo>
                      <a:lnTo>
                        <a:pt x="353" y="67"/>
                      </a:lnTo>
                      <a:lnTo>
                        <a:pt x="353" y="67"/>
                      </a:lnTo>
                      <a:lnTo>
                        <a:pt x="362" y="76"/>
                      </a:lnTo>
                      <a:lnTo>
                        <a:pt x="366" y="63"/>
                      </a:lnTo>
                      <a:lnTo>
                        <a:pt x="339" y="49"/>
                      </a:lnTo>
                      <a:lnTo>
                        <a:pt x="335" y="45"/>
                      </a:lnTo>
                      <a:lnTo>
                        <a:pt x="357" y="49"/>
                      </a:lnTo>
                      <a:lnTo>
                        <a:pt x="366" y="36"/>
                      </a:lnTo>
                      <a:lnTo>
                        <a:pt x="371" y="36"/>
                      </a:lnTo>
                      <a:lnTo>
                        <a:pt x="371" y="27"/>
                      </a:lnTo>
                      <a:lnTo>
                        <a:pt x="348" y="18"/>
                      </a:lnTo>
                      <a:lnTo>
                        <a:pt x="344" y="18"/>
                      </a:lnTo>
                      <a:lnTo>
                        <a:pt x="348" y="9"/>
                      </a:lnTo>
                      <a:lnTo>
                        <a:pt x="344" y="5"/>
                      </a:lnTo>
                      <a:lnTo>
                        <a:pt x="335" y="14"/>
                      </a:lnTo>
                      <a:lnTo>
                        <a:pt x="331" y="32"/>
                      </a:lnTo>
                      <a:lnTo>
                        <a:pt x="326" y="27"/>
                      </a:lnTo>
                      <a:lnTo>
                        <a:pt x="331" y="18"/>
                      </a:lnTo>
                      <a:lnTo>
                        <a:pt x="335" y="5"/>
                      </a:lnTo>
                      <a:lnTo>
                        <a:pt x="335" y="5"/>
                      </a:lnTo>
                      <a:lnTo>
                        <a:pt x="326" y="0"/>
                      </a:lnTo>
                      <a:lnTo>
                        <a:pt x="317" y="5"/>
                      </a:lnTo>
                      <a:lnTo>
                        <a:pt x="308" y="32"/>
                      </a:lnTo>
                      <a:lnTo>
                        <a:pt x="304" y="9"/>
                      </a:lnTo>
                      <a:lnTo>
                        <a:pt x="295" y="27"/>
                      </a:lnTo>
                      <a:lnTo>
                        <a:pt x="286" y="49"/>
                      </a:lnTo>
                      <a:lnTo>
                        <a:pt x="281" y="49"/>
                      </a:lnTo>
                      <a:lnTo>
                        <a:pt x="286" y="32"/>
                      </a:lnTo>
                      <a:lnTo>
                        <a:pt x="295" y="9"/>
                      </a:lnTo>
                      <a:lnTo>
                        <a:pt x="277" y="5"/>
                      </a:lnTo>
                      <a:lnTo>
                        <a:pt x="272" y="18"/>
                      </a:lnTo>
                      <a:lnTo>
                        <a:pt x="277" y="23"/>
                      </a:lnTo>
                      <a:lnTo>
                        <a:pt x="268" y="27"/>
                      </a:lnTo>
                      <a:lnTo>
                        <a:pt x="259" y="41"/>
                      </a:lnTo>
                      <a:lnTo>
                        <a:pt x="259" y="54"/>
                      </a:lnTo>
                      <a:lnTo>
                        <a:pt x="250" y="54"/>
                      </a:lnTo>
                      <a:lnTo>
                        <a:pt x="250" y="41"/>
                      </a:lnTo>
                      <a:lnTo>
                        <a:pt x="237" y="41"/>
                      </a:lnTo>
                      <a:lnTo>
                        <a:pt x="228" y="45"/>
                      </a:lnTo>
                      <a:lnTo>
                        <a:pt x="237" y="54"/>
                      </a:lnTo>
                      <a:lnTo>
                        <a:pt x="228" y="58"/>
                      </a:lnTo>
                      <a:lnTo>
                        <a:pt x="223" y="54"/>
                      </a:lnTo>
                      <a:lnTo>
                        <a:pt x="214" y="76"/>
                      </a:lnTo>
                      <a:lnTo>
                        <a:pt x="214" y="58"/>
                      </a:lnTo>
                      <a:lnTo>
                        <a:pt x="197" y="67"/>
                      </a:lnTo>
                      <a:lnTo>
                        <a:pt x="192" y="76"/>
                      </a:lnTo>
                      <a:lnTo>
                        <a:pt x="179" y="67"/>
                      </a:lnTo>
                      <a:lnTo>
                        <a:pt x="170" y="76"/>
                      </a:lnTo>
                      <a:lnTo>
                        <a:pt x="165" y="85"/>
                      </a:lnTo>
                      <a:lnTo>
                        <a:pt x="170" y="90"/>
                      </a:lnTo>
                      <a:lnTo>
                        <a:pt x="179" y="81"/>
                      </a:lnTo>
                      <a:lnTo>
                        <a:pt x="179" y="99"/>
                      </a:lnTo>
                      <a:lnTo>
                        <a:pt x="165" y="108"/>
                      </a:lnTo>
                      <a:lnTo>
                        <a:pt x="161" y="116"/>
                      </a:lnTo>
                      <a:lnTo>
                        <a:pt x="161" y="125"/>
                      </a:lnTo>
                      <a:lnTo>
                        <a:pt x="152" y="121"/>
                      </a:lnTo>
                      <a:lnTo>
                        <a:pt x="138" y="134"/>
                      </a:lnTo>
                      <a:lnTo>
                        <a:pt x="138" y="148"/>
                      </a:lnTo>
                      <a:lnTo>
                        <a:pt x="147" y="143"/>
                      </a:lnTo>
                      <a:lnTo>
                        <a:pt x="147" y="152"/>
                      </a:lnTo>
                      <a:lnTo>
                        <a:pt x="138" y="152"/>
                      </a:lnTo>
                      <a:lnTo>
                        <a:pt x="130" y="161"/>
                      </a:lnTo>
                      <a:lnTo>
                        <a:pt x="147" y="157"/>
                      </a:lnTo>
                      <a:lnTo>
                        <a:pt x="152" y="161"/>
                      </a:lnTo>
                      <a:lnTo>
                        <a:pt x="152" y="166"/>
                      </a:lnTo>
                      <a:lnTo>
                        <a:pt x="143" y="161"/>
                      </a:lnTo>
                      <a:lnTo>
                        <a:pt x="134" y="166"/>
                      </a:lnTo>
                      <a:lnTo>
                        <a:pt x="134" y="170"/>
                      </a:lnTo>
                      <a:lnTo>
                        <a:pt x="125" y="170"/>
                      </a:lnTo>
                      <a:lnTo>
                        <a:pt x="116" y="184"/>
                      </a:lnTo>
                      <a:lnTo>
                        <a:pt x="121" y="192"/>
                      </a:lnTo>
                      <a:lnTo>
                        <a:pt x="112" y="197"/>
                      </a:lnTo>
                      <a:lnTo>
                        <a:pt x="116" y="206"/>
                      </a:lnTo>
                      <a:lnTo>
                        <a:pt x="107" y="215"/>
                      </a:lnTo>
                      <a:lnTo>
                        <a:pt x="98" y="233"/>
                      </a:lnTo>
                      <a:lnTo>
                        <a:pt x="98" y="233"/>
                      </a:lnTo>
                      <a:lnTo>
                        <a:pt x="103" y="246"/>
                      </a:lnTo>
                      <a:lnTo>
                        <a:pt x="98" y="242"/>
                      </a:lnTo>
                      <a:lnTo>
                        <a:pt x="89" y="255"/>
                      </a:lnTo>
                      <a:lnTo>
                        <a:pt x="94" y="255"/>
                      </a:lnTo>
                      <a:lnTo>
                        <a:pt x="94" y="264"/>
                      </a:lnTo>
                      <a:lnTo>
                        <a:pt x="80" y="264"/>
                      </a:lnTo>
                      <a:lnTo>
                        <a:pt x="76" y="277"/>
                      </a:lnTo>
                      <a:lnTo>
                        <a:pt x="71" y="286"/>
                      </a:lnTo>
                      <a:lnTo>
                        <a:pt x="80" y="295"/>
                      </a:lnTo>
                      <a:lnTo>
                        <a:pt x="76" y="300"/>
                      </a:lnTo>
                      <a:lnTo>
                        <a:pt x="67" y="295"/>
                      </a:lnTo>
                      <a:lnTo>
                        <a:pt x="58" y="282"/>
                      </a:lnTo>
                      <a:lnTo>
                        <a:pt x="49" y="295"/>
                      </a:lnTo>
                      <a:lnTo>
                        <a:pt x="49" y="313"/>
                      </a:lnTo>
                      <a:lnTo>
                        <a:pt x="40" y="309"/>
                      </a:lnTo>
                      <a:lnTo>
                        <a:pt x="18" y="327"/>
                      </a:lnTo>
                      <a:lnTo>
                        <a:pt x="4" y="335"/>
                      </a:lnTo>
                      <a:lnTo>
                        <a:pt x="0" y="349"/>
                      </a:lnTo>
                      <a:lnTo>
                        <a:pt x="4" y="358"/>
                      </a:lnTo>
                      <a:lnTo>
                        <a:pt x="13" y="358"/>
                      </a:lnTo>
                      <a:lnTo>
                        <a:pt x="4" y="362"/>
                      </a:lnTo>
                      <a:lnTo>
                        <a:pt x="9" y="371"/>
                      </a:lnTo>
                      <a:lnTo>
                        <a:pt x="13" y="376"/>
                      </a:lnTo>
                      <a:lnTo>
                        <a:pt x="4" y="376"/>
                      </a:lnTo>
                      <a:lnTo>
                        <a:pt x="0" y="398"/>
                      </a:lnTo>
                      <a:lnTo>
                        <a:pt x="4" y="402"/>
                      </a:lnTo>
                      <a:lnTo>
                        <a:pt x="0" y="425"/>
                      </a:lnTo>
                      <a:lnTo>
                        <a:pt x="9" y="434"/>
                      </a:lnTo>
                      <a:lnTo>
                        <a:pt x="13" y="447"/>
                      </a:lnTo>
                      <a:lnTo>
                        <a:pt x="18" y="452"/>
                      </a:lnTo>
                      <a:lnTo>
                        <a:pt x="27" y="452"/>
                      </a:lnTo>
                      <a:lnTo>
                        <a:pt x="27" y="461"/>
                      </a:lnTo>
                      <a:lnTo>
                        <a:pt x="36" y="465"/>
                      </a:lnTo>
                      <a:lnTo>
                        <a:pt x="45" y="461"/>
                      </a:lnTo>
                      <a:lnTo>
                        <a:pt x="49" y="456"/>
                      </a:lnTo>
                      <a:lnTo>
                        <a:pt x="54" y="456"/>
                      </a:lnTo>
                      <a:lnTo>
                        <a:pt x="63" y="438"/>
                      </a:lnTo>
                      <a:lnTo>
                        <a:pt x="67" y="429"/>
                      </a:lnTo>
                      <a:lnTo>
                        <a:pt x="71" y="425"/>
                      </a:lnTo>
                      <a:lnTo>
                        <a:pt x="76" y="420"/>
                      </a:lnTo>
                      <a:lnTo>
                        <a:pt x="80" y="420"/>
                      </a:lnTo>
                      <a:lnTo>
                        <a:pt x="80" y="429"/>
                      </a:lnTo>
                      <a:lnTo>
                        <a:pt x="89" y="429"/>
                      </a:lnTo>
                      <a:lnTo>
                        <a:pt x="89" y="434"/>
                      </a:lnTo>
                      <a:close/>
                      <a:moveTo>
                        <a:pt x="112" y="139"/>
                      </a:moveTo>
                      <a:lnTo>
                        <a:pt x="121" y="130"/>
                      </a:lnTo>
                      <a:lnTo>
                        <a:pt x="125" y="125"/>
                      </a:lnTo>
                      <a:lnTo>
                        <a:pt x="130" y="125"/>
                      </a:lnTo>
                      <a:lnTo>
                        <a:pt x="138" y="121"/>
                      </a:lnTo>
                      <a:lnTo>
                        <a:pt x="138" y="112"/>
                      </a:lnTo>
                      <a:lnTo>
                        <a:pt x="134" y="116"/>
                      </a:lnTo>
                      <a:lnTo>
                        <a:pt x="130" y="121"/>
                      </a:lnTo>
                      <a:lnTo>
                        <a:pt x="125" y="121"/>
                      </a:lnTo>
                      <a:lnTo>
                        <a:pt x="112" y="130"/>
                      </a:lnTo>
                      <a:lnTo>
                        <a:pt x="112" y="139"/>
                      </a:lnTo>
                      <a:close/>
                      <a:moveTo>
                        <a:pt x="152" y="116"/>
                      </a:moveTo>
                      <a:lnTo>
                        <a:pt x="161" y="108"/>
                      </a:lnTo>
                      <a:lnTo>
                        <a:pt x="165" y="99"/>
                      </a:lnTo>
                      <a:lnTo>
                        <a:pt x="161" y="94"/>
                      </a:lnTo>
                      <a:lnTo>
                        <a:pt x="156" y="94"/>
                      </a:lnTo>
                      <a:lnTo>
                        <a:pt x="152" y="103"/>
                      </a:lnTo>
                      <a:lnTo>
                        <a:pt x="152" y="94"/>
                      </a:lnTo>
                      <a:lnTo>
                        <a:pt x="156" y="90"/>
                      </a:lnTo>
                      <a:lnTo>
                        <a:pt x="156" y="76"/>
                      </a:lnTo>
                      <a:lnTo>
                        <a:pt x="147" y="90"/>
                      </a:lnTo>
                      <a:lnTo>
                        <a:pt x="143" y="103"/>
                      </a:lnTo>
                      <a:lnTo>
                        <a:pt x="138" y="90"/>
                      </a:lnTo>
                      <a:lnTo>
                        <a:pt x="138" y="99"/>
                      </a:lnTo>
                      <a:lnTo>
                        <a:pt x="134" y="99"/>
                      </a:lnTo>
                      <a:lnTo>
                        <a:pt x="130" y="108"/>
                      </a:lnTo>
                      <a:lnTo>
                        <a:pt x="138" y="108"/>
                      </a:lnTo>
                      <a:lnTo>
                        <a:pt x="147" y="103"/>
                      </a:lnTo>
                      <a:lnTo>
                        <a:pt x="143" y="116"/>
                      </a:lnTo>
                      <a:lnTo>
                        <a:pt x="152" y="116"/>
                      </a:lnTo>
                      <a:close/>
                      <a:moveTo>
                        <a:pt x="192" y="67"/>
                      </a:moveTo>
                      <a:lnTo>
                        <a:pt x="197" y="63"/>
                      </a:lnTo>
                      <a:lnTo>
                        <a:pt x="201" y="58"/>
                      </a:lnTo>
                      <a:lnTo>
                        <a:pt x="205" y="58"/>
                      </a:lnTo>
                      <a:lnTo>
                        <a:pt x="205" y="58"/>
                      </a:lnTo>
                      <a:lnTo>
                        <a:pt x="210" y="49"/>
                      </a:lnTo>
                      <a:lnTo>
                        <a:pt x="205" y="54"/>
                      </a:lnTo>
                      <a:lnTo>
                        <a:pt x="201" y="49"/>
                      </a:lnTo>
                      <a:lnTo>
                        <a:pt x="192" y="54"/>
                      </a:lnTo>
                      <a:lnTo>
                        <a:pt x="192" y="63"/>
                      </a:lnTo>
                      <a:lnTo>
                        <a:pt x="188" y="58"/>
                      </a:lnTo>
                      <a:lnTo>
                        <a:pt x="183" y="67"/>
                      </a:lnTo>
                      <a:lnTo>
                        <a:pt x="192" y="67"/>
                      </a:lnTo>
                      <a:close/>
                      <a:moveTo>
                        <a:pt x="241" y="27"/>
                      </a:moveTo>
                      <a:lnTo>
                        <a:pt x="246" y="32"/>
                      </a:lnTo>
                      <a:lnTo>
                        <a:pt x="259" y="27"/>
                      </a:lnTo>
                      <a:lnTo>
                        <a:pt x="255" y="36"/>
                      </a:lnTo>
                      <a:lnTo>
                        <a:pt x="259" y="41"/>
                      </a:lnTo>
                      <a:lnTo>
                        <a:pt x="264" y="27"/>
                      </a:lnTo>
                      <a:lnTo>
                        <a:pt x="259" y="27"/>
                      </a:lnTo>
                      <a:lnTo>
                        <a:pt x="264" y="14"/>
                      </a:lnTo>
                      <a:lnTo>
                        <a:pt x="259" y="14"/>
                      </a:lnTo>
                      <a:lnTo>
                        <a:pt x="259" y="18"/>
                      </a:lnTo>
                      <a:lnTo>
                        <a:pt x="250" y="18"/>
                      </a:lnTo>
                      <a:lnTo>
                        <a:pt x="241" y="27"/>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90" name="Freeform 195"/>
                <p:cNvSpPr>
                  <a:spLocks/>
                </p:cNvSpPr>
                <p:nvPr/>
              </p:nvSpPr>
              <p:spPr bwMode="gray">
                <a:xfrm>
                  <a:off x="2924" y="1818"/>
                  <a:ext cx="147" cy="139"/>
                </a:xfrm>
                <a:custGeom>
                  <a:avLst/>
                  <a:gdLst>
                    <a:gd name="T0" fmla="*/ 13 w 147"/>
                    <a:gd name="T1" fmla="*/ 99 h 139"/>
                    <a:gd name="T2" fmla="*/ 13 w 147"/>
                    <a:gd name="T3" fmla="*/ 90 h 139"/>
                    <a:gd name="T4" fmla="*/ 9 w 147"/>
                    <a:gd name="T5" fmla="*/ 85 h 139"/>
                    <a:gd name="T6" fmla="*/ 9 w 147"/>
                    <a:gd name="T7" fmla="*/ 72 h 139"/>
                    <a:gd name="T8" fmla="*/ 9 w 147"/>
                    <a:gd name="T9" fmla="*/ 59 h 139"/>
                    <a:gd name="T10" fmla="*/ 0 w 147"/>
                    <a:gd name="T11" fmla="*/ 50 h 139"/>
                    <a:gd name="T12" fmla="*/ 0 w 147"/>
                    <a:gd name="T13" fmla="*/ 36 h 139"/>
                    <a:gd name="T14" fmla="*/ 0 w 147"/>
                    <a:gd name="T15" fmla="*/ 27 h 139"/>
                    <a:gd name="T16" fmla="*/ 5 w 147"/>
                    <a:gd name="T17" fmla="*/ 27 h 139"/>
                    <a:gd name="T18" fmla="*/ 9 w 147"/>
                    <a:gd name="T19" fmla="*/ 36 h 139"/>
                    <a:gd name="T20" fmla="*/ 9 w 147"/>
                    <a:gd name="T21" fmla="*/ 27 h 139"/>
                    <a:gd name="T22" fmla="*/ 13 w 147"/>
                    <a:gd name="T23" fmla="*/ 23 h 139"/>
                    <a:gd name="T24" fmla="*/ 22 w 147"/>
                    <a:gd name="T25" fmla="*/ 14 h 139"/>
                    <a:gd name="T26" fmla="*/ 36 w 147"/>
                    <a:gd name="T27" fmla="*/ 14 h 139"/>
                    <a:gd name="T28" fmla="*/ 40 w 147"/>
                    <a:gd name="T29" fmla="*/ 5 h 139"/>
                    <a:gd name="T30" fmla="*/ 49 w 147"/>
                    <a:gd name="T31" fmla="*/ 0 h 139"/>
                    <a:gd name="T32" fmla="*/ 58 w 147"/>
                    <a:gd name="T33" fmla="*/ 0 h 139"/>
                    <a:gd name="T34" fmla="*/ 72 w 147"/>
                    <a:gd name="T35" fmla="*/ 0 h 139"/>
                    <a:gd name="T36" fmla="*/ 72 w 147"/>
                    <a:gd name="T37" fmla="*/ 5 h 139"/>
                    <a:gd name="T38" fmla="*/ 63 w 147"/>
                    <a:gd name="T39" fmla="*/ 5 h 139"/>
                    <a:gd name="T40" fmla="*/ 67 w 147"/>
                    <a:gd name="T41" fmla="*/ 9 h 139"/>
                    <a:gd name="T42" fmla="*/ 76 w 147"/>
                    <a:gd name="T43" fmla="*/ 5 h 139"/>
                    <a:gd name="T44" fmla="*/ 76 w 147"/>
                    <a:gd name="T45" fmla="*/ 14 h 139"/>
                    <a:gd name="T46" fmla="*/ 80 w 147"/>
                    <a:gd name="T47" fmla="*/ 9 h 139"/>
                    <a:gd name="T48" fmla="*/ 89 w 147"/>
                    <a:gd name="T49" fmla="*/ 9 h 139"/>
                    <a:gd name="T50" fmla="*/ 107 w 147"/>
                    <a:gd name="T51" fmla="*/ 14 h 139"/>
                    <a:gd name="T52" fmla="*/ 130 w 147"/>
                    <a:gd name="T53" fmla="*/ 14 h 139"/>
                    <a:gd name="T54" fmla="*/ 139 w 147"/>
                    <a:gd name="T55" fmla="*/ 23 h 139"/>
                    <a:gd name="T56" fmla="*/ 139 w 147"/>
                    <a:gd name="T57" fmla="*/ 27 h 139"/>
                    <a:gd name="T58" fmla="*/ 143 w 147"/>
                    <a:gd name="T59" fmla="*/ 41 h 139"/>
                    <a:gd name="T60" fmla="*/ 147 w 147"/>
                    <a:gd name="T61" fmla="*/ 50 h 139"/>
                    <a:gd name="T62" fmla="*/ 147 w 147"/>
                    <a:gd name="T63" fmla="*/ 59 h 139"/>
                    <a:gd name="T64" fmla="*/ 134 w 147"/>
                    <a:gd name="T65" fmla="*/ 63 h 139"/>
                    <a:gd name="T66" fmla="*/ 139 w 147"/>
                    <a:gd name="T67" fmla="*/ 72 h 139"/>
                    <a:gd name="T68" fmla="*/ 139 w 147"/>
                    <a:gd name="T69" fmla="*/ 81 h 139"/>
                    <a:gd name="T70" fmla="*/ 139 w 147"/>
                    <a:gd name="T71" fmla="*/ 85 h 139"/>
                    <a:gd name="T72" fmla="*/ 143 w 147"/>
                    <a:gd name="T73" fmla="*/ 99 h 139"/>
                    <a:gd name="T74" fmla="*/ 143 w 147"/>
                    <a:gd name="T75" fmla="*/ 108 h 139"/>
                    <a:gd name="T76" fmla="*/ 147 w 147"/>
                    <a:gd name="T77" fmla="*/ 112 h 139"/>
                    <a:gd name="T78" fmla="*/ 143 w 147"/>
                    <a:gd name="T79" fmla="*/ 117 h 139"/>
                    <a:gd name="T80" fmla="*/ 134 w 147"/>
                    <a:gd name="T81" fmla="*/ 121 h 139"/>
                    <a:gd name="T82" fmla="*/ 125 w 147"/>
                    <a:gd name="T83" fmla="*/ 135 h 139"/>
                    <a:gd name="T84" fmla="*/ 130 w 147"/>
                    <a:gd name="T85" fmla="*/ 139 h 139"/>
                    <a:gd name="T86" fmla="*/ 125 w 147"/>
                    <a:gd name="T87" fmla="*/ 139 h 139"/>
                    <a:gd name="T88" fmla="*/ 112 w 147"/>
                    <a:gd name="T89" fmla="*/ 130 h 139"/>
                    <a:gd name="T90" fmla="*/ 98 w 147"/>
                    <a:gd name="T91" fmla="*/ 135 h 139"/>
                    <a:gd name="T92" fmla="*/ 94 w 147"/>
                    <a:gd name="T93" fmla="*/ 130 h 139"/>
                    <a:gd name="T94" fmla="*/ 89 w 147"/>
                    <a:gd name="T95" fmla="*/ 139 h 139"/>
                    <a:gd name="T96" fmla="*/ 80 w 147"/>
                    <a:gd name="T97" fmla="*/ 130 h 139"/>
                    <a:gd name="T98" fmla="*/ 72 w 147"/>
                    <a:gd name="T99" fmla="*/ 135 h 139"/>
                    <a:gd name="T100" fmla="*/ 67 w 147"/>
                    <a:gd name="T101" fmla="*/ 130 h 139"/>
                    <a:gd name="T102" fmla="*/ 67 w 147"/>
                    <a:gd name="T103" fmla="*/ 121 h 139"/>
                    <a:gd name="T104" fmla="*/ 58 w 147"/>
                    <a:gd name="T105" fmla="*/ 121 h 139"/>
                    <a:gd name="T106" fmla="*/ 54 w 147"/>
                    <a:gd name="T107" fmla="*/ 112 h 139"/>
                    <a:gd name="T108" fmla="*/ 45 w 147"/>
                    <a:gd name="T109" fmla="*/ 108 h 139"/>
                    <a:gd name="T110" fmla="*/ 40 w 147"/>
                    <a:gd name="T111" fmla="*/ 117 h 139"/>
                    <a:gd name="T112" fmla="*/ 31 w 147"/>
                    <a:gd name="T113" fmla="*/ 112 h 139"/>
                    <a:gd name="T114" fmla="*/ 36 w 147"/>
                    <a:gd name="T115" fmla="*/ 108 h 139"/>
                    <a:gd name="T116" fmla="*/ 27 w 147"/>
                    <a:gd name="T117" fmla="*/ 108 h 139"/>
                    <a:gd name="T118" fmla="*/ 22 w 147"/>
                    <a:gd name="T119" fmla="*/ 99 h 139"/>
                    <a:gd name="T120" fmla="*/ 18 w 147"/>
                    <a:gd name="T121" fmla="*/ 103 h 139"/>
                    <a:gd name="T122" fmla="*/ 13 w 147"/>
                    <a:gd name="T123"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7" h="139">
                      <a:moveTo>
                        <a:pt x="13" y="99"/>
                      </a:moveTo>
                      <a:lnTo>
                        <a:pt x="13" y="90"/>
                      </a:lnTo>
                      <a:lnTo>
                        <a:pt x="9" y="85"/>
                      </a:lnTo>
                      <a:lnTo>
                        <a:pt x="9" y="72"/>
                      </a:lnTo>
                      <a:lnTo>
                        <a:pt x="9" y="59"/>
                      </a:lnTo>
                      <a:lnTo>
                        <a:pt x="0" y="50"/>
                      </a:lnTo>
                      <a:lnTo>
                        <a:pt x="0" y="36"/>
                      </a:lnTo>
                      <a:lnTo>
                        <a:pt x="0" y="27"/>
                      </a:lnTo>
                      <a:lnTo>
                        <a:pt x="5" y="27"/>
                      </a:lnTo>
                      <a:lnTo>
                        <a:pt x="9" y="36"/>
                      </a:lnTo>
                      <a:lnTo>
                        <a:pt x="9" y="27"/>
                      </a:lnTo>
                      <a:lnTo>
                        <a:pt x="13" y="23"/>
                      </a:lnTo>
                      <a:lnTo>
                        <a:pt x="22" y="14"/>
                      </a:lnTo>
                      <a:lnTo>
                        <a:pt x="36" y="14"/>
                      </a:lnTo>
                      <a:lnTo>
                        <a:pt x="40" y="5"/>
                      </a:lnTo>
                      <a:lnTo>
                        <a:pt x="49" y="0"/>
                      </a:lnTo>
                      <a:lnTo>
                        <a:pt x="58" y="0"/>
                      </a:lnTo>
                      <a:lnTo>
                        <a:pt x="72" y="0"/>
                      </a:lnTo>
                      <a:lnTo>
                        <a:pt x="72" y="5"/>
                      </a:lnTo>
                      <a:lnTo>
                        <a:pt x="63" y="5"/>
                      </a:lnTo>
                      <a:lnTo>
                        <a:pt x="67" y="9"/>
                      </a:lnTo>
                      <a:lnTo>
                        <a:pt x="76" y="5"/>
                      </a:lnTo>
                      <a:lnTo>
                        <a:pt x="76" y="14"/>
                      </a:lnTo>
                      <a:lnTo>
                        <a:pt x="80" y="9"/>
                      </a:lnTo>
                      <a:lnTo>
                        <a:pt x="89" y="9"/>
                      </a:lnTo>
                      <a:lnTo>
                        <a:pt x="107" y="14"/>
                      </a:lnTo>
                      <a:lnTo>
                        <a:pt x="130" y="14"/>
                      </a:lnTo>
                      <a:lnTo>
                        <a:pt x="139" y="23"/>
                      </a:lnTo>
                      <a:lnTo>
                        <a:pt x="139" y="27"/>
                      </a:lnTo>
                      <a:lnTo>
                        <a:pt x="143" y="41"/>
                      </a:lnTo>
                      <a:lnTo>
                        <a:pt x="147" y="50"/>
                      </a:lnTo>
                      <a:lnTo>
                        <a:pt x="147" y="59"/>
                      </a:lnTo>
                      <a:lnTo>
                        <a:pt x="134" y="63"/>
                      </a:lnTo>
                      <a:lnTo>
                        <a:pt x="139" y="72"/>
                      </a:lnTo>
                      <a:lnTo>
                        <a:pt x="139" y="81"/>
                      </a:lnTo>
                      <a:lnTo>
                        <a:pt x="139" y="85"/>
                      </a:lnTo>
                      <a:lnTo>
                        <a:pt x="143" y="99"/>
                      </a:lnTo>
                      <a:lnTo>
                        <a:pt x="143" y="108"/>
                      </a:lnTo>
                      <a:lnTo>
                        <a:pt x="147" y="112"/>
                      </a:lnTo>
                      <a:lnTo>
                        <a:pt x="143" y="117"/>
                      </a:lnTo>
                      <a:lnTo>
                        <a:pt x="134" y="121"/>
                      </a:lnTo>
                      <a:lnTo>
                        <a:pt x="125" y="135"/>
                      </a:lnTo>
                      <a:lnTo>
                        <a:pt x="130" y="139"/>
                      </a:lnTo>
                      <a:lnTo>
                        <a:pt x="125" y="139"/>
                      </a:lnTo>
                      <a:lnTo>
                        <a:pt x="112" y="130"/>
                      </a:lnTo>
                      <a:lnTo>
                        <a:pt x="98" y="135"/>
                      </a:lnTo>
                      <a:lnTo>
                        <a:pt x="94" y="130"/>
                      </a:lnTo>
                      <a:lnTo>
                        <a:pt x="89" y="139"/>
                      </a:lnTo>
                      <a:lnTo>
                        <a:pt x="80" y="130"/>
                      </a:lnTo>
                      <a:lnTo>
                        <a:pt x="72" y="135"/>
                      </a:lnTo>
                      <a:lnTo>
                        <a:pt x="67" y="130"/>
                      </a:lnTo>
                      <a:lnTo>
                        <a:pt x="67" y="121"/>
                      </a:lnTo>
                      <a:lnTo>
                        <a:pt x="58" y="121"/>
                      </a:lnTo>
                      <a:lnTo>
                        <a:pt x="54" y="112"/>
                      </a:lnTo>
                      <a:lnTo>
                        <a:pt x="45" y="108"/>
                      </a:lnTo>
                      <a:lnTo>
                        <a:pt x="40" y="117"/>
                      </a:lnTo>
                      <a:lnTo>
                        <a:pt x="31" y="112"/>
                      </a:lnTo>
                      <a:lnTo>
                        <a:pt x="36" y="108"/>
                      </a:lnTo>
                      <a:lnTo>
                        <a:pt x="27" y="108"/>
                      </a:lnTo>
                      <a:lnTo>
                        <a:pt x="22" y="99"/>
                      </a:lnTo>
                      <a:lnTo>
                        <a:pt x="18" y="103"/>
                      </a:lnTo>
                      <a:lnTo>
                        <a:pt x="13" y="99"/>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91" name="Freeform 196"/>
                <p:cNvSpPr>
                  <a:spLocks noEditPoints="1"/>
                </p:cNvSpPr>
                <p:nvPr/>
              </p:nvSpPr>
              <p:spPr bwMode="gray">
                <a:xfrm>
                  <a:off x="2482" y="2100"/>
                  <a:ext cx="161" cy="179"/>
                </a:xfrm>
                <a:custGeom>
                  <a:avLst/>
                  <a:gdLst>
                    <a:gd name="T0" fmla="*/ 0 w 161"/>
                    <a:gd name="T1" fmla="*/ 174 h 179"/>
                    <a:gd name="T2" fmla="*/ 0 w 161"/>
                    <a:gd name="T3" fmla="*/ 179 h 179"/>
                    <a:gd name="T4" fmla="*/ 9 w 161"/>
                    <a:gd name="T5" fmla="*/ 179 h 179"/>
                    <a:gd name="T6" fmla="*/ 9 w 161"/>
                    <a:gd name="T7" fmla="*/ 174 h 179"/>
                    <a:gd name="T8" fmla="*/ 0 w 161"/>
                    <a:gd name="T9" fmla="*/ 174 h 179"/>
                    <a:gd name="T10" fmla="*/ 120 w 161"/>
                    <a:gd name="T11" fmla="*/ 4 h 179"/>
                    <a:gd name="T12" fmla="*/ 120 w 161"/>
                    <a:gd name="T13" fmla="*/ 13 h 179"/>
                    <a:gd name="T14" fmla="*/ 120 w 161"/>
                    <a:gd name="T15" fmla="*/ 27 h 179"/>
                    <a:gd name="T16" fmla="*/ 120 w 161"/>
                    <a:gd name="T17" fmla="*/ 31 h 179"/>
                    <a:gd name="T18" fmla="*/ 120 w 161"/>
                    <a:gd name="T19" fmla="*/ 31 h 179"/>
                    <a:gd name="T20" fmla="*/ 120 w 161"/>
                    <a:gd name="T21" fmla="*/ 40 h 179"/>
                    <a:gd name="T22" fmla="*/ 116 w 161"/>
                    <a:gd name="T23" fmla="*/ 54 h 179"/>
                    <a:gd name="T24" fmla="*/ 112 w 161"/>
                    <a:gd name="T25" fmla="*/ 58 h 179"/>
                    <a:gd name="T26" fmla="*/ 112 w 161"/>
                    <a:gd name="T27" fmla="*/ 67 h 179"/>
                    <a:gd name="T28" fmla="*/ 116 w 161"/>
                    <a:gd name="T29" fmla="*/ 72 h 179"/>
                    <a:gd name="T30" fmla="*/ 116 w 161"/>
                    <a:gd name="T31" fmla="*/ 72 h 179"/>
                    <a:gd name="T32" fmla="*/ 116 w 161"/>
                    <a:gd name="T33" fmla="*/ 76 h 179"/>
                    <a:gd name="T34" fmla="*/ 120 w 161"/>
                    <a:gd name="T35" fmla="*/ 80 h 179"/>
                    <a:gd name="T36" fmla="*/ 120 w 161"/>
                    <a:gd name="T37" fmla="*/ 89 h 179"/>
                    <a:gd name="T38" fmla="*/ 120 w 161"/>
                    <a:gd name="T39" fmla="*/ 98 h 179"/>
                    <a:gd name="T40" fmla="*/ 120 w 161"/>
                    <a:gd name="T41" fmla="*/ 98 h 179"/>
                    <a:gd name="T42" fmla="*/ 125 w 161"/>
                    <a:gd name="T43" fmla="*/ 94 h 179"/>
                    <a:gd name="T44" fmla="*/ 134 w 161"/>
                    <a:gd name="T45" fmla="*/ 98 h 179"/>
                    <a:gd name="T46" fmla="*/ 138 w 161"/>
                    <a:gd name="T47" fmla="*/ 98 h 179"/>
                    <a:gd name="T48" fmla="*/ 143 w 161"/>
                    <a:gd name="T49" fmla="*/ 94 h 179"/>
                    <a:gd name="T50" fmla="*/ 143 w 161"/>
                    <a:gd name="T51" fmla="*/ 85 h 179"/>
                    <a:gd name="T52" fmla="*/ 147 w 161"/>
                    <a:gd name="T53" fmla="*/ 85 h 179"/>
                    <a:gd name="T54" fmla="*/ 143 w 161"/>
                    <a:gd name="T55" fmla="*/ 76 h 179"/>
                    <a:gd name="T56" fmla="*/ 147 w 161"/>
                    <a:gd name="T57" fmla="*/ 67 h 179"/>
                    <a:gd name="T58" fmla="*/ 138 w 161"/>
                    <a:gd name="T59" fmla="*/ 54 h 179"/>
                    <a:gd name="T60" fmla="*/ 147 w 161"/>
                    <a:gd name="T61" fmla="*/ 49 h 179"/>
                    <a:gd name="T62" fmla="*/ 147 w 161"/>
                    <a:gd name="T63" fmla="*/ 40 h 179"/>
                    <a:gd name="T64" fmla="*/ 147 w 161"/>
                    <a:gd name="T65" fmla="*/ 36 h 179"/>
                    <a:gd name="T66" fmla="*/ 152 w 161"/>
                    <a:gd name="T67" fmla="*/ 22 h 179"/>
                    <a:gd name="T68" fmla="*/ 161 w 161"/>
                    <a:gd name="T69" fmla="*/ 13 h 179"/>
                    <a:gd name="T70" fmla="*/ 152 w 161"/>
                    <a:gd name="T71" fmla="*/ 9 h 179"/>
                    <a:gd name="T72" fmla="*/ 134 w 161"/>
                    <a:gd name="T73" fmla="*/ 9 h 179"/>
                    <a:gd name="T74" fmla="*/ 129 w 161"/>
                    <a:gd name="T75" fmla="*/ 0 h 179"/>
                    <a:gd name="T76" fmla="*/ 120 w 161"/>
                    <a:gd name="T77" fmla="*/ 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 h="179">
                      <a:moveTo>
                        <a:pt x="0" y="174"/>
                      </a:moveTo>
                      <a:lnTo>
                        <a:pt x="0" y="179"/>
                      </a:lnTo>
                      <a:lnTo>
                        <a:pt x="9" y="179"/>
                      </a:lnTo>
                      <a:lnTo>
                        <a:pt x="9" y="174"/>
                      </a:lnTo>
                      <a:lnTo>
                        <a:pt x="0" y="174"/>
                      </a:lnTo>
                      <a:close/>
                      <a:moveTo>
                        <a:pt x="120" y="4"/>
                      </a:moveTo>
                      <a:lnTo>
                        <a:pt x="120" y="13"/>
                      </a:lnTo>
                      <a:lnTo>
                        <a:pt x="120" y="27"/>
                      </a:lnTo>
                      <a:lnTo>
                        <a:pt x="120" y="31"/>
                      </a:lnTo>
                      <a:lnTo>
                        <a:pt x="120" y="31"/>
                      </a:lnTo>
                      <a:lnTo>
                        <a:pt x="120" y="40"/>
                      </a:lnTo>
                      <a:lnTo>
                        <a:pt x="116" y="54"/>
                      </a:lnTo>
                      <a:lnTo>
                        <a:pt x="112" y="58"/>
                      </a:lnTo>
                      <a:lnTo>
                        <a:pt x="112" y="67"/>
                      </a:lnTo>
                      <a:lnTo>
                        <a:pt x="116" y="72"/>
                      </a:lnTo>
                      <a:lnTo>
                        <a:pt x="116" y="72"/>
                      </a:lnTo>
                      <a:lnTo>
                        <a:pt x="116" y="76"/>
                      </a:lnTo>
                      <a:lnTo>
                        <a:pt x="120" y="80"/>
                      </a:lnTo>
                      <a:lnTo>
                        <a:pt x="120" y="89"/>
                      </a:lnTo>
                      <a:lnTo>
                        <a:pt x="120" y="98"/>
                      </a:lnTo>
                      <a:lnTo>
                        <a:pt x="120" y="98"/>
                      </a:lnTo>
                      <a:lnTo>
                        <a:pt x="125" y="94"/>
                      </a:lnTo>
                      <a:lnTo>
                        <a:pt x="134" y="98"/>
                      </a:lnTo>
                      <a:lnTo>
                        <a:pt x="138" y="98"/>
                      </a:lnTo>
                      <a:lnTo>
                        <a:pt x="143" y="94"/>
                      </a:lnTo>
                      <a:lnTo>
                        <a:pt x="143" y="85"/>
                      </a:lnTo>
                      <a:lnTo>
                        <a:pt x="147" y="85"/>
                      </a:lnTo>
                      <a:lnTo>
                        <a:pt x="143" y="76"/>
                      </a:lnTo>
                      <a:lnTo>
                        <a:pt x="147" y="67"/>
                      </a:lnTo>
                      <a:lnTo>
                        <a:pt x="138" y="54"/>
                      </a:lnTo>
                      <a:lnTo>
                        <a:pt x="147" y="49"/>
                      </a:lnTo>
                      <a:lnTo>
                        <a:pt x="147" y="40"/>
                      </a:lnTo>
                      <a:lnTo>
                        <a:pt x="147" y="36"/>
                      </a:lnTo>
                      <a:lnTo>
                        <a:pt x="152" y="22"/>
                      </a:lnTo>
                      <a:lnTo>
                        <a:pt x="161" y="13"/>
                      </a:lnTo>
                      <a:lnTo>
                        <a:pt x="152" y="9"/>
                      </a:lnTo>
                      <a:lnTo>
                        <a:pt x="134" y="9"/>
                      </a:lnTo>
                      <a:lnTo>
                        <a:pt x="129" y="0"/>
                      </a:lnTo>
                      <a:lnTo>
                        <a:pt x="120" y="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92" name="Freeform 197"/>
                <p:cNvSpPr>
                  <a:spLocks/>
                </p:cNvSpPr>
                <p:nvPr/>
              </p:nvSpPr>
              <p:spPr bwMode="gray">
                <a:xfrm>
                  <a:off x="3018" y="1975"/>
                  <a:ext cx="129" cy="98"/>
                </a:xfrm>
                <a:custGeom>
                  <a:avLst/>
                  <a:gdLst>
                    <a:gd name="T0" fmla="*/ 0 w 129"/>
                    <a:gd name="T1" fmla="*/ 45 h 98"/>
                    <a:gd name="T2" fmla="*/ 4 w 129"/>
                    <a:gd name="T3" fmla="*/ 54 h 98"/>
                    <a:gd name="T4" fmla="*/ 4 w 129"/>
                    <a:gd name="T5" fmla="*/ 62 h 98"/>
                    <a:gd name="T6" fmla="*/ 13 w 129"/>
                    <a:gd name="T7" fmla="*/ 71 h 98"/>
                    <a:gd name="T8" fmla="*/ 22 w 129"/>
                    <a:gd name="T9" fmla="*/ 76 h 98"/>
                    <a:gd name="T10" fmla="*/ 27 w 129"/>
                    <a:gd name="T11" fmla="*/ 76 h 98"/>
                    <a:gd name="T12" fmla="*/ 27 w 129"/>
                    <a:gd name="T13" fmla="*/ 80 h 98"/>
                    <a:gd name="T14" fmla="*/ 31 w 129"/>
                    <a:gd name="T15" fmla="*/ 80 h 98"/>
                    <a:gd name="T16" fmla="*/ 36 w 129"/>
                    <a:gd name="T17" fmla="*/ 80 h 98"/>
                    <a:gd name="T18" fmla="*/ 36 w 129"/>
                    <a:gd name="T19" fmla="*/ 89 h 98"/>
                    <a:gd name="T20" fmla="*/ 49 w 129"/>
                    <a:gd name="T21" fmla="*/ 94 h 98"/>
                    <a:gd name="T22" fmla="*/ 62 w 129"/>
                    <a:gd name="T23" fmla="*/ 98 h 98"/>
                    <a:gd name="T24" fmla="*/ 76 w 129"/>
                    <a:gd name="T25" fmla="*/ 98 h 98"/>
                    <a:gd name="T26" fmla="*/ 85 w 129"/>
                    <a:gd name="T27" fmla="*/ 89 h 98"/>
                    <a:gd name="T28" fmla="*/ 98 w 129"/>
                    <a:gd name="T29" fmla="*/ 85 h 98"/>
                    <a:gd name="T30" fmla="*/ 116 w 129"/>
                    <a:gd name="T31" fmla="*/ 94 h 98"/>
                    <a:gd name="T32" fmla="*/ 116 w 129"/>
                    <a:gd name="T33" fmla="*/ 85 h 98"/>
                    <a:gd name="T34" fmla="*/ 120 w 129"/>
                    <a:gd name="T35" fmla="*/ 80 h 98"/>
                    <a:gd name="T36" fmla="*/ 120 w 129"/>
                    <a:gd name="T37" fmla="*/ 67 h 98"/>
                    <a:gd name="T38" fmla="*/ 120 w 129"/>
                    <a:gd name="T39" fmla="*/ 71 h 98"/>
                    <a:gd name="T40" fmla="*/ 129 w 129"/>
                    <a:gd name="T41" fmla="*/ 71 h 98"/>
                    <a:gd name="T42" fmla="*/ 129 w 129"/>
                    <a:gd name="T43" fmla="*/ 62 h 98"/>
                    <a:gd name="T44" fmla="*/ 125 w 129"/>
                    <a:gd name="T45" fmla="*/ 62 h 98"/>
                    <a:gd name="T46" fmla="*/ 116 w 129"/>
                    <a:gd name="T47" fmla="*/ 67 h 98"/>
                    <a:gd name="T48" fmla="*/ 112 w 129"/>
                    <a:gd name="T49" fmla="*/ 62 h 98"/>
                    <a:gd name="T50" fmla="*/ 107 w 129"/>
                    <a:gd name="T51" fmla="*/ 58 h 98"/>
                    <a:gd name="T52" fmla="*/ 112 w 129"/>
                    <a:gd name="T53" fmla="*/ 40 h 98"/>
                    <a:gd name="T54" fmla="*/ 107 w 129"/>
                    <a:gd name="T55" fmla="*/ 27 h 98"/>
                    <a:gd name="T56" fmla="*/ 103 w 129"/>
                    <a:gd name="T57" fmla="*/ 18 h 98"/>
                    <a:gd name="T58" fmla="*/ 89 w 129"/>
                    <a:gd name="T59" fmla="*/ 0 h 98"/>
                    <a:gd name="T60" fmla="*/ 67 w 129"/>
                    <a:gd name="T61" fmla="*/ 9 h 98"/>
                    <a:gd name="T62" fmla="*/ 40 w 129"/>
                    <a:gd name="T63" fmla="*/ 4 h 98"/>
                    <a:gd name="T64" fmla="*/ 36 w 129"/>
                    <a:gd name="T65" fmla="*/ 9 h 98"/>
                    <a:gd name="T66" fmla="*/ 36 w 129"/>
                    <a:gd name="T67" fmla="*/ 13 h 98"/>
                    <a:gd name="T68" fmla="*/ 22 w 129"/>
                    <a:gd name="T69" fmla="*/ 18 h 98"/>
                    <a:gd name="T70" fmla="*/ 13 w 129"/>
                    <a:gd name="T71" fmla="*/ 36 h 98"/>
                    <a:gd name="T72" fmla="*/ 13 w 129"/>
                    <a:gd name="T73" fmla="*/ 40 h 98"/>
                    <a:gd name="T74" fmla="*/ 4 w 129"/>
                    <a:gd name="T75" fmla="*/ 45 h 98"/>
                    <a:gd name="T76" fmla="*/ 0 w 129"/>
                    <a:gd name="T77"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98">
                      <a:moveTo>
                        <a:pt x="0" y="45"/>
                      </a:moveTo>
                      <a:lnTo>
                        <a:pt x="4" y="54"/>
                      </a:lnTo>
                      <a:lnTo>
                        <a:pt x="4" y="62"/>
                      </a:lnTo>
                      <a:lnTo>
                        <a:pt x="13" y="71"/>
                      </a:lnTo>
                      <a:lnTo>
                        <a:pt x="22" y="76"/>
                      </a:lnTo>
                      <a:lnTo>
                        <a:pt x="27" y="76"/>
                      </a:lnTo>
                      <a:lnTo>
                        <a:pt x="27" y="80"/>
                      </a:lnTo>
                      <a:lnTo>
                        <a:pt x="31" y="80"/>
                      </a:lnTo>
                      <a:lnTo>
                        <a:pt x="36" y="80"/>
                      </a:lnTo>
                      <a:lnTo>
                        <a:pt x="36" y="89"/>
                      </a:lnTo>
                      <a:lnTo>
                        <a:pt x="49" y="94"/>
                      </a:lnTo>
                      <a:lnTo>
                        <a:pt x="62" y="98"/>
                      </a:lnTo>
                      <a:lnTo>
                        <a:pt x="76" y="98"/>
                      </a:lnTo>
                      <a:lnTo>
                        <a:pt x="85" y="89"/>
                      </a:lnTo>
                      <a:lnTo>
                        <a:pt x="98" y="85"/>
                      </a:lnTo>
                      <a:lnTo>
                        <a:pt x="116" y="94"/>
                      </a:lnTo>
                      <a:lnTo>
                        <a:pt x="116" y="85"/>
                      </a:lnTo>
                      <a:lnTo>
                        <a:pt x="120" y="80"/>
                      </a:lnTo>
                      <a:lnTo>
                        <a:pt x="120" y="67"/>
                      </a:lnTo>
                      <a:lnTo>
                        <a:pt x="120" y="71"/>
                      </a:lnTo>
                      <a:lnTo>
                        <a:pt x="129" y="71"/>
                      </a:lnTo>
                      <a:lnTo>
                        <a:pt x="129" y="62"/>
                      </a:lnTo>
                      <a:lnTo>
                        <a:pt x="125" y="62"/>
                      </a:lnTo>
                      <a:lnTo>
                        <a:pt x="116" y="67"/>
                      </a:lnTo>
                      <a:lnTo>
                        <a:pt x="112" y="62"/>
                      </a:lnTo>
                      <a:lnTo>
                        <a:pt x="107" y="58"/>
                      </a:lnTo>
                      <a:lnTo>
                        <a:pt x="112" y="40"/>
                      </a:lnTo>
                      <a:lnTo>
                        <a:pt x="107" y="27"/>
                      </a:lnTo>
                      <a:lnTo>
                        <a:pt x="103" y="18"/>
                      </a:lnTo>
                      <a:lnTo>
                        <a:pt x="89" y="0"/>
                      </a:lnTo>
                      <a:lnTo>
                        <a:pt x="67" y="9"/>
                      </a:lnTo>
                      <a:lnTo>
                        <a:pt x="40" y="4"/>
                      </a:lnTo>
                      <a:lnTo>
                        <a:pt x="36" y="9"/>
                      </a:lnTo>
                      <a:lnTo>
                        <a:pt x="36" y="13"/>
                      </a:lnTo>
                      <a:lnTo>
                        <a:pt x="22" y="18"/>
                      </a:lnTo>
                      <a:lnTo>
                        <a:pt x="13" y="36"/>
                      </a:lnTo>
                      <a:lnTo>
                        <a:pt x="13" y="40"/>
                      </a:lnTo>
                      <a:lnTo>
                        <a:pt x="4" y="45"/>
                      </a:lnTo>
                      <a:lnTo>
                        <a:pt x="0" y="4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93" name="Freeform 198"/>
                <p:cNvSpPr>
                  <a:spLocks/>
                </p:cNvSpPr>
                <p:nvPr/>
              </p:nvSpPr>
              <p:spPr bwMode="gray">
                <a:xfrm>
                  <a:off x="2964" y="1948"/>
                  <a:ext cx="85" cy="31"/>
                </a:xfrm>
                <a:custGeom>
                  <a:avLst/>
                  <a:gdLst>
                    <a:gd name="T0" fmla="*/ 0 w 85"/>
                    <a:gd name="T1" fmla="*/ 22 h 31"/>
                    <a:gd name="T2" fmla="*/ 5 w 85"/>
                    <a:gd name="T3" fmla="*/ 18 h 31"/>
                    <a:gd name="T4" fmla="*/ 14 w 85"/>
                    <a:gd name="T5" fmla="*/ 18 h 31"/>
                    <a:gd name="T6" fmla="*/ 18 w 85"/>
                    <a:gd name="T7" fmla="*/ 13 h 31"/>
                    <a:gd name="T8" fmla="*/ 23 w 85"/>
                    <a:gd name="T9" fmla="*/ 5 h 31"/>
                    <a:gd name="T10" fmla="*/ 27 w 85"/>
                    <a:gd name="T11" fmla="*/ 0 h 31"/>
                    <a:gd name="T12" fmla="*/ 32 w 85"/>
                    <a:gd name="T13" fmla="*/ 5 h 31"/>
                    <a:gd name="T14" fmla="*/ 40 w 85"/>
                    <a:gd name="T15" fmla="*/ 0 h 31"/>
                    <a:gd name="T16" fmla="*/ 49 w 85"/>
                    <a:gd name="T17" fmla="*/ 9 h 31"/>
                    <a:gd name="T18" fmla="*/ 54 w 85"/>
                    <a:gd name="T19" fmla="*/ 0 h 31"/>
                    <a:gd name="T20" fmla="*/ 58 w 85"/>
                    <a:gd name="T21" fmla="*/ 5 h 31"/>
                    <a:gd name="T22" fmla="*/ 72 w 85"/>
                    <a:gd name="T23" fmla="*/ 0 h 31"/>
                    <a:gd name="T24" fmla="*/ 85 w 85"/>
                    <a:gd name="T25" fmla="*/ 9 h 31"/>
                    <a:gd name="T26" fmla="*/ 81 w 85"/>
                    <a:gd name="T27" fmla="*/ 22 h 31"/>
                    <a:gd name="T28" fmla="*/ 72 w 85"/>
                    <a:gd name="T29" fmla="*/ 22 h 31"/>
                    <a:gd name="T30" fmla="*/ 67 w 85"/>
                    <a:gd name="T31" fmla="*/ 18 h 31"/>
                    <a:gd name="T32" fmla="*/ 63 w 85"/>
                    <a:gd name="T33" fmla="*/ 22 h 31"/>
                    <a:gd name="T34" fmla="*/ 54 w 85"/>
                    <a:gd name="T35" fmla="*/ 18 h 31"/>
                    <a:gd name="T36" fmla="*/ 45 w 85"/>
                    <a:gd name="T37" fmla="*/ 27 h 31"/>
                    <a:gd name="T38" fmla="*/ 36 w 85"/>
                    <a:gd name="T39" fmla="*/ 27 h 31"/>
                    <a:gd name="T40" fmla="*/ 32 w 85"/>
                    <a:gd name="T41" fmla="*/ 31 h 31"/>
                    <a:gd name="T42" fmla="*/ 14 w 85"/>
                    <a:gd name="T43" fmla="*/ 31 h 31"/>
                    <a:gd name="T44" fmla="*/ 9 w 85"/>
                    <a:gd name="T45" fmla="*/ 27 h 31"/>
                    <a:gd name="T46" fmla="*/ 9 w 85"/>
                    <a:gd name="T47" fmla="*/ 22 h 31"/>
                    <a:gd name="T48" fmla="*/ 5 w 85"/>
                    <a:gd name="T49" fmla="*/ 22 h 31"/>
                    <a:gd name="T50" fmla="*/ 0 w 85"/>
                    <a:gd name="T51"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 h="31">
                      <a:moveTo>
                        <a:pt x="0" y="22"/>
                      </a:moveTo>
                      <a:lnTo>
                        <a:pt x="5" y="18"/>
                      </a:lnTo>
                      <a:lnTo>
                        <a:pt x="14" y="18"/>
                      </a:lnTo>
                      <a:lnTo>
                        <a:pt x="18" y="13"/>
                      </a:lnTo>
                      <a:lnTo>
                        <a:pt x="23" y="5"/>
                      </a:lnTo>
                      <a:lnTo>
                        <a:pt x="27" y="0"/>
                      </a:lnTo>
                      <a:lnTo>
                        <a:pt x="32" y="5"/>
                      </a:lnTo>
                      <a:lnTo>
                        <a:pt x="40" y="0"/>
                      </a:lnTo>
                      <a:lnTo>
                        <a:pt x="49" y="9"/>
                      </a:lnTo>
                      <a:lnTo>
                        <a:pt x="54" y="0"/>
                      </a:lnTo>
                      <a:lnTo>
                        <a:pt x="58" y="5"/>
                      </a:lnTo>
                      <a:lnTo>
                        <a:pt x="72" y="0"/>
                      </a:lnTo>
                      <a:lnTo>
                        <a:pt x="85" y="9"/>
                      </a:lnTo>
                      <a:lnTo>
                        <a:pt x="81" y="22"/>
                      </a:lnTo>
                      <a:lnTo>
                        <a:pt x="72" y="22"/>
                      </a:lnTo>
                      <a:lnTo>
                        <a:pt x="67" y="18"/>
                      </a:lnTo>
                      <a:lnTo>
                        <a:pt x="63" y="22"/>
                      </a:lnTo>
                      <a:lnTo>
                        <a:pt x="54" y="18"/>
                      </a:lnTo>
                      <a:lnTo>
                        <a:pt x="45" y="27"/>
                      </a:lnTo>
                      <a:lnTo>
                        <a:pt x="36" y="27"/>
                      </a:lnTo>
                      <a:lnTo>
                        <a:pt x="32" y="31"/>
                      </a:lnTo>
                      <a:lnTo>
                        <a:pt x="14" y="31"/>
                      </a:lnTo>
                      <a:lnTo>
                        <a:pt x="9" y="27"/>
                      </a:lnTo>
                      <a:lnTo>
                        <a:pt x="9" y="22"/>
                      </a:lnTo>
                      <a:lnTo>
                        <a:pt x="5" y="22"/>
                      </a:lnTo>
                      <a:lnTo>
                        <a:pt x="0" y="2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94" name="Freeform 199"/>
                <p:cNvSpPr>
                  <a:spLocks/>
                </p:cNvSpPr>
                <p:nvPr/>
              </p:nvSpPr>
              <p:spPr bwMode="gray">
                <a:xfrm>
                  <a:off x="2915" y="2006"/>
                  <a:ext cx="45" cy="27"/>
                </a:xfrm>
                <a:custGeom>
                  <a:avLst/>
                  <a:gdLst>
                    <a:gd name="T0" fmla="*/ 5 w 45"/>
                    <a:gd name="T1" fmla="*/ 27 h 27"/>
                    <a:gd name="T2" fmla="*/ 5 w 45"/>
                    <a:gd name="T3" fmla="*/ 27 h 27"/>
                    <a:gd name="T4" fmla="*/ 5 w 45"/>
                    <a:gd name="T5" fmla="*/ 27 h 27"/>
                    <a:gd name="T6" fmla="*/ 14 w 45"/>
                    <a:gd name="T7" fmla="*/ 27 h 27"/>
                    <a:gd name="T8" fmla="*/ 14 w 45"/>
                    <a:gd name="T9" fmla="*/ 27 h 27"/>
                    <a:gd name="T10" fmla="*/ 18 w 45"/>
                    <a:gd name="T11" fmla="*/ 23 h 27"/>
                    <a:gd name="T12" fmla="*/ 22 w 45"/>
                    <a:gd name="T13" fmla="*/ 27 h 27"/>
                    <a:gd name="T14" fmla="*/ 27 w 45"/>
                    <a:gd name="T15" fmla="*/ 27 h 27"/>
                    <a:gd name="T16" fmla="*/ 27 w 45"/>
                    <a:gd name="T17" fmla="*/ 27 h 27"/>
                    <a:gd name="T18" fmla="*/ 27 w 45"/>
                    <a:gd name="T19" fmla="*/ 23 h 27"/>
                    <a:gd name="T20" fmla="*/ 31 w 45"/>
                    <a:gd name="T21" fmla="*/ 18 h 27"/>
                    <a:gd name="T22" fmla="*/ 31 w 45"/>
                    <a:gd name="T23" fmla="*/ 18 h 27"/>
                    <a:gd name="T24" fmla="*/ 31 w 45"/>
                    <a:gd name="T25" fmla="*/ 14 h 27"/>
                    <a:gd name="T26" fmla="*/ 31 w 45"/>
                    <a:gd name="T27" fmla="*/ 14 h 27"/>
                    <a:gd name="T28" fmla="*/ 36 w 45"/>
                    <a:gd name="T29" fmla="*/ 14 h 27"/>
                    <a:gd name="T30" fmla="*/ 36 w 45"/>
                    <a:gd name="T31" fmla="*/ 9 h 27"/>
                    <a:gd name="T32" fmla="*/ 40 w 45"/>
                    <a:gd name="T33" fmla="*/ 9 h 27"/>
                    <a:gd name="T34" fmla="*/ 40 w 45"/>
                    <a:gd name="T35" fmla="*/ 9 h 27"/>
                    <a:gd name="T36" fmla="*/ 40 w 45"/>
                    <a:gd name="T37" fmla="*/ 5 h 27"/>
                    <a:gd name="T38" fmla="*/ 45 w 45"/>
                    <a:gd name="T39" fmla="*/ 9 h 27"/>
                    <a:gd name="T40" fmla="*/ 45 w 45"/>
                    <a:gd name="T41" fmla="*/ 9 h 27"/>
                    <a:gd name="T42" fmla="*/ 40 w 45"/>
                    <a:gd name="T43" fmla="*/ 0 h 27"/>
                    <a:gd name="T44" fmla="*/ 27 w 45"/>
                    <a:gd name="T45" fmla="*/ 5 h 27"/>
                    <a:gd name="T46" fmla="*/ 18 w 45"/>
                    <a:gd name="T47" fmla="*/ 9 h 27"/>
                    <a:gd name="T48" fmla="*/ 5 w 45"/>
                    <a:gd name="T49" fmla="*/ 9 h 27"/>
                    <a:gd name="T50" fmla="*/ 0 w 45"/>
                    <a:gd name="T51" fmla="*/ 9 h 27"/>
                    <a:gd name="T52" fmla="*/ 5 w 45"/>
                    <a:gd name="T53" fmla="*/ 14 h 27"/>
                    <a:gd name="T54" fmla="*/ 5 w 45"/>
                    <a:gd name="T55" fmla="*/ 18 h 27"/>
                    <a:gd name="T56" fmla="*/ 9 w 45"/>
                    <a:gd name="T57" fmla="*/ 27 h 27"/>
                    <a:gd name="T58" fmla="*/ 5 w 45"/>
                    <a:gd name="T5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 h="27">
                      <a:moveTo>
                        <a:pt x="5" y="27"/>
                      </a:moveTo>
                      <a:lnTo>
                        <a:pt x="5" y="27"/>
                      </a:lnTo>
                      <a:lnTo>
                        <a:pt x="5" y="27"/>
                      </a:lnTo>
                      <a:lnTo>
                        <a:pt x="14" y="27"/>
                      </a:lnTo>
                      <a:lnTo>
                        <a:pt x="14" y="27"/>
                      </a:lnTo>
                      <a:lnTo>
                        <a:pt x="18" y="23"/>
                      </a:lnTo>
                      <a:lnTo>
                        <a:pt x="22" y="27"/>
                      </a:lnTo>
                      <a:lnTo>
                        <a:pt x="27" y="27"/>
                      </a:lnTo>
                      <a:lnTo>
                        <a:pt x="27" y="27"/>
                      </a:lnTo>
                      <a:lnTo>
                        <a:pt x="27" y="23"/>
                      </a:lnTo>
                      <a:lnTo>
                        <a:pt x="31" y="18"/>
                      </a:lnTo>
                      <a:lnTo>
                        <a:pt x="31" y="18"/>
                      </a:lnTo>
                      <a:lnTo>
                        <a:pt x="31" y="14"/>
                      </a:lnTo>
                      <a:lnTo>
                        <a:pt x="31" y="14"/>
                      </a:lnTo>
                      <a:lnTo>
                        <a:pt x="36" y="14"/>
                      </a:lnTo>
                      <a:lnTo>
                        <a:pt x="36" y="9"/>
                      </a:lnTo>
                      <a:lnTo>
                        <a:pt x="40" y="9"/>
                      </a:lnTo>
                      <a:lnTo>
                        <a:pt x="40" y="9"/>
                      </a:lnTo>
                      <a:lnTo>
                        <a:pt x="40" y="5"/>
                      </a:lnTo>
                      <a:lnTo>
                        <a:pt x="45" y="9"/>
                      </a:lnTo>
                      <a:lnTo>
                        <a:pt x="45" y="9"/>
                      </a:lnTo>
                      <a:lnTo>
                        <a:pt x="40" y="0"/>
                      </a:lnTo>
                      <a:lnTo>
                        <a:pt x="27" y="5"/>
                      </a:lnTo>
                      <a:lnTo>
                        <a:pt x="18" y="9"/>
                      </a:lnTo>
                      <a:lnTo>
                        <a:pt x="5" y="9"/>
                      </a:lnTo>
                      <a:lnTo>
                        <a:pt x="0" y="9"/>
                      </a:lnTo>
                      <a:lnTo>
                        <a:pt x="5" y="14"/>
                      </a:lnTo>
                      <a:lnTo>
                        <a:pt x="5" y="18"/>
                      </a:lnTo>
                      <a:lnTo>
                        <a:pt x="9" y="27"/>
                      </a:lnTo>
                      <a:lnTo>
                        <a:pt x="5" y="27"/>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95" name="Freeform 200"/>
                <p:cNvSpPr>
                  <a:spLocks noEditPoints="1"/>
                </p:cNvSpPr>
                <p:nvPr/>
              </p:nvSpPr>
              <p:spPr bwMode="gray">
                <a:xfrm>
                  <a:off x="2884" y="1367"/>
                  <a:ext cx="187" cy="438"/>
                </a:xfrm>
                <a:custGeom>
                  <a:avLst/>
                  <a:gdLst>
                    <a:gd name="T0" fmla="*/ 0 w 187"/>
                    <a:gd name="T1" fmla="*/ 340 h 438"/>
                    <a:gd name="T2" fmla="*/ 9 w 187"/>
                    <a:gd name="T3" fmla="*/ 358 h 438"/>
                    <a:gd name="T4" fmla="*/ 13 w 187"/>
                    <a:gd name="T5" fmla="*/ 358 h 438"/>
                    <a:gd name="T6" fmla="*/ 9 w 187"/>
                    <a:gd name="T7" fmla="*/ 371 h 438"/>
                    <a:gd name="T8" fmla="*/ 13 w 187"/>
                    <a:gd name="T9" fmla="*/ 384 h 438"/>
                    <a:gd name="T10" fmla="*/ 27 w 187"/>
                    <a:gd name="T11" fmla="*/ 402 h 438"/>
                    <a:gd name="T12" fmla="*/ 22 w 187"/>
                    <a:gd name="T13" fmla="*/ 411 h 438"/>
                    <a:gd name="T14" fmla="*/ 22 w 187"/>
                    <a:gd name="T15" fmla="*/ 429 h 438"/>
                    <a:gd name="T16" fmla="*/ 31 w 187"/>
                    <a:gd name="T17" fmla="*/ 438 h 438"/>
                    <a:gd name="T18" fmla="*/ 45 w 187"/>
                    <a:gd name="T19" fmla="*/ 434 h 438"/>
                    <a:gd name="T20" fmla="*/ 45 w 187"/>
                    <a:gd name="T21" fmla="*/ 420 h 438"/>
                    <a:gd name="T22" fmla="*/ 53 w 187"/>
                    <a:gd name="T23" fmla="*/ 416 h 438"/>
                    <a:gd name="T24" fmla="*/ 76 w 187"/>
                    <a:gd name="T25" fmla="*/ 407 h 438"/>
                    <a:gd name="T26" fmla="*/ 85 w 187"/>
                    <a:gd name="T27" fmla="*/ 358 h 438"/>
                    <a:gd name="T28" fmla="*/ 112 w 187"/>
                    <a:gd name="T29" fmla="*/ 340 h 438"/>
                    <a:gd name="T30" fmla="*/ 116 w 187"/>
                    <a:gd name="T31" fmla="*/ 317 h 438"/>
                    <a:gd name="T32" fmla="*/ 98 w 187"/>
                    <a:gd name="T33" fmla="*/ 295 h 438"/>
                    <a:gd name="T34" fmla="*/ 94 w 187"/>
                    <a:gd name="T35" fmla="*/ 282 h 438"/>
                    <a:gd name="T36" fmla="*/ 98 w 187"/>
                    <a:gd name="T37" fmla="*/ 259 h 438"/>
                    <a:gd name="T38" fmla="*/ 98 w 187"/>
                    <a:gd name="T39" fmla="*/ 241 h 438"/>
                    <a:gd name="T40" fmla="*/ 98 w 187"/>
                    <a:gd name="T41" fmla="*/ 233 h 438"/>
                    <a:gd name="T42" fmla="*/ 103 w 187"/>
                    <a:gd name="T43" fmla="*/ 224 h 438"/>
                    <a:gd name="T44" fmla="*/ 103 w 187"/>
                    <a:gd name="T45" fmla="*/ 215 h 438"/>
                    <a:gd name="T46" fmla="*/ 116 w 187"/>
                    <a:gd name="T47" fmla="*/ 210 h 438"/>
                    <a:gd name="T48" fmla="*/ 125 w 187"/>
                    <a:gd name="T49" fmla="*/ 201 h 438"/>
                    <a:gd name="T50" fmla="*/ 138 w 187"/>
                    <a:gd name="T51" fmla="*/ 188 h 438"/>
                    <a:gd name="T52" fmla="*/ 143 w 187"/>
                    <a:gd name="T53" fmla="*/ 165 h 438"/>
                    <a:gd name="T54" fmla="*/ 161 w 187"/>
                    <a:gd name="T55" fmla="*/ 139 h 438"/>
                    <a:gd name="T56" fmla="*/ 165 w 187"/>
                    <a:gd name="T57" fmla="*/ 125 h 438"/>
                    <a:gd name="T58" fmla="*/ 174 w 187"/>
                    <a:gd name="T59" fmla="*/ 125 h 438"/>
                    <a:gd name="T60" fmla="*/ 183 w 187"/>
                    <a:gd name="T61" fmla="*/ 112 h 438"/>
                    <a:gd name="T62" fmla="*/ 187 w 187"/>
                    <a:gd name="T63" fmla="*/ 81 h 438"/>
                    <a:gd name="T64" fmla="*/ 179 w 187"/>
                    <a:gd name="T65" fmla="*/ 36 h 438"/>
                    <a:gd name="T66" fmla="*/ 152 w 187"/>
                    <a:gd name="T67" fmla="*/ 14 h 438"/>
                    <a:gd name="T68" fmla="*/ 129 w 187"/>
                    <a:gd name="T69" fmla="*/ 0 h 438"/>
                    <a:gd name="T70" fmla="*/ 125 w 187"/>
                    <a:gd name="T71" fmla="*/ 22 h 438"/>
                    <a:gd name="T72" fmla="*/ 98 w 187"/>
                    <a:gd name="T73" fmla="*/ 22 h 438"/>
                    <a:gd name="T74" fmla="*/ 98 w 187"/>
                    <a:gd name="T75" fmla="*/ 40 h 438"/>
                    <a:gd name="T76" fmla="*/ 80 w 187"/>
                    <a:gd name="T77" fmla="*/ 49 h 438"/>
                    <a:gd name="T78" fmla="*/ 80 w 187"/>
                    <a:gd name="T79" fmla="*/ 81 h 438"/>
                    <a:gd name="T80" fmla="*/ 62 w 187"/>
                    <a:gd name="T81" fmla="*/ 112 h 438"/>
                    <a:gd name="T82" fmla="*/ 53 w 187"/>
                    <a:gd name="T83" fmla="*/ 116 h 438"/>
                    <a:gd name="T84" fmla="*/ 49 w 187"/>
                    <a:gd name="T85" fmla="*/ 139 h 438"/>
                    <a:gd name="T86" fmla="*/ 45 w 187"/>
                    <a:gd name="T87" fmla="*/ 179 h 438"/>
                    <a:gd name="T88" fmla="*/ 27 w 187"/>
                    <a:gd name="T89" fmla="*/ 179 h 438"/>
                    <a:gd name="T90" fmla="*/ 13 w 187"/>
                    <a:gd name="T91" fmla="*/ 201 h 438"/>
                    <a:gd name="T92" fmla="*/ 13 w 187"/>
                    <a:gd name="T93" fmla="*/ 210 h 438"/>
                    <a:gd name="T94" fmla="*/ 27 w 187"/>
                    <a:gd name="T95" fmla="*/ 273 h 438"/>
                    <a:gd name="T96" fmla="*/ 22 w 187"/>
                    <a:gd name="T97" fmla="*/ 313 h 438"/>
                    <a:gd name="T98" fmla="*/ 13 w 187"/>
                    <a:gd name="T99" fmla="*/ 331 h 438"/>
                    <a:gd name="T100" fmla="*/ 4 w 187"/>
                    <a:gd name="T101" fmla="*/ 340 h 438"/>
                    <a:gd name="T102" fmla="*/ 80 w 187"/>
                    <a:gd name="T103" fmla="*/ 402 h 438"/>
                    <a:gd name="T104" fmla="*/ 80 w 187"/>
                    <a:gd name="T105" fmla="*/ 411 h 438"/>
                    <a:gd name="T106" fmla="*/ 89 w 187"/>
                    <a:gd name="T107" fmla="*/ 384 h 438"/>
                    <a:gd name="T108" fmla="*/ 120 w 187"/>
                    <a:gd name="T109" fmla="*/ 371 h 438"/>
                    <a:gd name="T110" fmla="*/ 112 w 187"/>
                    <a:gd name="T111" fmla="*/ 371 h 438"/>
                    <a:gd name="T112" fmla="*/ 103 w 187"/>
                    <a:gd name="T113" fmla="*/ 376 h 438"/>
                    <a:gd name="T114" fmla="*/ 107 w 187"/>
                    <a:gd name="T115" fmla="*/ 393 h 438"/>
                    <a:gd name="T116" fmla="*/ 112 w 187"/>
                    <a:gd name="T117" fmla="*/ 380 h 438"/>
                    <a:gd name="T118" fmla="*/ 120 w 187"/>
                    <a:gd name="T119" fmla="*/ 371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7" h="438">
                      <a:moveTo>
                        <a:pt x="4" y="340"/>
                      </a:moveTo>
                      <a:lnTo>
                        <a:pt x="0" y="340"/>
                      </a:lnTo>
                      <a:lnTo>
                        <a:pt x="0" y="358"/>
                      </a:lnTo>
                      <a:lnTo>
                        <a:pt x="9" y="358"/>
                      </a:lnTo>
                      <a:lnTo>
                        <a:pt x="9" y="353"/>
                      </a:lnTo>
                      <a:lnTo>
                        <a:pt x="13" y="358"/>
                      </a:lnTo>
                      <a:lnTo>
                        <a:pt x="9" y="367"/>
                      </a:lnTo>
                      <a:lnTo>
                        <a:pt x="9" y="371"/>
                      </a:lnTo>
                      <a:lnTo>
                        <a:pt x="9" y="384"/>
                      </a:lnTo>
                      <a:lnTo>
                        <a:pt x="13" y="384"/>
                      </a:lnTo>
                      <a:lnTo>
                        <a:pt x="18" y="398"/>
                      </a:lnTo>
                      <a:lnTo>
                        <a:pt x="27" y="402"/>
                      </a:lnTo>
                      <a:lnTo>
                        <a:pt x="18" y="411"/>
                      </a:lnTo>
                      <a:lnTo>
                        <a:pt x="22" y="411"/>
                      </a:lnTo>
                      <a:lnTo>
                        <a:pt x="18" y="411"/>
                      </a:lnTo>
                      <a:lnTo>
                        <a:pt x="22" y="429"/>
                      </a:lnTo>
                      <a:lnTo>
                        <a:pt x="22" y="434"/>
                      </a:lnTo>
                      <a:lnTo>
                        <a:pt x="31" y="438"/>
                      </a:lnTo>
                      <a:lnTo>
                        <a:pt x="45" y="438"/>
                      </a:lnTo>
                      <a:lnTo>
                        <a:pt x="45" y="434"/>
                      </a:lnTo>
                      <a:lnTo>
                        <a:pt x="45" y="429"/>
                      </a:lnTo>
                      <a:lnTo>
                        <a:pt x="45" y="420"/>
                      </a:lnTo>
                      <a:lnTo>
                        <a:pt x="53" y="420"/>
                      </a:lnTo>
                      <a:lnTo>
                        <a:pt x="53" y="416"/>
                      </a:lnTo>
                      <a:lnTo>
                        <a:pt x="71" y="416"/>
                      </a:lnTo>
                      <a:lnTo>
                        <a:pt x="76" y="407"/>
                      </a:lnTo>
                      <a:lnTo>
                        <a:pt x="80" y="380"/>
                      </a:lnTo>
                      <a:lnTo>
                        <a:pt x="85" y="358"/>
                      </a:lnTo>
                      <a:lnTo>
                        <a:pt x="94" y="344"/>
                      </a:lnTo>
                      <a:lnTo>
                        <a:pt x="112" y="340"/>
                      </a:lnTo>
                      <a:lnTo>
                        <a:pt x="107" y="331"/>
                      </a:lnTo>
                      <a:lnTo>
                        <a:pt x="116" y="317"/>
                      </a:lnTo>
                      <a:lnTo>
                        <a:pt x="112" y="308"/>
                      </a:lnTo>
                      <a:lnTo>
                        <a:pt x="98" y="295"/>
                      </a:lnTo>
                      <a:lnTo>
                        <a:pt x="94" y="291"/>
                      </a:lnTo>
                      <a:lnTo>
                        <a:pt x="94" y="282"/>
                      </a:lnTo>
                      <a:lnTo>
                        <a:pt x="94" y="259"/>
                      </a:lnTo>
                      <a:lnTo>
                        <a:pt x="98" y="259"/>
                      </a:lnTo>
                      <a:lnTo>
                        <a:pt x="94" y="255"/>
                      </a:lnTo>
                      <a:lnTo>
                        <a:pt x="98" y="241"/>
                      </a:lnTo>
                      <a:lnTo>
                        <a:pt x="94" y="237"/>
                      </a:lnTo>
                      <a:lnTo>
                        <a:pt x="98" y="233"/>
                      </a:lnTo>
                      <a:lnTo>
                        <a:pt x="98" y="224"/>
                      </a:lnTo>
                      <a:lnTo>
                        <a:pt x="103" y="224"/>
                      </a:lnTo>
                      <a:lnTo>
                        <a:pt x="107" y="219"/>
                      </a:lnTo>
                      <a:lnTo>
                        <a:pt x="103" y="215"/>
                      </a:lnTo>
                      <a:lnTo>
                        <a:pt x="112" y="206"/>
                      </a:lnTo>
                      <a:lnTo>
                        <a:pt x="116" y="210"/>
                      </a:lnTo>
                      <a:lnTo>
                        <a:pt x="125" y="197"/>
                      </a:lnTo>
                      <a:lnTo>
                        <a:pt x="125" y="201"/>
                      </a:lnTo>
                      <a:lnTo>
                        <a:pt x="129" y="192"/>
                      </a:lnTo>
                      <a:lnTo>
                        <a:pt x="138" y="188"/>
                      </a:lnTo>
                      <a:lnTo>
                        <a:pt x="152" y="174"/>
                      </a:lnTo>
                      <a:lnTo>
                        <a:pt x="143" y="165"/>
                      </a:lnTo>
                      <a:lnTo>
                        <a:pt x="152" y="148"/>
                      </a:lnTo>
                      <a:lnTo>
                        <a:pt x="161" y="139"/>
                      </a:lnTo>
                      <a:lnTo>
                        <a:pt x="161" y="130"/>
                      </a:lnTo>
                      <a:lnTo>
                        <a:pt x="165" y="125"/>
                      </a:lnTo>
                      <a:lnTo>
                        <a:pt x="165" y="121"/>
                      </a:lnTo>
                      <a:lnTo>
                        <a:pt x="174" y="125"/>
                      </a:lnTo>
                      <a:lnTo>
                        <a:pt x="187" y="125"/>
                      </a:lnTo>
                      <a:lnTo>
                        <a:pt x="183" y="112"/>
                      </a:lnTo>
                      <a:lnTo>
                        <a:pt x="183" y="98"/>
                      </a:lnTo>
                      <a:lnTo>
                        <a:pt x="187" y="81"/>
                      </a:lnTo>
                      <a:lnTo>
                        <a:pt x="183" y="58"/>
                      </a:lnTo>
                      <a:lnTo>
                        <a:pt x="179" y="36"/>
                      </a:lnTo>
                      <a:lnTo>
                        <a:pt x="174" y="22"/>
                      </a:lnTo>
                      <a:lnTo>
                        <a:pt x="152" y="14"/>
                      </a:lnTo>
                      <a:lnTo>
                        <a:pt x="138" y="0"/>
                      </a:lnTo>
                      <a:lnTo>
                        <a:pt x="129" y="0"/>
                      </a:lnTo>
                      <a:lnTo>
                        <a:pt x="125" y="9"/>
                      </a:lnTo>
                      <a:lnTo>
                        <a:pt x="125" y="22"/>
                      </a:lnTo>
                      <a:lnTo>
                        <a:pt x="103" y="18"/>
                      </a:lnTo>
                      <a:lnTo>
                        <a:pt x="98" y="22"/>
                      </a:lnTo>
                      <a:lnTo>
                        <a:pt x="103" y="36"/>
                      </a:lnTo>
                      <a:lnTo>
                        <a:pt x="98" y="40"/>
                      </a:lnTo>
                      <a:lnTo>
                        <a:pt x="89" y="36"/>
                      </a:lnTo>
                      <a:lnTo>
                        <a:pt x="80" y="49"/>
                      </a:lnTo>
                      <a:lnTo>
                        <a:pt x="76" y="63"/>
                      </a:lnTo>
                      <a:lnTo>
                        <a:pt x="80" y="81"/>
                      </a:lnTo>
                      <a:lnTo>
                        <a:pt x="58" y="103"/>
                      </a:lnTo>
                      <a:lnTo>
                        <a:pt x="62" y="112"/>
                      </a:lnTo>
                      <a:lnTo>
                        <a:pt x="58" y="121"/>
                      </a:lnTo>
                      <a:lnTo>
                        <a:pt x="53" y="116"/>
                      </a:lnTo>
                      <a:lnTo>
                        <a:pt x="49" y="121"/>
                      </a:lnTo>
                      <a:lnTo>
                        <a:pt x="49" y="139"/>
                      </a:lnTo>
                      <a:lnTo>
                        <a:pt x="40" y="165"/>
                      </a:lnTo>
                      <a:lnTo>
                        <a:pt x="45" y="179"/>
                      </a:lnTo>
                      <a:lnTo>
                        <a:pt x="36" y="183"/>
                      </a:lnTo>
                      <a:lnTo>
                        <a:pt x="27" y="179"/>
                      </a:lnTo>
                      <a:lnTo>
                        <a:pt x="18" y="183"/>
                      </a:lnTo>
                      <a:lnTo>
                        <a:pt x="13" y="201"/>
                      </a:lnTo>
                      <a:lnTo>
                        <a:pt x="18" y="206"/>
                      </a:lnTo>
                      <a:lnTo>
                        <a:pt x="13" y="210"/>
                      </a:lnTo>
                      <a:lnTo>
                        <a:pt x="13" y="255"/>
                      </a:lnTo>
                      <a:lnTo>
                        <a:pt x="27" y="273"/>
                      </a:lnTo>
                      <a:lnTo>
                        <a:pt x="18" y="286"/>
                      </a:lnTo>
                      <a:lnTo>
                        <a:pt x="22" y="313"/>
                      </a:lnTo>
                      <a:lnTo>
                        <a:pt x="13" y="322"/>
                      </a:lnTo>
                      <a:lnTo>
                        <a:pt x="13" y="331"/>
                      </a:lnTo>
                      <a:lnTo>
                        <a:pt x="13" y="344"/>
                      </a:lnTo>
                      <a:lnTo>
                        <a:pt x="4" y="340"/>
                      </a:lnTo>
                      <a:close/>
                      <a:moveTo>
                        <a:pt x="85" y="384"/>
                      </a:moveTo>
                      <a:lnTo>
                        <a:pt x="80" y="402"/>
                      </a:lnTo>
                      <a:lnTo>
                        <a:pt x="80" y="416"/>
                      </a:lnTo>
                      <a:lnTo>
                        <a:pt x="80" y="411"/>
                      </a:lnTo>
                      <a:lnTo>
                        <a:pt x="80" y="407"/>
                      </a:lnTo>
                      <a:lnTo>
                        <a:pt x="89" y="384"/>
                      </a:lnTo>
                      <a:lnTo>
                        <a:pt x="85" y="384"/>
                      </a:lnTo>
                      <a:close/>
                      <a:moveTo>
                        <a:pt x="120" y="371"/>
                      </a:moveTo>
                      <a:lnTo>
                        <a:pt x="116" y="367"/>
                      </a:lnTo>
                      <a:lnTo>
                        <a:pt x="112" y="371"/>
                      </a:lnTo>
                      <a:lnTo>
                        <a:pt x="107" y="367"/>
                      </a:lnTo>
                      <a:lnTo>
                        <a:pt x="103" y="376"/>
                      </a:lnTo>
                      <a:lnTo>
                        <a:pt x="103" y="384"/>
                      </a:lnTo>
                      <a:lnTo>
                        <a:pt x="107" y="393"/>
                      </a:lnTo>
                      <a:lnTo>
                        <a:pt x="112" y="380"/>
                      </a:lnTo>
                      <a:lnTo>
                        <a:pt x="112" y="380"/>
                      </a:lnTo>
                      <a:lnTo>
                        <a:pt x="112" y="371"/>
                      </a:lnTo>
                      <a:lnTo>
                        <a:pt x="120" y="37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96" name="Freeform 201"/>
                <p:cNvSpPr>
                  <a:spLocks/>
                </p:cNvSpPr>
                <p:nvPr/>
              </p:nvSpPr>
              <p:spPr bwMode="gray">
                <a:xfrm>
                  <a:off x="2817" y="1988"/>
                  <a:ext cx="58" cy="36"/>
                </a:xfrm>
                <a:custGeom>
                  <a:avLst/>
                  <a:gdLst>
                    <a:gd name="T0" fmla="*/ 13 w 58"/>
                    <a:gd name="T1" fmla="*/ 36 h 36"/>
                    <a:gd name="T2" fmla="*/ 9 w 58"/>
                    <a:gd name="T3" fmla="*/ 27 h 36"/>
                    <a:gd name="T4" fmla="*/ 4 w 58"/>
                    <a:gd name="T5" fmla="*/ 23 h 36"/>
                    <a:gd name="T6" fmla="*/ 0 w 58"/>
                    <a:gd name="T7" fmla="*/ 32 h 36"/>
                    <a:gd name="T8" fmla="*/ 0 w 58"/>
                    <a:gd name="T9" fmla="*/ 23 h 36"/>
                    <a:gd name="T10" fmla="*/ 9 w 58"/>
                    <a:gd name="T11" fmla="*/ 9 h 36"/>
                    <a:gd name="T12" fmla="*/ 9 w 58"/>
                    <a:gd name="T13" fmla="*/ 5 h 36"/>
                    <a:gd name="T14" fmla="*/ 18 w 58"/>
                    <a:gd name="T15" fmla="*/ 5 h 36"/>
                    <a:gd name="T16" fmla="*/ 22 w 58"/>
                    <a:gd name="T17" fmla="*/ 0 h 36"/>
                    <a:gd name="T18" fmla="*/ 22 w 58"/>
                    <a:gd name="T19" fmla="*/ 5 h 36"/>
                    <a:gd name="T20" fmla="*/ 31 w 58"/>
                    <a:gd name="T21" fmla="*/ 0 h 36"/>
                    <a:gd name="T22" fmla="*/ 40 w 58"/>
                    <a:gd name="T23" fmla="*/ 0 h 36"/>
                    <a:gd name="T24" fmla="*/ 49 w 58"/>
                    <a:gd name="T25" fmla="*/ 0 h 36"/>
                    <a:gd name="T26" fmla="*/ 49 w 58"/>
                    <a:gd name="T27" fmla="*/ 14 h 36"/>
                    <a:gd name="T28" fmla="*/ 49 w 58"/>
                    <a:gd name="T29" fmla="*/ 18 h 36"/>
                    <a:gd name="T30" fmla="*/ 58 w 58"/>
                    <a:gd name="T31" fmla="*/ 14 h 36"/>
                    <a:gd name="T32" fmla="*/ 58 w 58"/>
                    <a:gd name="T33" fmla="*/ 18 h 36"/>
                    <a:gd name="T34" fmla="*/ 53 w 58"/>
                    <a:gd name="T35" fmla="*/ 27 h 36"/>
                    <a:gd name="T36" fmla="*/ 45 w 58"/>
                    <a:gd name="T37" fmla="*/ 27 h 36"/>
                    <a:gd name="T38" fmla="*/ 40 w 58"/>
                    <a:gd name="T39" fmla="*/ 23 h 36"/>
                    <a:gd name="T40" fmla="*/ 40 w 58"/>
                    <a:gd name="T41" fmla="*/ 32 h 36"/>
                    <a:gd name="T42" fmla="*/ 36 w 58"/>
                    <a:gd name="T43" fmla="*/ 36 h 36"/>
                    <a:gd name="T44" fmla="*/ 31 w 58"/>
                    <a:gd name="T45" fmla="*/ 27 h 36"/>
                    <a:gd name="T46" fmla="*/ 27 w 58"/>
                    <a:gd name="T47" fmla="*/ 27 h 36"/>
                    <a:gd name="T48" fmla="*/ 27 w 58"/>
                    <a:gd name="T49" fmla="*/ 36 h 36"/>
                    <a:gd name="T50" fmla="*/ 18 w 58"/>
                    <a:gd name="T51" fmla="*/ 36 h 36"/>
                    <a:gd name="T52" fmla="*/ 13 w 58"/>
                    <a:gd name="T5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36">
                      <a:moveTo>
                        <a:pt x="13" y="36"/>
                      </a:moveTo>
                      <a:lnTo>
                        <a:pt x="9" y="27"/>
                      </a:lnTo>
                      <a:lnTo>
                        <a:pt x="4" y="23"/>
                      </a:lnTo>
                      <a:lnTo>
                        <a:pt x="0" y="32"/>
                      </a:lnTo>
                      <a:lnTo>
                        <a:pt x="0" y="23"/>
                      </a:lnTo>
                      <a:lnTo>
                        <a:pt x="9" y="9"/>
                      </a:lnTo>
                      <a:lnTo>
                        <a:pt x="9" y="5"/>
                      </a:lnTo>
                      <a:lnTo>
                        <a:pt x="18" y="5"/>
                      </a:lnTo>
                      <a:lnTo>
                        <a:pt x="22" y="0"/>
                      </a:lnTo>
                      <a:lnTo>
                        <a:pt x="22" y="5"/>
                      </a:lnTo>
                      <a:lnTo>
                        <a:pt x="31" y="0"/>
                      </a:lnTo>
                      <a:lnTo>
                        <a:pt x="40" y="0"/>
                      </a:lnTo>
                      <a:lnTo>
                        <a:pt x="49" y="0"/>
                      </a:lnTo>
                      <a:lnTo>
                        <a:pt x="49" y="14"/>
                      </a:lnTo>
                      <a:lnTo>
                        <a:pt x="49" y="18"/>
                      </a:lnTo>
                      <a:lnTo>
                        <a:pt x="58" y="14"/>
                      </a:lnTo>
                      <a:lnTo>
                        <a:pt x="58" y="18"/>
                      </a:lnTo>
                      <a:lnTo>
                        <a:pt x="53" y="27"/>
                      </a:lnTo>
                      <a:lnTo>
                        <a:pt x="45" y="27"/>
                      </a:lnTo>
                      <a:lnTo>
                        <a:pt x="40" y="23"/>
                      </a:lnTo>
                      <a:lnTo>
                        <a:pt x="40" y="32"/>
                      </a:lnTo>
                      <a:lnTo>
                        <a:pt x="36" y="36"/>
                      </a:lnTo>
                      <a:lnTo>
                        <a:pt x="31" y="27"/>
                      </a:lnTo>
                      <a:lnTo>
                        <a:pt x="27" y="27"/>
                      </a:lnTo>
                      <a:lnTo>
                        <a:pt x="27" y="36"/>
                      </a:lnTo>
                      <a:lnTo>
                        <a:pt x="18" y="36"/>
                      </a:lnTo>
                      <a:lnTo>
                        <a:pt x="13" y="36"/>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97" name="Freeform 202"/>
                <p:cNvSpPr>
                  <a:spLocks noEditPoints="1"/>
                </p:cNvSpPr>
                <p:nvPr/>
              </p:nvSpPr>
              <p:spPr bwMode="gray">
                <a:xfrm>
                  <a:off x="3098" y="2100"/>
                  <a:ext cx="273" cy="125"/>
                </a:xfrm>
                <a:custGeom>
                  <a:avLst/>
                  <a:gdLst>
                    <a:gd name="T0" fmla="*/ 0 w 273"/>
                    <a:gd name="T1" fmla="*/ 18 h 125"/>
                    <a:gd name="T2" fmla="*/ 18 w 273"/>
                    <a:gd name="T3" fmla="*/ 0 h 125"/>
                    <a:gd name="T4" fmla="*/ 32 w 273"/>
                    <a:gd name="T5" fmla="*/ 4 h 125"/>
                    <a:gd name="T6" fmla="*/ 45 w 273"/>
                    <a:gd name="T7" fmla="*/ 18 h 125"/>
                    <a:gd name="T8" fmla="*/ 32 w 273"/>
                    <a:gd name="T9" fmla="*/ 22 h 125"/>
                    <a:gd name="T10" fmla="*/ 14 w 273"/>
                    <a:gd name="T11" fmla="*/ 31 h 125"/>
                    <a:gd name="T12" fmla="*/ 0 w 273"/>
                    <a:gd name="T13" fmla="*/ 40 h 125"/>
                    <a:gd name="T14" fmla="*/ 9 w 273"/>
                    <a:gd name="T15" fmla="*/ 27 h 125"/>
                    <a:gd name="T16" fmla="*/ 63 w 273"/>
                    <a:gd name="T17" fmla="*/ 112 h 125"/>
                    <a:gd name="T18" fmla="*/ 85 w 273"/>
                    <a:gd name="T19" fmla="*/ 107 h 125"/>
                    <a:gd name="T20" fmla="*/ 99 w 273"/>
                    <a:gd name="T21" fmla="*/ 116 h 125"/>
                    <a:gd name="T22" fmla="*/ 121 w 273"/>
                    <a:gd name="T23" fmla="*/ 107 h 125"/>
                    <a:gd name="T24" fmla="*/ 139 w 273"/>
                    <a:gd name="T25" fmla="*/ 112 h 125"/>
                    <a:gd name="T26" fmla="*/ 148 w 273"/>
                    <a:gd name="T27" fmla="*/ 107 h 125"/>
                    <a:gd name="T28" fmla="*/ 143 w 273"/>
                    <a:gd name="T29" fmla="*/ 116 h 125"/>
                    <a:gd name="T30" fmla="*/ 139 w 273"/>
                    <a:gd name="T31" fmla="*/ 125 h 125"/>
                    <a:gd name="T32" fmla="*/ 157 w 273"/>
                    <a:gd name="T33" fmla="*/ 116 h 125"/>
                    <a:gd name="T34" fmla="*/ 179 w 273"/>
                    <a:gd name="T35" fmla="*/ 103 h 125"/>
                    <a:gd name="T36" fmla="*/ 210 w 273"/>
                    <a:gd name="T37" fmla="*/ 103 h 125"/>
                    <a:gd name="T38" fmla="*/ 241 w 273"/>
                    <a:gd name="T39" fmla="*/ 103 h 125"/>
                    <a:gd name="T40" fmla="*/ 264 w 273"/>
                    <a:gd name="T41" fmla="*/ 103 h 125"/>
                    <a:gd name="T42" fmla="*/ 273 w 273"/>
                    <a:gd name="T43" fmla="*/ 94 h 125"/>
                    <a:gd name="T44" fmla="*/ 259 w 273"/>
                    <a:gd name="T45" fmla="*/ 63 h 125"/>
                    <a:gd name="T46" fmla="*/ 264 w 273"/>
                    <a:gd name="T47" fmla="*/ 45 h 125"/>
                    <a:gd name="T48" fmla="*/ 250 w 273"/>
                    <a:gd name="T49" fmla="*/ 22 h 125"/>
                    <a:gd name="T50" fmla="*/ 219 w 273"/>
                    <a:gd name="T51" fmla="*/ 13 h 125"/>
                    <a:gd name="T52" fmla="*/ 206 w 273"/>
                    <a:gd name="T53" fmla="*/ 22 h 125"/>
                    <a:gd name="T54" fmla="*/ 183 w 273"/>
                    <a:gd name="T55" fmla="*/ 22 h 125"/>
                    <a:gd name="T56" fmla="*/ 148 w 273"/>
                    <a:gd name="T57" fmla="*/ 18 h 125"/>
                    <a:gd name="T58" fmla="*/ 134 w 273"/>
                    <a:gd name="T59" fmla="*/ 9 h 125"/>
                    <a:gd name="T60" fmla="*/ 130 w 273"/>
                    <a:gd name="T61" fmla="*/ 0 h 125"/>
                    <a:gd name="T62" fmla="*/ 103 w 273"/>
                    <a:gd name="T63" fmla="*/ 0 h 125"/>
                    <a:gd name="T64" fmla="*/ 76 w 273"/>
                    <a:gd name="T65" fmla="*/ 18 h 125"/>
                    <a:gd name="T66" fmla="*/ 54 w 273"/>
                    <a:gd name="T67" fmla="*/ 18 h 125"/>
                    <a:gd name="T68" fmla="*/ 45 w 273"/>
                    <a:gd name="T69" fmla="*/ 22 h 125"/>
                    <a:gd name="T70" fmla="*/ 40 w 273"/>
                    <a:gd name="T71" fmla="*/ 27 h 125"/>
                    <a:gd name="T72" fmla="*/ 36 w 273"/>
                    <a:gd name="T73" fmla="*/ 31 h 125"/>
                    <a:gd name="T74" fmla="*/ 23 w 273"/>
                    <a:gd name="T75" fmla="*/ 40 h 125"/>
                    <a:gd name="T76" fmla="*/ 9 w 273"/>
                    <a:gd name="T77" fmla="*/ 36 h 125"/>
                    <a:gd name="T78" fmla="*/ 0 w 273"/>
                    <a:gd name="T79" fmla="*/ 49 h 125"/>
                    <a:gd name="T80" fmla="*/ 9 w 273"/>
                    <a:gd name="T81" fmla="*/ 54 h 125"/>
                    <a:gd name="T82" fmla="*/ 14 w 273"/>
                    <a:gd name="T83" fmla="*/ 72 h 125"/>
                    <a:gd name="T84" fmla="*/ 5 w 273"/>
                    <a:gd name="T85" fmla="*/ 67 h 125"/>
                    <a:gd name="T86" fmla="*/ 9 w 273"/>
                    <a:gd name="T87" fmla="*/ 76 h 125"/>
                    <a:gd name="T88" fmla="*/ 14 w 273"/>
                    <a:gd name="T89" fmla="*/ 85 h 125"/>
                    <a:gd name="T90" fmla="*/ 23 w 273"/>
                    <a:gd name="T91" fmla="*/ 94 h 125"/>
                    <a:gd name="T92" fmla="*/ 27 w 273"/>
                    <a:gd name="T93" fmla="*/ 98 h 125"/>
                    <a:gd name="T94" fmla="*/ 23 w 273"/>
                    <a:gd name="T95" fmla="*/ 107 h 125"/>
                    <a:gd name="T96" fmla="*/ 32 w 273"/>
                    <a:gd name="T97" fmla="*/ 107 h 125"/>
                    <a:gd name="T98" fmla="*/ 45 w 273"/>
                    <a:gd name="T99" fmla="*/ 103 h 125"/>
                    <a:gd name="T100" fmla="*/ 54 w 273"/>
                    <a:gd name="T101" fmla="*/ 11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3" h="125">
                      <a:moveTo>
                        <a:pt x="0" y="22"/>
                      </a:moveTo>
                      <a:lnTo>
                        <a:pt x="0" y="18"/>
                      </a:lnTo>
                      <a:lnTo>
                        <a:pt x="0" y="9"/>
                      </a:lnTo>
                      <a:lnTo>
                        <a:pt x="18" y="0"/>
                      </a:lnTo>
                      <a:lnTo>
                        <a:pt x="23" y="4"/>
                      </a:lnTo>
                      <a:lnTo>
                        <a:pt x="32" y="4"/>
                      </a:lnTo>
                      <a:lnTo>
                        <a:pt x="32" y="13"/>
                      </a:lnTo>
                      <a:lnTo>
                        <a:pt x="45" y="18"/>
                      </a:lnTo>
                      <a:lnTo>
                        <a:pt x="36" y="22"/>
                      </a:lnTo>
                      <a:lnTo>
                        <a:pt x="32" y="22"/>
                      </a:lnTo>
                      <a:lnTo>
                        <a:pt x="18" y="22"/>
                      </a:lnTo>
                      <a:lnTo>
                        <a:pt x="14" y="31"/>
                      </a:lnTo>
                      <a:lnTo>
                        <a:pt x="9" y="31"/>
                      </a:lnTo>
                      <a:lnTo>
                        <a:pt x="0" y="40"/>
                      </a:lnTo>
                      <a:lnTo>
                        <a:pt x="0" y="36"/>
                      </a:lnTo>
                      <a:lnTo>
                        <a:pt x="9" y="27"/>
                      </a:lnTo>
                      <a:lnTo>
                        <a:pt x="0" y="22"/>
                      </a:lnTo>
                      <a:close/>
                      <a:moveTo>
                        <a:pt x="63" y="112"/>
                      </a:moveTo>
                      <a:lnTo>
                        <a:pt x="67" y="103"/>
                      </a:lnTo>
                      <a:lnTo>
                        <a:pt x="85" y="107"/>
                      </a:lnTo>
                      <a:lnTo>
                        <a:pt x="90" y="116"/>
                      </a:lnTo>
                      <a:lnTo>
                        <a:pt x="99" y="116"/>
                      </a:lnTo>
                      <a:lnTo>
                        <a:pt x="116" y="112"/>
                      </a:lnTo>
                      <a:lnTo>
                        <a:pt x="121" y="107"/>
                      </a:lnTo>
                      <a:lnTo>
                        <a:pt x="125" y="107"/>
                      </a:lnTo>
                      <a:lnTo>
                        <a:pt x="139" y="112"/>
                      </a:lnTo>
                      <a:lnTo>
                        <a:pt x="143" y="103"/>
                      </a:lnTo>
                      <a:lnTo>
                        <a:pt x="148" y="107"/>
                      </a:lnTo>
                      <a:lnTo>
                        <a:pt x="143" y="112"/>
                      </a:lnTo>
                      <a:lnTo>
                        <a:pt x="143" y="116"/>
                      </a:lnTo>
                      <a:lnTo>
                        <a:pt x="139" y="121"/>
                      </a:lnTo>
                      <a:lnTo>
                        <a:pt x="139" y="125"/>
                      </a:lnTo>
                      <a:lnTo>
                        <a:pt x="148" y="125"/>
                      </a:lnTo>
                      <a:lnTo>
                        <a:pt x="157" y="116"/>
                      </a:lnTo>
                      <a:lnTo>
                        <a:pt x="157" y="107"/>
                      </a:lnTo>
                      <a:lnTo>
                        <a:pt x="179" y="103"/>
                      </a:lnTo>
                      <a:lnTo>
                        <a:pt x="197" y="107"/>
                      </a:lnTo>
                      <a:lnTo>
                        <a:pt x="210" y="103"/>
                      </a:lnTo>
                      <a:lnTo>
                        <a:pt x="233" y="98"/>
                      </a:lnTo>
                      <a:lnTo>
                        <a:pt x="241" y="103"/>
                      </a:lnTo>
                      <a:lnTo>
                        <a:pt x="246" y="98"/>
                      </a:lnTo>
                      <a:lnTo>
                        <a:pt x="264" y="103"/>
                      </a:lnTo>
                      <a:lnTo>
                        <a:pt x="273" y="98"/>
                      </a:lnTo>
                      <a:lnTo>
                        <a:pt x="273" y="94"/>
                      </a:lnTo>
                      <a:lnTo>
                        <a:pt x="264" y="89"/>
                      </a:lnTo>
                      <a:lnTo>
                        <a:pt x="259" y="63"/>
                      </a:lnTo>
                      <a:lnTo>
                        <a:pt x="268" y="54"/>
                      </a:lnTo>
                      <a:lnTo>
                        <a:pt x="264" y="45"/>
                      </a:lnTo>
                      <a:lnTo>
                        <a:pt x="255" y="40"/>
                      </a:lnTo>
                      <a:lnTo>
                        <a:pt x="250" y="22"/>
                      </a:lnTo>
                      <a:lnTo>
                        <a:pt x="241" y="18"/>
                      </a:lnTo>
                      <a:lnTo>
                        <a:pt x="219" y="13"/>
                      </a:lnTo>
                      <a:lnTo>
                        <a:pt x="210" y="18"/>
                      </a:lnTo>
                      <a:lnTo>
                        <a:pt x="206" y="22"/>
                      </a:lnTo>
                      <a:lnTo>
                        <a:pt x="192" y="18"/>
                      </a:lnTo>
                      <a:lnTo>
                        <a:pt x="183" y="22"/>
                      </a:lnTo>
                      <a:lnTo>
                        <a:pt x="170" y="22"/>
                      </a:lnTo>
                      <a:lnTo>
                        <a:pt x="148" y="18"/>
                      </a:lnTo>
                      <a:lnTo>
                        <a:pt x="143" y="9"/>
                      </a:lnTo>
                      <a:lnTo>
                        <a:pt x="134" y="9"/>
                      </a:lnTo>
                      <a:lnTo>
                        <a:pt x="134" y="0"/>
                      </a:lnTo>
                      <a:lnTo>
                        <a:pt x="130" y="0"/>
                      </a:lnTo>
                      <a:lnTo>
                        <a:pt x="125" y="4"/>
                      </a:lnTo>
                      <a:lnTo>
                        <a:pt x="103" y="0"/>
                      </a:lnTo>
                      <a:lnTo>
                        <a:pt x="76" y="13"/>
                      </a:lnTo>
                      <a:lnTo>
                        <a:pt x="76" y="18"/>
                      </a:lnTo>
                      <a:lnTo>
                        <a:pt x="63" y="18"/>
                      </a:lnTo>
                      <a:lnTo>
                        <a:pt x="54" y="18"/>
                      </a:lnTo>
                      <a:lnTo>
                        <a:pt x="45" y="18"/>
                      </a:lnTo>
                      <a:lnTo>
                        <a:pt x="45" y="22"/>
                      </a:lnTo>
                      <a:lnTo>
                        <a:pt x="45" y="27"/>
                      </a:lnTo>
                      <a:lnTo>
                        <a:pt x="40" y="27"/>
                      </a:lnTo>
                      <a:lnTo>
                        <a:pt x="45" y="31"/>
                      </a:lnTo>
                      <a:lnTo>
                        <a:pt x="36" y="31"/>
                      </a:lnTo>
                      <a:lnTo>
                        <a:pt x="27" y="31"/>
                      </a:lnTo>
                      <a:lnTo>
                        <a:pt x="23" y="40"/>
                      </a:lnTo>
                      <a:lnTo>
                        <a:pt x="14" y="36"/>
                      </a:lnTo>
                      <a:lnTo>
                        <a:pt x="9" y="36"/>
                      </a:lnTo>
                      <a:lnTo>
                        <a:pt x="0" y="40"/>
                      </a:lnTo>
                      <a:lnTo>
                        <a:pt x="0" y="49"/>
                      </a:lnTo>
                      <a:lnTo>
                        <a:pt x="14" y="49"/>
                      </a:lnTo>
                      <a:lnTo>
                        <a:pt x="9" y="54"/>
                      </a:lnTo>
                      <a:lnTo>
                        <a:pt x="14" y="67"/>
                      </a:lnTo>
                      <a:lnTo>
                        <a:pt x="14" y="72"/>
                      </a:lnTo>
                      <a:lnTo>
                        <a:pt x="9" y="72"/>
                      </a:lnTo>
                      <a:lnTo>
                        <a:pt x="5" y="67"/>
                      </a:lnTo>
                      <a:lnTo>
                        <a:pt x="5" y="76"/>
                      </a:lnTo>
                      <a:lnTo>
                        <a:pt x="9" y="76"/>
                      </a:lnTo>
                      <a:lnTo>
                        <a:pt x="14" y="80"/>
                      </a:lnTo>
                      <a:lnTo>
                        <a:pt x="14" y="85"/>
                      </a:lnTo>
                      <a:lnTo>
                        <a:pt x="14" y="94"/>
                      </a:lnTo>
                      <a:lnTo>
                        <a:pt x="23" y="94"/>
                      </a:lnTo>
                      <a:lnTo>
                        <a:pt x="14" y="98"/>
                      </a:lnTo>
                      <a:lnTo>
                        <a:pt x="27" y="98"/>
                      </a:lnTo>
                      <a:lnTo>
                        <a:pt x="27" y="103"/>
                      </a:lnTo>
                      <a:lnTo>
                        <a:pt x="23" y="107"/>
                      </a:lnTo>
                      <a:lnTo>
                        <a:pt x="27" y="103"/>
                      </a:lnTo>
                      <a:lnTo>
                        <a:pt x="32" y="107"/>
                      </a:lnTo>
                      <a:lnTo>
                        <a:pt x="36" y="98"/>
                      </a:lnTo>
                      <a:lnTo>
                        <a:pt x="45" y="103"/>
                      </a:lnTo>
                      <a:lnTo>
                        <a:pt x="49" y="112"/>
                      </a:lnTo>
                      <a:lnTo>
                        <a:pt x="54" y="116"/>
                      </a:lnTo>
                      <a:lnTo>
                        <a:pt x="63" y="112"/>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98" name="Freeform 203"/>
                <p:cNvSpPr>
                  <a:spLocks/>
                </p:cNvSpPr>
                <p:nvPr/>
              </p:nvSpPr>
              <p:spPr bwMode="gray">
                <a:xfrm>
                  <a:off x="3045" y="1886"/>
                  <a:ext cx="254" cy="169"/>
                </a:xfrm>
                <a:custGeom>
                  <a:avLst/>
                  <a:gdLst>
                    <a:gd name="T0" fmla="*/ 4 w 254"/>
                    <a:gd name="T1" fmla="*/ 71 h 169"/>
                    <a:gd name="T2" fmla="*/ 4 w 254"/>
                    <a:gd name="T3" fmla="*/ 67 h 169"/>
                    <a:gd name="T4" fmla="*/ 22 w 254"/>
                    <a:gd name="T5" fmla="*/ 49 h 169"/>
                    <a:gd name="T6" fmla="*/ 22 w 254"/>
                    <a:gd name="T7" fmla="*/ 40 h 169"/>
                    <a:gd name="T8" fmla="*/ 18 w 254"/>
                    <a:gd name="T9" fmla="*/ 17 h 169"/>
                    <a:gd name="T10" fmla="*/ 26 w 254"/>
                    <a:gd name="T11" fmla="*/ 17 h 169"/>
                    <a:gd name="T12" fmla="*/ 35 w 254"/>
                    <a:gd name="T13" fmla="*/ 4 h 169"/>
                    <a:gd name="T14" fmla="*/ 58 w 254"/>
                    <a:gd name="T15" fmla="*/ 13 h 169"/>
                    <a:gd name="T16" fmla="*/ 76 w 254"/>
                    <a:gd name="T17" fmla="*/ 13 h 169"/>
                    <a:gd name="T18" fmla="*/ 80 w 254"/>
                    <a:gd name="T19" fmla="*/ 17 h 169"/>
                    <a:gd name="T20" fmla="*/ 89 w 254"/>
                    <a:gd name="T21" fmla="*/ 13 h 169"/>
                    <a:gd name="T22" fmla="*/ 98 w 254"/>
                    <a:gd name="T23" fmla="*/ 13 h 169"/>
                    <a:gd name="T24" fmla="*/ 111 w 254"/>
                    <a:gd name="T25" fmla="*/ 17 h 169"/>
                    <a:gd name="T26" fmla="*/ 120 w 254"/>
                    <a:gd name="T27" fmla="*/ 17 h 169"/>
                    <a:gd name="T28" fmla="*/ 125 w 254"/>
                    <a:gd name="T29" fmla="*/ 0 h 169"/>
                    <a:gd name="T30" fmla="*/ 138 w 254"/>
                    <a:gd name="T31" fmla="*/ 4 h 169"/>
                    <a:gd name="T32" fmla="*/ 147 w 254"/>
                    <a:gd name="T33" fmla="*/ 4 h 169"/>
                    <a:gd name="T34" fmla="*/ 165 w 254"/>
                    <a:gd name="T35" fmla="*/ 0 h 169"/>
                    <a:gd name="T36" fmla="*/ 174 w 254"/>
                    <a:gd name="T37" fmla="*/ 8 h 169"/>
                    <a:gd name="T38" fmla="*/ 187 w 254"/>
                    <a:gd name="T39" fmla="*/ 22 h 169"/>
                    <a:gd name="T40" fmla="*/ 192 w 254"/>
                    <a:gd name="T41" fmla="*/ 44 h 169"/>
                    <a:gd name="T42" fmla="*/ 205 w 254"/>
                    <a:gd name="T43" fmla="*/ 49 h 169"/>
                    <a:gd name="T44" fmla="*/ 219 w 254"/>
                    <a:gd name="T45" fmla="*/ 44 h 169"/>
                    <a:gd name="T46" fmla="*/ 223 w 254"/>
                    <a:gd name="T47" fmla="*/ 53 h 169"/>
                    <a:gd name="T48" fmla="*/ 232 w 254"/>
                    <a:gd name="T49" fmla="*/ 58 h 169"/>
                    <a:gd name="T50" fmla="*/ 241 w 254"/>
                    <a:gd name="T51" fmla="*/ 58 h 169"/>
                    <a:gd name="T52" fmla="*/ 250 w 254"/>
                    <a:gd name="T53" fmla="*/ 71 h 169"/>
                    <a:gd name="T54" fmla="*/ 250 w 254"/>
                    <a:gd name="T55" fmla="*/ 80 h 169"/>
                    <a:gd name="T56" fmla="*/ 250 w 254"/>
                    <a:gd name="T57" fmla="*/ 93 h 169"/>
                    <a:gd name="T58" fmla="*/ 232 w 254"/>
                    <a:gd name="T59" fmla="*/ 111 h 169"/>
                    <a:gd name="T60" fmla="*/ 205 w 254"/>
                    <a:gd name="T61" fmla="*/ 120 h 169"/>
                    <a:gd name="T62" fmla="*/ 192 w 254"/>
                    <a:gd name="T63" fmla="*/ 125 h 169"/>
                    <a:gd name="T64" fmla="*/ 183 w 254"/>
                    <a:gd name="T65" fmla="*/ 125 h 169"/>
                    <a:gd name="T66" fmla="*/ 192 w 254"/>
                    <a:gd name="T67" fmla="*/ 147 h 169"/>
                    <a:gd name="T68" fmla="*/ 201 w 254"/>
                    <a:gd name="T69" fmla="*/ 156 h 169"/>
                    <a:gd name="T70" fmla="*/ 192 w 254"/>
                    <a:gd name="T71" fmla="*/ 156 h 169"/>
                    <a:gd name="T72" fmla="*/ 178 w 254"/>
                    <a:gd name="T73" fmla="*/ 160 h 169"/>
                    <a:gd name="T74" fmla="*/ 156 w 254"/>
                    <a:gd name="T75" fmla="*/ 165 h 169"/>
                    <a:gd name="T76" fmla="*/ 160 w 254"/>
                    <a:gd name="T77" fmla="*/ 151 h 169"/>
                    <a:gd name="T78" fmla="*/ 147 w 254"/>
                    <a:gd name="T79" fmla="*/ 147 h 169"/>
                    <a:gd name="T80" fmla="*/ 165 w 254"/>
                    <a:gd name="T81" fmla="*/ 138 h 169"/>
                    <a:gd name="T82" fmla="*/ 156 w 254"/>
                    <a:gd name="T83" fmla="*/ 129 h 169"/>
                    <a:gd name="T84" fmla="*/ 138 w 254"/>
                    <a:gd name="T85" fmla="*/ 129 h 169"/>
                    <a:gd name="T86" fmla="*/ 138 w 254"/>
                    <a:gd name="T87" fmla="*/ 120 h 169"/>
                    <a:gd name="T88" fmla="*/ 116 w 254"/>
                    <a:gd name="T89" fmla="*/ 129 h 169"/>
                    <a:gd name="T90" fmla="*/ 111 w 254"/>
                    <a:gd name="T91" fmla="*/ 129 h 169"/>
                    <a:gd name="T92" fmla="*/ 111 w 254"/>
                    <a:gd name="T93" fmla="*/ 143 h 169"/>
                    <a:gd name="T94" fmla="*/ 102 w 254"/>
                    <a:gd name="T95" fmla="*/ 151 h 169"/>
                    <a:gd name="T96" fmla="*/ 89 w 254"/>
                    <a:gd name="T97" fmla="*/ 156 h 169"/>
                    <a:gd name="T98" fmla="*/ 80 w 254"/>
                    <a:gd name="T99" fmla="*/ 147 h 169"/>
                    <a:gd name="T100" fmla="*/ 93 w 254"/>
                    <a:gd name="T101" fmla="*/ 143 h 169"/>
                    <a:gd name="T102" fmla="*/ 93 w 254"/>
                    <a:gd name="T103" fmla="*/ 129 h 169"/>
                    <a:gd name="T104" fmla="*/ 98 w 254"/>
                    <a:gd name="T105" fmla="*/ 129 h 169"/>
                    <a:gd name="T106" fmla="*/ 107 w 254"/>
                    <a:gd name="T107" fmla="*/ 129 h 169"/>
                    <a:gd name="T108" fmla="*/ 102 w 254"/>
                    <a:gd name="T109" fmla="*/ 111 h 169"/>
                    <a:gd name="T110" fmla="*/ 89 w 254"/>
                    <a:gd name="T111" fmla="*/ 93 h 169"/>
                    <a:gd name="T112" fmla="*/ 80 w 254"/>
                    <a:gd name="T113" fmla="*/ 89 h 169"/>
                    <a:gd name="T114" fmla="*/ 76 w 254"/>
                    <a:gd name="T115" fmla="*/ 89 h 169"/>
                    <a:gd name="T116" fmla="*/ 40 w 254"/>
                    <a:gd name="T117" fmla="*/ 98 h 169"/>
                    <a:gd name="T118" fmla="*/ 9 w 254"/>
                    <a:gd name="T119" fmla="*/ 9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 h="169">
                      <a:moveTo>
                        <a:pt x="0" y="84"/>
                      </a:moveTo>
                      <a:lnTo>
                        <a:pt x="4" y="71"/>
                      </a:lnTo>
                      <a:lnTo>
                        <a:pt x="9" y="71"/>
                      </a:lnTo>
                      <a:lnTo>
                        <a:pt x="4" y="67"/>
                      </a:lnTo>
                      <a:lnTo>
                        <a:pt x="13" y="53"/>
                      </a:lnTo>
                      <a:lnTo>
                        <a:pt x="22" y="49"/>
                      </a:lnTo>
                      <a:lnTo>
                        <a:pt x="26" y="44"/>
                      </a:lnTo>
                      <a:lnTo>
                        <a:pt x="22" y="40"/>
                      </a:lnTo>
                      <a:lnTo>
                        <a:pt x="22" y="31"/>
                      </a:lnTo>
                      <a:lnTo>
                        <a:pt x="18" y="17"/>
                      </a:lnTo>
                      <a:lnTo>
                        <a:pt x="18" y="13"/>
                      </a:lnTo>
                      <a:lnTo>
                        <a:pt x="26" y="17"/>
                      </a:lnTo>
                      <a:lnTo>
                        <a:pt x="31" y="8"/>
                      </a:lnTo>
                      <a:lnTo>
                        <a:pt x="35" y="4"/>
                      </a:lnTo>
                      <a:lnTo>
                        <a:pt x="49" y="8"/>
                      </a:lnTo>
                      <a:lnTo>
                        <a:pt x="58" y="13"/>
                      </a:lnTo>
                      <a:lnTo>
                        <a:pt x="71" y="8"/>
                      </a:lnTo>
                      <a:lnTo>
                        <a:pt x="76" y="13"/>
                      </a:lnTo>
                      <a:lnTo>
                        <a:pt x="80" y="22"/>
                      </a:lnTo>
                      <a:lnTo>
                        <a:pt x="80" y="17"/>
                      </a:lnTo>
                      <a:lnTo>
                        <a:pt x="89" y="17"/>
                      </a:lnTo>
                      <a:lnTo>
                        <a:pt x="89" y="13"/>
                      </a:lnTo>
                      <a:lnTo>
                        <a:pt x="93" y="17"/>
                      </a:lnTo>
                      <a:lnTo>
                        <a:pt x="98" y="13"/>
                      </a:lnTo>
                      <a:lnTo>
                        <a:pt x="102" y="22"/>
                      </a:lnTo>
                      <a:lnTo>
                        <a:pt x="111" y="17"/>
                      </a:lnTo>
                      <a:lnTo>
                        <a:pt x="120" y="22"/>
                      </a:lnTo>
                      <a:lnTo>
                        <a:pt x="120" y="17"/>
                      </a:lnTo>
                      <a:lnTo>
                        <a:pt x="120" y="13"/>
                      </a:lnTo>
                      <a:lnTo>
                        <a:pt x="125" y="0"/>
                      </a:lnTo>
                      <a:lnTo>
                        <a:pt x="134" y="4"/>
                      </a:lnTo>
                      <a:lnTo>
                        <a:pt x="138" y="4"/>
                      </a:lnTo>
                      <a:lnTo>
                        <a:pt x="143" y="0"/>
                      </a:lnTo>
                      <a:lnTo>
                        <a:pt x="147" y="4"/>
                      </a:lnTo>
                      <a:lnTo>
                        <a:pt x="156" y="0"/>
                      </a:lnTo>
                      <a:lnTo>
                        <a:pt x="165" y="0"/>
                      </a:lnTo>
                      <a:lnTo>
                        <a:pt x="169" y="8"/>
                      </a:lnTo>
                      <a:lnTo>
                        <a:pt x="174" y="8"/>
                      </a:lnTo>
                      <a:lnTo>
                        <a:pt x="169" y="17"/>
                      </a:lnTo>
                      <a:lnTo>
                        <a:pt x="187" y="22"/>
                      </a:lnTo>
                      <a:lnTo>
                        <a:pt x="187" y="31"/>
                      </a:lnTo>
                      <a:lnTo>
                        <a:pt x="192" y="44"/>
                      </a:lnTo>
                      <a:lnTo>
                        <a:pt x="201" y="44"/>
                      </a:lnTo>
                      <a:lnTo>
                        <a:pt x="205" y="49"/>
                      </a:lnTo>
                      <a:lnTo>
                        <a:pt x="210" y="44"/>
                      </a:lnTo>
                      <a:lnTo>
                        <a:pt x="219" y="44"/>
                      </a:lnTo>
                      <a:lnTo>
                        <a:pt x="223" y="49"/>
                      </a:lnTo>
                      <a:lnTo>
                        <a:pt x="223" y="53"/>
                      </a:lnTo>
                      <a:lnTo>
                        <a:pt x="232" y="53"/>
                      </a:lnTo>
                      <a:lnTo>
                        <a:pt x="232" y="58"/>
                      </a:lnTo>
                      <a:lnTo>
                        <a:pt x="236" y="53"/>
                      </a:lnTo>
                      <a:lnTo>
                        <a:pt x="241" y="58"/>
                      </a:lnTo>
                      <a:lnTo>
                        <a:pt x="254" y="67"/>
                      </a:lnTo>
                      <a:lnTo>
                        <a:pt x="250" y="71"/>
                      </a:lnTo>
                      <a:lnTo>
                        <a:pt x="254" y="75"/>
                      </a:lnTo>
                      <a:lnTo>
                        <a:pt x="250" y="80"/>
                      </a:lnTo>
                      <a:lnTo>
                        <a:pt x="254" y="84"/>
                      </a:lnTo>
                      <a:lnTo>
                        <a:pt x="250" y="93"/>
                      </a:lnTo>
                      <a:lnTo>
                        <a:pt x="241" y="98"/>
                      </a:lnTo>
                      <a:lnTo>
                        <a:pt x="232" y="111"/>
                      </a:lnTo>
                      <a:lnTo>
                        <a:pt x="223" y="111"/>
                      </a:lnTo>
                      <a:lnTo>
                        <a:pt x="205" y="120"/>
                      </a:lnTo>
                      <a:lnTo>
                        <a:pt x="196" y="125"/>
                      </a:lnTo>
                      <a:lnTo>
                        <a:pt x="192" y="125"/>
                      </a:lnTo>
                      <a:lnTo>
                        <a:pt x="187" y="129"/>
                      </a:lnTo>
                      <a:lnTo>
                        <a:pt x="183" y="125"/>
                      </a:lnTo>
                      <a:lnTo>
                        <a:pt x="174" y="134"/>
                      </a:lnTo>
                      <a:lnTo>
                        <a:pt x="192" y="147"/>
                      </a:lnTo>
                      <a:lnTo>
                        <a:pt x="205" y="147"/>
                      </a:lnTo>
                      <a:lnTo>
                        <a:pt x="201" y="156"/>
                      </a:lnTo>
                      <a:lnTo>
                        <a:pt x="196" y="156"/>
                      </a:lnTo>
                      <a:lnTo>
                        <a:pt x="192" y="156"/>
                      </a:lnTo>
                      <a:lnTo>
                        <a:pt x="183" y="160"/>
                      </a:lnTo>
                      <a:lnTo>
                        <a:pt x="178" y="160"/>
                      </a:lnTo>
                      <a:lnTo>
                        <a:pt x="169" y="169"/>
                      </a:lnTo>
                      <a:lnTo>
                        <a:pt x="156" y="165"/>
                      </a:lnTo>
                      <a:lnTo>
                        <a:pt x="160" y="160"/>
                      </a:lnTo>
                      <a:lnTo>
                        <a:pt x="160" y="151"/>
                      </a:lnTo>
                      <a:lnTo>
                        <a:pt x="156" y="151"/>
                      </a:lnTo>
                      <a:lnTo>
                        <a:pt x="147" y="147"/>
                      </a:lnTo>
                      <a:lnTo>
                        <a:pt x="156" y="138"/>
                      </a:lnTo>
                      <a:lnTo>
                        <a:pt x="165" y="138"/>
                      </a:lnTo>
                      <a:lnTo>
                        <a:pt x="160" y="134"/>
                      </a:lnTo>
                      <a:lnTo>
                        <a:pt x="156" y="129"/>
                      </a:lnTo>
                      <a:lnTo>
                        <a:pt x="134" y="134"/>
                      </a:lnTo>
                      <a:lnTo>
                        <a:pt x="138" y="129"/>
                      </a:lnTo>
                      <a:lnTo>
                        <a:pt x="129" y="125"/>
                      </a:lnTo>
                      <a:lnTo>
                        <a:pt x="138" y="120"/>
                      </a:lnTo>
                      <a:lnTo>
                        <a:pt x="125" y="125"/>
                      </a:lnTo>
                      <a:lnTo>
                        <a:pt x="116" y="129"/>
                      </a:lnTo>
                      <a:lnTo>
                        <a:pt x="111" y="125"/>
                      </a:lnTo>
                      <a:lnTo>
                        <a:pt x="111" y="129"/>
                      </a:lnTo>
                      <a:lnTo>
                        <a:pt x="116" y="134"/>
                      </a:lnTo>
                      <a:lnTo>
                        <a:pt x="111" y="143"/>
                      </a:lnTo>
                      <a:lnTo>
                        <a:pt x="102" y="147"/>
                      </a:lnTo>
                      <a:lnTo>
                        <a:pt x="102" y="151"/>
                      </a:lnTo>
                      <a:lnTo>
                        <a:pt x="98" y="151"/>
                      </a:lnTo>
                      <a:lnTo>
                        <a:pt x="89" y="156"/>
                      </a:lnTo>
                      <a:lnTo>
                        <a:pt x="85" y="151"/>
                      </a:lnTo>
                      <a:lnTo>
                        <a:pt x="80" y="147"/>
                      </a:lnTo>
                      <a:lnTo>
                        <a:pt x="89" y="147"/>
                      </a:lnTo>
                      <a:lnTo>
                        <a:pt x="93" y="143"/>
                      </a:lnTo>
                      <a:lnTo>
                        <a:pt x="93" y="138"/>
                      </a:lnTo>
                      <a:lnTo>
                        <a:pt x="93" y="129"/>
                      </a:lnTo>
                      <a:lnTo>
                        <a:pt x="98" y="134"/>
                      </a:lnTo>
                      <a:lnTo>
                        <a:pt x="98" y="129"/>
                      </a:lnTo>
                      <a:lnTo>
                        <a:pt x="102" y="129"/>
                      </a:lnTo>
                      <a:lnTo>
                        <a:pt x="107" y="129"/>
                      </a:lnTo>
                      <a:lnTo>
                        <a:pt x="107" y="120"/>
                      </a:lnTo>
                      <a:lnTo>
                        <a:pt x="102" y="111"/>
                      </a:lnTo>
                      <a:lnTo>
                        <a:pt x="102" y="102"/>
                      </a:lnTo>
                      <a:lnTo>
                        <a:pt x="89" y="93"/>
                      </a:lnTo>
                      <a:lnTo>
                        <a:pt x="85" y="93"/>
                      </a:lnTo>
                      <a:lnTo>
                        <a:pt x="80" y="89"/>
                      </a:lnTo>
                      <a:lnTo>
                        <a:pt x="76" y="93"/>
                      </a:lnTo>
                      <a:lnTo>
                        <a:pt x="76" y="89"/>
                      </a:lnTo>
                      <a:lnTo>
                        <a:pt x="62" y="89"/>
                      </a:lnTo>
                      <a:lnTo>
                        <a:pt x="40" y="98"/>
                      </a:lnTo>
                      <a:lnTo>
                        <a:pt x="13" y="93"/>
                      </a:lnTo>
                      <a:lnTo>
                        <a:pt x="9" y="98"/>
                      </a:lnTo>
                      <a:lnTo>
                        <a:pt x="0" y="84"/>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399" name="Freeform 204"/>
                <p:cNvSpPr>
                  <a:spLocks/>
                </p:cNvSpPr>
                <p:nvPr/>
              </p:nvSpPr>
              <p:spPr bwMode="gray">
                <a:xfrm>
                  <a:off x="3022" y="2096"/>
                  <a:ext cx="36" cy="35"/>
                </a:xfrm>
                <a:custGeom>
                  <a:avLst/>
                  <a:gdLst>
                    <a:gd name="T0" fmla="*/ 9 w 36"/>
                    <a:gd name="T1" fmla="*/ 35 h 35"/>
                    <a:gd name="T2" fmla="*/ 0 w 36"/>
                    <a:gd name="T3" fmla="*/ 31 h 35"/>
                    <a:gd name="T4" fmla="*/ 0 w 36"/>
                    <a:gd name="T5" fmla="*/ 8 h 35"/>
                    <a:gd name="T6" fmla="*/ 9 w 36"/>
                    <a:gd name="T7" fmla="*/ 4 h 35"/>
                    <a:gd name="T8" fmla="*/ 9 w 36"/>
                    <a:gd name="T9" fmla="*/ 4 h 35"/>
                    <a:gd name="T10" fmla="*/ 23 w 36"/>
                    <a:gd name="T11" fmla="*/ 0 h 35"/>
                    <a:gd name="T12" fmla="*/ 27 w 36"/>
                    <a:gd name="T13" fmla="*/ 4 h 35"/>
                    <a:gd name="T14" fmla="*/ 36 w 36"/>
                    <a:gd name="T15" fmla="*/ 8 h 35"/>
                    <a:gd name="T16" fmla="*/ 36 w 36"/>
                    <a:gd name="T17" fmla="*/ 22 h 35"/>
                    <a:gd name="T18" fmla="*/ 27 w 36"/>
                    <a:gd name="T19" fmla="*/ 26 h 35"/>
                    <a:gd name="T20" fmla="*/ 23 w 36"/>
                    <a:gd name="T21" fmla="*/ 26 h 35"/>
                    <a:gd name="T22" fmla="*/ 18 w 36"/>
                    <a:gd name="T23" fmla="*/ 31 h 35"/>
                    <a:gd name="T24" fmla="*/ 9 w 36"/>
                    <a:gd name="T2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35">
                      <a:moveTo>
                        <a:pt x="9" y="35"/>
                      </a:moveTo>
                      <a:lnTo>
                        <a:pt x="0" y="31"/>
                      </a:lnTo>
                      <a:lnTo>
                        <a:pt x="0" y="8"/>
                      </a:lnTo>
                      <a:lnTo>
                        <a:pt x="9" y="4"/>
                      </a:lnTo>
                      <a:lnTo>
                        <a:pt x="9" y="4"/>
                      </a:lnTo>
                      <a:lnTo>
                        <a:pt x="23" y="0"/>
                      </a:lnTo>
                      <a:lnTo>
                        <a:pt x="27" y="4"/>
                      </a:lnTo>
                      <a:lnTo>
                        <a:pt x="36" y="8"/>
                      </a:lnTo>
                      <a:lnTo>
                        <a:pt x="36" y="22"/>
                      </a:lnTo>
                      <a:lnTo>
                        <a:pt x="27" y="26"/>
                      </a:lnTo>
                      <a:lnTo>
                        <a:pt x="23" y="26"/>
                      </a:lnTo>
                      <a:lnTo>
                        <a:pt x="18" y="31"/>
                      </a:lnTo>
                      <a:lnTo>
                        <a:pt x="9" y="35"/>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00" name="Freeform 205"/>
                <p:cNvSpPr>
                  <a:spLocks noEditPoints="1"/>
                </p:cNvSpPr>
                <p:nvPr/>
              </p:nvSpPr>
              <p:spPr bwMode="gray">
                <a:xfrm>
                  <a:off x="2607" y="1667"/>
                  <a:ext cx="147" cy="272"/>
                </a:xfrm>
                <a:custGeom>
                  <a:avLst/>
                  <a:gdLst>
                    <a:gd name="T0" fmla="*/ 22 w 147"/>
                    <a:gd name="T1" fmla="*/ 71 h 272"/>
                    <a:gd name="T2" fmla="*/ 31 w 147"/>
                    <a:gd name="T3" fmla="*/ 53 h 272"/>
                    <a:gd name="T4" fmla="*/ 18 w 147"/>
                    <a:gd name="T5" fmla="*/ 80 h 272"/>
                    <a:gd name="T6" fmla="*/ 13 w 147"/>
                    <a:gd name="T7" fmla="*/ 165 h 272"/>
                    <a:gd name="T8" fmla="*/ 4 w 147"/>
                    <a:gd name="T9" fmla="*/ 156 h 272"/>
                    <a:gd name="T10" fmla="*/ 22 w 147"/>
                    <a:gd name="T11" fmla="*/ 143 h 272"/>
                    <a:gd name="T12" fmla="*/ 36 w 147"/>
                    <a:gd name="T13" fmla="*/ 156 h 272"/>
                    <a:gd name="T14" fmla="*/ 36 w 147"/>
                    <a:gd name="T15" fmla="*/ 89 h 272"/>
                    <a:gd name="T16" fmla="*/ 27 w 147"/>
                    <a:gd name="T17" fmla="*/ 80 h 272"/>
                    <a:gd name="T18" fmla="*/ 31 w 147"/>
                    <a:gd name="T19" fmla="*/ 93 h 272"/>
                    <a:gd name="T20" fmla="*/ 76 w 147"/>
                    <a:gd name="T21" fmla="*/ 49 h 272"/>
                    <a:gd name="T22" fmla="*/ 45 w 147"/>
                    <a:gd name="T23" fmla="*/ 62 h 272"/>
                    <a:gd name="T24" fmla="*/ 36 w 147"/>
                    <a:gd name="T25" fmla="*/ 98 h 272"/>
                    <a:gd name="T26" fmla="*/ 27 w 147"/>
                    <a:gd name="T27" fmla="*/ 107 h 272"/>
                    <a:gd name="T28" fmla="*/ 36 w 147"/>
                    <a:gd name="T29" fmla="*/ 111 h 272"/>
                    <a:gd name="T30" fmla="*/ 36 w 147"/>
                    <a:gd name="T31" fmla="*/ 120 h 272"/>
                    <a:gd name="T32" fmla="*/ 40 w 147"/>
                    <a:gd name="T33" fmla="*/ 138 h 272"/>
                    <a:gd name="T34" fmla="*/ 45 w 147"/>
                    <a:gd name="T35" fmla="*/ 125 h 272"/>
                    <a:gd name="T36" fmla="*/ 54 w 147"/>
                    <a:gd name="T37" fmla="*/ 143 h 272"/>
                    <a:gd name="T38" fmla="*/ 58 w 147"/>
                    <a:gd name="T39" fmla="*/ 156 h 272"/>
                    <a:gd name="T40" fmla="*/ 71 w 147"/>
                    <a:gd name="T41" fmla="*/ 151 h 272"/>
                    <a:gd name="T42" fmla="*/ 76 w 147"/>
                    <a:gd name="T43" fmla="*/ 174 h 272"/>
                    <a:gd name="T44" fmla="*/ 76 w 147"/>
                    <a:gd name="T45" fmla="*/ 183 h 272"/>
                    <a:gd name="T46" fmla="*/ 54 w 147"/>
                    <a:gd name="T47" fmla="*/ 187 h 272"/>
                    <a:gd name="T48" fmla="*/ 67 w 147"/>
                    <a:gd name="T49" fmla="*/ 196 h 272"/>
                    <a:gd name="T50" fmla="*/ 45 w 147"/>
                    <a:gd name="T51" fmla="*/ 223 h 272"/>
                    <a:gd name="T52" fmla="*/ 67 w 147"/>
                    <a:gd name="T53" fmla="*/ 232 h 272"/>
                    <a:gd name="T54" fmla="*/ 76 w 147"/>
                    <a:gd name="T55" fmla="*/ 236 h 272"/>
                    <a:gd name="T56" fmla="*/ 49 w 147"/>
                    <a:gd name="T57" fmla="*/ 254 h 272"/>
                    <a:gd name="T58" fmla="*/ 40 w 147"/>
                    <a:gd name="T59" fmla="*/ 268 h 272"/>
                    <a:gd name="T60" fmla="*/ 58 w 147"/>
                    <a:gd name="T61" fmla="*/ 259 h 272"/>
                    <a:gd name="T62" fmla="*/ 89 w 147"/>
                    <a:gd name="T63" fmla="*/ 254 h 272"/>
                    <a:gd name="T64" fmla="*/ 98 w 147"/>
                    <a:gd name="T65" fmla="*/ 254 h 272"/>
                    <a:gd name="T66" fmla="*/ 121 w 147"/>
                    <a:gd name="T67" fmla="*/ 250 h 272"/>
                    <a:gd name="T68" fmla="*/ 143 w 147"/>
                    <a:gd name="T69" fmla="*/ 232 h 272"/>
                    <a:gd name="T70" fmla="*/ 143 w 147"/>
                    <a:gd name="T71" fmla="*/ 223 h 272"/>
                    <a:gd name="T72" fmla="*/ 129 w 147"/>
                    <a:gd name="T73" fmla="*/ 201 h 272"/>
                    <a:gd name="T74" fmla="*/ 121 w 147"/>
                    <a:gd name="T75" fmla="*/ 183 h 272"/>
                    <a:gd name="T76" fmla="*/ 103 w 147"/>
                    <a:gd name="T77" fmla="*/ 151 h 272"/>
                    <a:gd name="T78" fmla="*/ 85 w 147"/>
                    <a:gd name="T79" fmla="*/ 125 h 272"/>
                    <a:gd name="T80" fmla="*/ 89 w 147"/>
                    <a:gd name="T81" fmla="*/ 111 h 272"/>
                    <a:gd name="T82" fmla="*/ 98 w 147"/>
                    <a:gd name="T83" fmla="*/ 80 h 272"/>
                    <a:gd name="T84" fmla="*/ 62 w 147"/>
                    <a:gd name="T85" fmla="*/ 80 h 272"/>
                    <a:gd name="T86" fmla="*/ 67 w 147"/>
                    <a:gd name="T87" fmla="*/ 71 h 272"/>
                    <a:gd name="T88" fmla="*/ 76 w 147"/>
                    <a:gd name="T89" fmla="*/ 44 h 272"/>
                    <a:gd name="T90" fmla="*/ 76 w 147"/>
                    <a:gd name="T91" fmla="*/ 40 h 272"/>
                    <a:gd name="T92" fmla="*/ 107 w 147"/>
                    <a:gd name="T93" fmla="*/ 13 h 272"/>
                    <a:gd name="T94" fmla="*/ 103 w 147"/>
                    <a:gd name="T95" fmla="*/ 17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272">
                      <a:moveTo>
                        <a:pt x="13" y="98"/>
                      </a:moveTo>
                      <a:lnTo>
                        <a:pt x="18" y="93"/>
                      </a:lnTo>
                      <a:lnTo>
                        <a:pt x="22" y="76"/>
                      </a:lnTo>
                      <a:lnTo>
                        <a:pt x="22" y="71"/>
                      </a:lnTo>
                      <a:lnTo>
                        <a:pt x="27" y="67"/>
                      </a:lnTo>
                      <a:lnTo>
                        <a:pt x="27" y="67"/>
                      </a:lnTo>
                      <a:lnTo>
                        <a:pt x="31" y="58"/>
                      </a:lnTo>
                      <a:lnTo>
                        <a:pt x="31" y="53"/>
                      </a:lnTo>
                      <a:lnTo>
                        <a:pt x="22" y="58"/>
                      </a:lnTo>
                      <a:lnTo>
                        <a:pt x="18" y="76"/>
                      </a:lnTo>
                      <a:lnTo>
                        <a:pt x="13" y="76"/>
                      </a:lnTo>
                      <a:lnTo>
                        <a:pt x="18" y="80"/>
                      </a:lnTo>
                      <a:lnTo>
                        <a:pt x="13" y="98"/>
                      </a:lnTo>
                      <a:close/>
                      <a:moveTo>
                        <a:pt x="27" y="169"/>
                      </a:moveTo>
                      <a:lnTo>
                        <a:pt x="22" y="169"/>
                      </a:lnTo>
                      <a:lnTo>
                        <a:pt x="13" y="165"/>
                      </a:lnTo>
                      <a:lnTo>
                        <a:pt x="13" y="174"/>
                      </a:lnTo>
                      <a:lnTo>
                        <a:pt x="0" y="169"/>
                      </a:lnTo>
                      <a:lnTo>
                        <a:pt x="0" y="165"/>
                      </a:lnTo>
                      <a:lnTo>
                        <a:pt x="4" y="156"/>
                      </a:lnTo>
                      <a:lnTo>
                        <a:pt x="9" y="156"/>
                      </a:lnTo>
                      <a:lnTo>
                        <a:pt x="13" y="151"/>
                      </a:lnTo>
                      <a:lnTo>
                        <a:pt x="18" y="143"/>
                      </a:lnTo>
                      <a:lnTo>
                        <a:pt x="22" y="143"/>
                      </a:lnTo>
                      <a:lnTo>
                        <a:pt x="31" y="143"/>
                      </a:lnTo>
                      <a:lnTo>
                        <a:pt x="36" y="151"/>
                      </a:lnTo>
                      <a:lnTo>
                        <a:pt x="31" y="156"/>
                      </a:lnTo>
                      <a:lnTo>
                        <a:pt x="36" y="156"/>
                      </a:lnTo>
                      <a:lnTo>
                        <a:pt x="40" y="160"/>
                      </a:lnTo>
                      <a:lnTo>
                        <a:pt x="36" y="165"/>
                      </a:lnTo>
                      <a:lnTo>
                        <a:pt x="27" y="169"/>
                      </a:lnTo>
                      <a:close/>
                      <a:moveTo>
                        <a:pt x="36" y="89"/>
                      </a:moveTo>
                      <a:lnTo>
                        <a:pt x="31" y="84"/>
                      </a:lnTo>
                      <a:lnTo>
                        <a:pt x="31" y="80"/>
                      </a:lnTo>
                      <a:lnTo>
                        <a:pt x="27" y="76"/>
                      </a:lnTo>
                      <a:lnTo>
                        <a:pt x="27" y="80"/>
                      </a:lnTo>
                      <a:lnTo>
                        <a:pt x="22" y="89"/>
                      </a:lnTo>
                      <a:lnTo>
                        <a:pt x="27" y="89"/>
                      </a:lnTo>
                      <a:lnTo>
                        <a:pt x="27" y="93"/>
                      </a:lnTo>
                      <a:lnTo>
                        <a:pt x="31" y="93"/>
                      </a:lnTo>
                      <a:lnTo>
                        <a:pt x="36" y="89"/>
                      </a:lnTo>
                      <a:close/>
                      <a:moveTo>
                        <a:pt x="62" y="71"/>
                      </a:moveTo>
                      <a:lnTo>
                        <a:pt x="76" y="58"/>
                      </a:lnTo>
                      <a:lnTo>
                        <a:pt x="76" y="49"/>
                      </a:lnTo>
                      <a:lnTo>
                        <a:pt x="58" y="53"/>
                      </a:lnTo>
                      <a:lnTo>
                        <a:pt x="49" y="49"/>
                      </a:lnTo>
                      <a:lnTo>
                        <a:pt x="45" y="62"/>
                      </a:lnTo>
                      <a:lnTo>
                        <a:pt x="45" y="62"/>
                      </a:lnTo>
                      <a:lnTo>
                        <a:pt x="40" y="67"/>
                      </a:lnTo>
                      <a:lnTo>
                        <a:pt x="36" y="71"/>
                      </a:lnTo>
                      <a:lnTo>
                        <a:pt x="36" y="84"/>
                      </a:lnTo>
                      <a:lnTo>
                        <a:pt x="36" y="98"/>
                      </a:lnTo>
                      <a:lnTo>
                        <a:pt x="36" y="102"/>
                      </a:lnTo>
                      <a:lnTo>
                        <a:pt x="36" y="107"/>
                      </a:lnTo>
                      <a:lnTo>
                        <a:pt x="31" y="107"/>
                      </a:lnTo>
                      <a:lnTo>
                        <a:pt x="27" y="107"/>
                      </a:lnTo>
                      <a:lnTo>
                        <a:pt x="31" y="111"/>
                      </a:lnTo>
                      <a:lnTo>
                        <a:pt x="27" y="111"/>
                      </a:lnTo>
                      <a:lnTo>
                        <a:pt x="27" y="116"/>
                      </a:lnTo>
                      <a:lnTo>
                        <a:pt x="36" y="111"/>
                      </a:lnTo>
                      <a:lnTo>
                        <a:pt x="45" y="102"/>
                      </a:lnTo>
                      <a:lnTo>
                        <a:pt x="49" y="102"/>
                      </a:lnTo>
                      <a:lnTo>
                        <a:pt x="36" y="120"/>
                      </a:lnTo>
                      <a:lnTo>
                        <a:pt x="36" y="120"/>
                      </a:lnTo>
                      <a:lnTo>
                        <a:pt x="31" y="125"/>
                      </a:lnTo>
                      <a:lnTo>
                        <a:pt x="36" y="125"/>
                      </a:lnTo>
                      <a:lnTo>
                        <a:pt x="40" y="134"/>
                      </a:lnTo>
                      <a:lnTo>
                        <a:pt x="40" y="138"/>
                      </a:lnTo>
                      <a:lnTo>
                        <a:pt x="45" y="138"/>
                      </a:lnTo>
                      <a:lnTo>
                        <a:pt x="45" y="134"/>
                      </a:lnTo>
                      <a:lnTo>
                        <a:pt x="49" y="134"/>
                      </a:lnTo>
                      <a:lnTo>
                        <a:pt x="45" y="125"/>
                      </a:lnTo>
                      <a:lnTo>
                        <a:pt x="49" y="125"/>
                      </a:lnTo>
                      <a:lnTo>
                        <a:pt x="49" y="134"/>
                      </a:lnTo>
                      <a:lnTo>
                        <a:pt x="54" y="134"/>
                      </a:lnTo>
                      <a:lnTo>
                        <a:pt x="54" y="143"/>
                      </a:lnTo>
                      <a:lnTo>
                        <a:pt x="49" y="151"/>
                      </a:lnTo>
                      <a:lnTo>
                        <a:pt x="54" y="160"/>
                      </a:lnTo>
                      <a:lnTo>
                        <a:pt x="54" y="156"/>
                      </a:lnTo>
                      <a:lnTo>
                        <a:pt x="58" y="156"/>
                      </a:lnTo>
                      <a:lnTo>
                        <a:pt x="62" y="156"/>
                      </a:lnTo>
                      <a:lnTo>
                        <a:pt x="58" y="151"/>
                      </a:lnTo>
                      <a:lnTo>
                        <a:pt x="67" y="156"/>
                      </a:lnTo>
                      <a:lnTo>
                        <a:pt x="71" y="151"/>
                      </a:lnTo>
                      <a:lnTo>
                        <a:pt x="80" y="151"/>
                      </a:lnTo>
                      <a:lnTo>
                        <a:pt x="76" y="156"/>
                      </a:lnTo>
                      <a:lnTo>
                        <a:pt x="71" y="160"/>
                      </a:lnTo>
                      <a:lnTo>
                        <a:pt x="76" y="174"/>
                      </a:lnTo>
                      <a:lnTo>
                        <a:pt x="80" y="169"/>
                      </a:lnTo>
                      <a:lnTo>
                        <a:pt x="85" y="169"/>
                      </a:lnTo>
                      <a:lnTo>
                        <a:pt x="76" y="174"/>
                      </a:lnTo>
                      <a:lnTo>
                        <a:pt x="76" y="183"/>
                      </a:lnTo>
                      <a:lnTo>
                        <a:pt x="80" y="187"/>
                      </a:lnTo>
                      <a:lnTo>
                        <a:pt x="62" y="187"/>
                      </a:lnTo>
                      <a:lnTo>
                        <a:pt x="58" y="187"/>
                      </a:lnTo>
                      <a:lnTo>
                        <a:pt x="54" y="187"/>
                      </a:lnTo>
                      <a:lnTo>
                        <a:pt x="58" y="192"/>
                      </a:lnTo>
                      <a:lnTo>
                        <a:pt x="54" y="201"/>
                      </a:lnTo>
                      <a:lnTo>
                        <a:pt x="62" y="196"/>
                      </a:lnTo>
                      <a:lnTo>
                        <a:pt x="67" y="196"/>
                      </a:lnTo>
                      <a:lnTo>
                        <a:pt x="67" y="205"/>
                      </a:lnTo>
                      <a:lnTo>
                        <a:pt x="67" y="210"/>
                      </a:lnTo>
                      <a:lnTo>
                        <a:pt x="62" y="219"/>
                      </a:lnTo>
                      <a:lnTo>
                        <a:pt x="45" y="223"/>
                      </a:lnTo>
                      <a:lnTo>
                        <a:pt x="49" y="232"/>
                      </a:lnTo>
                      <a:lnTo>
                        <a:pt x="58" y="223"/>
                      </a:lnTo>
                      <a:lnTo>
                        <a:pt x="62" y="232"/>
                      </a:lnTo>
                      <a:lnTo>
                        <a:pt x="67" y="232"/>
                      </a:lnTo>
                      <a:lnTo>
                        <a:pt x="71" y="232"/>
                      </a:lnTo>
                      <a:lnTo>
                        <a:pt x="76" y="227"/>
                      </a:lnTo>
                      <a:lnTo>
                        <a:pt x="80" y="227"/>
                      </a:lnTo>
                      <a:lnTo>
                        <a:pt x="76" y="236"/>
                      </a:lnTo>
                      <a:lnTo>
                        <a:pt x="62" y="241"/>
                      </a:lnTo>
                      <a:lnTo>
                        <a:pt x="58" y="245"/>
                      </a:lnTo>
                      <a:lnTo>
                        <a:pt x="54" y="250"/>
                      </a:lnTo>
                      <a:lnTo>
                        <a:pt x="49" y="254"/>
                      </a:lnTo>
                      <a:lnTo>
                        <a:pt x="45" y="259"/>
                      </a:lnTo>
                      <a:lnTo>
                        <a:pt x="40" y="263"/>
                      </a:lnTo>
                      <a:lnTo>
                        <a:pt x="36" y="268"/>
                      </a:lnTo>
                      <a:lnTo>
                        <a:pt x="40" y="268"/>
                      </a:lnTo>
                      <a:lnTo>
                        <a:pt x="45" y="268"/>
                      </a:lnTo>
                      <a:lnTo>
                        <a:pt x="45" y="272"/>
                      </a:lnTo>
                      <a:lnTo>
                        <a:pt x="49" y="263"/>
                      </a:lnTo>
                      <a:lnTo>
                        <a:pt x="58" y="259"/>
                      </a:lnTo>
                      <a:lnTo>
                        <a:pt x="71" y="263"/>
                      </a:lnTo>
                      <a:lnTo>
                        <a:pt x="71" y="254"/>
                      </a:lnTo>
                      <a:lnTo>
                        <a:pt x="85" y="250"/>
                      </a:lnTo>
                      <a:lnTo>
                        <a:pt x="89" y="254"/>
                      </a:lnTo>
                      <a:lnTo>
                        <a:pt x="89" y="259"/>
                      </a:lnTo>
                      <a:lnTo>
                        <a:pt x="94" y="254"/>
                      </a:lnTo>
                      <a:lnTo>
                        <a:pt x="98" y="254"/>
                      </a:lnTo>
                      <a:lnTo>
                        <a:pt x="98" y="254"/>
                      </a:lnTo>
                      <a:lnTo>
                        <a:pt x="103" y="254"/>
                      </a:lnTo>
                      <a:lnTo>
                        <a:pt x="103" y="250"/>
                      </a:lnTo>
                      <a:lnTo>
                        <a:pt x="112" y="254"/>
                      </a:lnTo>
                      <a:lnTo>
                        <a:pt x="121" y="250"/>
                      </a:lnTo>
                      <a:lnTo>
                        <a:pt x="125" y="250"/>
                      </a:lnTo>
                      <a:lnTo>
                        <a:pt x="138" y="250"/>
                      </a:lnTo>
                      <a:lnTo>
                        <a:pt x="143" y="241"/>
                      </a:lnTo>
                      <a:lnTo>
                        <a:pt x="143" y="232"/>
                      </a:lnTo>
                      <a:lnTo>
                        <a:pt x="134" y="232"/>
                      </a:lnTo>
                      <a:lnTo>
                        <a:pt x="129" y="232"/>
                      </a:lnTo>
                      <a:lnTo>
                        <a:pt x="138" y="223"/>
                      </a:lnTo>
                      <a:lnTo>
                        <a:pt x="143" y="223"/>
                      </a:lnTo>
                      <a:lnTo>
                        <a:pt x="147" y="214"/>
                      </a:lnTo>
                      <a:lnTo>
                        <a:pt x="147" y="205"/>
                      </a:lnTo>
                      <a:lnTo>
                        <a:pt x="143" y="201"/>
                      </a:lnTo>
                      <a:lnTo>
                        <a:pt x="129" y="201"/>
                      </a:lnTo>
                      <a:lnTo>
                        <a:pt x="125" y="205"/>
                      </a:lnTo>
                      <a:lnTo>
                        <a:pt x="121" y="201"/>
                      </a:lnTo>
                      <a:lnTo>
                        <a:pt x="125" y="192"/>
                      </a:lnTo>
                      <a:lnTo>
                        <a:pt x="121" y="183"/>
                      </a:lnTo>
                      <a:lnTo>
                        <a:pt x="121" y="178"/>
                      </a:lnTo>
                      <a:lnTo>
                        <a:pt x="112" y="160"/>
                      </a:lnTo>
                      <a:lnTo>
                        <a:pt x="107" y="160"/>
                      </a:lnTo>
                      <a:lnTo>
                        <a:pt x="103" y="151"/>
                      </a:lnTo>
                      <a:lnTo>
                        <a:pt x="103" y="147"/>
                      </a:lnTo>
                      <a:lnTo>
                        <a:pt x="98" y="134"/>
                      </a:lnTo>
                      <a:lnTo>
                        <a:pt x="94" y="129"/>
                      </a:lnTo>
                      <a:lnTo>
                        <a:pt x="85" y="125"/>
                      </a:lnTo>
                      <a:lnTo>
                        <a:pt x="76" y="125"/>
                      </a:lnTo>
                      <a:lnTo>
                        <a:pt x="80" y="116"/>
                      </a:lnTo>
                      <a:lnTo>
                        <a:pt x="85" y="120"/>
                      </a:lnTo>
                      <a:lnTo>
                        <a:pt x="89" y="111"/>
                      </a:lnTo>
                      <a:lnTo>
                        <a:pt x="85" y="116"/>
                      </a:lnTo>
                      <a:lnTo>
                        <a:pt x="85" y="107"/>
                      </a:lnTo>
                      <a:lnTo>
                        <a:pt x="85" y="98"/>
                      </a:lnTo>
                      <a:lnTo>
                        <a:pt x="98" y="80"/>
                      </a:lnTo>
                      <a:lnTo>
                        <a:pt x="98" y="76"/>
                      </a:lnTo>
                      <a:lnTo>
                        <a:pt x="89" y="80"/>
                      </a:lnTo>
                      <a:lnTo>
                        <a:pt x="71" y="76"/>
                      </a:lnTo>
                      <a:lnTo>
                        <a:pt x="62" y="80"/>
                      </a:lnTo>
                      <a:lnTo>
                        <a:pt x="58" y="84"/>
                      </a:lnTo>
                      <a:lnTo>
                        <a:pt x="58" y="84"/>
                      </a:lnTo>
                      <a:lnTo>
                        <a:pt x="62" y="76"/>
                      </a:lnTo>
                      <a:lnTo>
                        <a:pt x="67" y="71"/>
                      </a:lnTo>
                      <a:lnTo>
                        <a:pt x="62" y="71"/>
                      </a:lnTo>
                      <a:close/>
                      <a:moveTo>
                        <a:pt x="71" y="35"/>
                      </a:moveTo>
                      <a:lnTo>
                        <a:pt x="71" y="44"/>
                      </a:lnTo>
                      <a:lnTo>
                        <a:pt x="76" y="44"/>
                      </a:lnTo>
                      <a:lnTo>
                        <a:pt x="76" y="40"/>
                      </a:lnTo>
                      <a:lnTo>
                        <a:pt x="80" y="44"/>
                      </a:lnTo>
                      <a:lnTo>
                        <a:pt x="80" y="40"/>
                      </a:lnTo>
                      <a:lnTo>
                        <a:pt x="76" y="40"/>
                      </a:lnTo>
                      <a:lnTo>
                        <a:pt x="80" y="31"/>
                      </a:lnTo>
                      <a:lnTo>
                        <a:pt x="71" y="35"/>
                      </a:lnTo>
                      <a:close/>
                      <a:moveTo>
                        <a:pt x="103" y="17"/>
                      </a:moveTo>
                      <a:lnTo>
                        <a:pt x="107" y="13"/>
                      </a:lnTo>
                      <a:lnTo>
                        <a:pt x="103" y="0"/>
                      </a:lnTo>
                      <a:lnTo>
                        <a:pt x="98" y="8"/>
                      </a:lnTo>
                      <a:lnTo>
                        <a:pt x="103" y="8"/>
                      </a:lnTo>
                      <a:lnTo>
                        <a:pt x="103" y="17"/>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01" name="Freeform 206"/>
                <p:cNvSpPr>
                  <a:spLocks/>
                </p:cNvSpPr>
                <p:nvPr/>
              </p:nvSpPr>
              <p:spPr bwMode="gray">
                <a:xfrm>
                  <a:off x="2991" y="2020"/>
                  <a:ext cx="67" cy="84"/>
                </a:xfrm>
                <a:custGeom>
                  <a:avLst/>
                  <a:gdLst>
                    <a:gd name="T0" fmla="*/ 0 w 67"/>
                    <a:gd name="T1" fmla="*/ 67 h 84"/>
                    <a:gd name="T2" fmla="*/ 0 w 67"/>
                    <a:gd name="T3" fmla="*/ 67 h 84"/>
                    <a:gd name="T4" fmla="*/ 0 w 67"/>
                    <a:gd name="T5" fmla="*/ 67 h 84"/>
                    <a:gd name="T6" fmla="*/ 0 w 67"/>
                    <a:gd name="T7" fmla="*/ 62 h 84"/>
                    <a:gd name="T8" fmla="*/ 0 w 67"/>
                    <a:gd name="T9" fmla="*/ 62 h 84"/>
                    <a:gd name="T10" fmla="*/ 0 w 67"/>
                    <a:gd name="T11" fmla="*/ 58 h 84"/>
                    <a:gd name="T12" fmla="*/ 5 w 67"/>
                    <a:gd name="T13" fmla="*/ 53 h 84"/>
                    <a:gd name="T14" fmla="*/ 5 w 67"/>
                    <a:gd name="T15" fmla="*/ 53 h 84"/>
                    <a:gd name="T16" fmla="*/ 5 w 67"/>
                    <a:gd name="T17" fmla="*/ 53 h 84"/>
                    <a:gd name="T18" fmla="*/ 5 w 67"/>
                    <a:gd name="T19" fmla="*/ 49 h 84"/>
                    <a:gd name="T20" fmla="*/ 9 w 67"/>
                    <a:gd name="T21" fmla="*/ 49 h 84"/>
                    <a:gd name="T22" fmla="*/ 13 w 67"/>
                    <a:gd name="T23" fmla="*/ 44 h 84"/>
                    <a:gd name="T24" fmla="*/ 9 w 67"/>
                    <a:gd name="T25" fmla="*/ 40 h 84"/>
                    <a:gd name="T26" fmla="*/ 13 w 67"/>
                    <a:gd name="T27" fmla="*/ 40 h 84"/>
                    <a:gd name="T28" fmla="*/ 13 w 67"/>
                    <a:gd name="T29" fmla="*/ 40 h 84"/>
                    <a:gd name="T30" fmla="*/ 5 w 67"/>
                    <a:gd name="T31" fmla="*/ 35 h 84"/>
                    <a:gd name="T32" fmla="*/ 5 w 67"/>
                    <a:gd name="T33" fmla="*/ 31 h 84"/>
                    <a:gd name="T34" fmla="*/ 9 w 67"/>
                    <a:gd name="T35" fmla="*/ 26 h 84"/>
                    <a:gd name="T36" fmla="*/ 9 w 67"/>
                    <a:gd name="T37" fmla="*/ 22 h 84"/>
                    <a:gd name="T38" fmla="*/ 5 w 67"/>
                    <a:gd name="T39" fmla="*/ 22 h 84"/>
                    <a:gd name="T40" fmla="*/ 5 w 67"/>
                    <a:gd name="T41" fmla="*/ 17 h 84"/>
                    <a:gd name="T42" fmla="*/ 9 w 67"/>
                    <a:gd name="T43" fmla="*/ 17 h 84"/>
                    <a:gd name="T44" fmla="*/ 9 w 67"/>
                    <a:gd name="T45" fmla="*/ 13 h 84"/>
                    <a:gd name="T46" fmla="*/ 5 w 67"/>
                    <a:gd name="T47" fmla="*/ 13 h 84"/>
                    <a:gd name="T48" fmla="*/ 5 w 67"/>
                    <a:gd name="T49" fmla="*/ 13 h 84"/>
                    <a:gd name="T50" fmla="*/ 5 w 67"/>
                    <a:gd name="T51" fmla="*/ 9 h 84"/>
                    <a:gd name="T52" fmla="*/ 5 w 67"/>
                    <a:gd name="T53" fmla="*/ 9 h 84"/>
                    <a:gd name="T54" fmla="*/ 5 w 67"/>
                    <a:gd name="T55" fmla="*/ 4 h 84"/>
                    <a:gd name="T56" fmla="*/ 0 w 67"/>
                    <a:gd name="T57" fmla="*/ 4 h 84"/>
                    <a:gd name="T58" fmla="*/ 13 w 67"/>
                    <a:gd name="T59" fmla="*/ 0 h 84"/>
                    <a:gd name="T60" fmla="*/ 27 w 67"/>
                    <a:gd name="T61" fmla="*/ 0 h 84"/>
                    <a:gd name="T62" fmla="*/ 31 w 67"/>
                    <a:gd name="T63" fmla="*/ 9 h 84"/>
                    <a:gd name="T64" fmla="*/ 31 w 67"/>
                    <a:gd name="T65" fmla="*/ 17 h 84"/>
                    <a:gd name="T66" fmla="*/ 40 w 67"/>
                    <a:gd name="T67" fmla="*/ 26 h 84"/>
                    <a:gd name="T68" fmla="*/ 49 w 67"/>
                    <a:gd name="T69" fmla="*/ 31 h 84"/>
                    <a:gd name="T70" fmla="*/ 54 w 67"/>
                    <a:gd name="T71" fmla="*/ 31 h 84"/>
                    <a:gd name="T72" fmla="*/ 54 w 67"/>
                    <a:gd name="T73" fmla="*/ 35 h 84"/>
                    <a:gd name="T74" fmla="*/ 58 w 67"/>
                    <a:gd name="T75" fmla="*/ 35 h 84"/>
                    <a:gd name="T76" fmla="*/ 54 w 67"/>
                    <a:gd name="T77" fmla="*/ 53 h 84"/>
                    <a:gd name="T78" fmla="*/ 67 w 67"/>
                    <a:gd name="T79" fmla="*/ 62 h 84"/>
                    <a:gd name="T80" fmla="*/ 67 w 67"/>
                    <a:gd name="T81" fmla="*/ 67 h 84"/>
                    <a:gd name="T82" fmla="*/ 58 w 67"/>
                    <a:gd name="T83" fmla="*/ 71 h 84"/>
                    <a:gd name="T84" fmla="*/ 58 w 67"/>
                    <a:gd name="T85" fmla="*/ 80 h 84"/>
                    <a:gd name="T86" fmla="*/ 54 w 67"/>
                    <a:gd name="T87" fmla="*/ 76 h 84"/>
                    <a:gd name="T88" fmla="*/ 40 w 67"/>
                    <a:gd name="T89" fmla="*/ 80 h 84"/>
                    <a:gd name="T90" fmla="*/ 40 w 67"/>
                    <a:gd name="T91" fmla="*/ 80 h 84"/>
                    <a:gd name="T92" fmla="*/ 31 w 67"/>
                    <a:gd name="T93" fmla="*/ 84 h 84"/>
                    <a:gd name="T94" fmla="*/ 27 w 67"/>
                    <a:gd name="T95" fmla="*/ 84 h 84"/>
                    <a:gd name="T96" fmla="*/ 27 w 67"/>
                    <a:gd name="T97" fmla="*/ 76 h 84"/>
                    <a:gd name="T98" fmla="*/ 18 w 67"/>
                    <a:gd name="T99" fmla="*/ 71 h 84"/>
                    <a:gd name="T100" fmla="*/ 13 w 67"/>
                    <a:gd name="T101" fmla="*/ 84 h 84"/>
                    <a:gd name="T102" fmla="*/ 9 w 67"/>
                    <a:gd name="T103" fmla="*/ 84 h 84"/>
                    <a:gd name="T104" fmla="*/ 0 w 67"/>
                    <a:gd name="T105" fmla="*/ 71 h 84"/>
                    <a:gd name="T106" fmla="*/ 0 w 67"/>
                    <a:gd name="T107" fmla="*/ 71 h 84"/>
                    <a:gd name="T108" fmla="*/ 0 w 67"/>
                    <a:gd name="T109" fmla="*/ 6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 h="84">
                      <a:moveTo>
                        <a:pt x="0" y="67"/>
                      </a:moveTo>
                      <a:lnTo>
                        <a:pt x="0" y="67"/>
                      </a:lnTo>
                      <a:lnTo>
                        <a:pt x="0" y="67"/>
                      </a:lnTo>
                      <a:lnTo>
                        <a:pt x="0" y="62"/>
                      </a:lnTo>
                      <a:lnTo>
                        <a:pt x="0" y="62"/>
                      </a:lnTo>
                      <a:lnTo>
                        <a:pt x="0" y="58"/>
                      </a:lnTo>
                      <a:lnTo>
                        <a:pt x="5" y="53"/>
                      </a:lnTo>
                      <a:lnTo>
                        <a:pt x="5" y="53"/>
                      </a:lnTo>
                      <a:lnTo>
                        <a:pt x="5" y="53"/>
                      </a:lnTo>
                      <a:lnTo>
                        <a:pt x="5" y="49"/>
                      </a:lnTo>
                      <a:lnTo>
                        <a:pt x="9" y="49"/>
                      </a:lnTo>
                      <a:lnTo>
                        <a:pt x="13" y="44"/>
                      </a:lnTo>
                      <a:lnTo>
                        <a:pt x="9" y="40"/>
                      </a:lnTo>
                      <a:lnTo>
                        <a:pt x="13" y="40"/>
                      </a:lnTo>
                      <a:lnTo>
                        <a:pt x="13" y="40"/>
                      </a:lnTo>
                      <a:lnTo>
                        <a:pt x="5" y="35"/>
                      </a:lnTo>
                      <a:lnTo>
                        <a:pt x="5" y="31"/>
                      </a:lnTo>
                      <a:lnTo>
                        <a:pt x="9" y="26"/>
                      </a:lnTo>
                      <a:lnTo>
                        <a:pt x="9" y="22"/>
                      </a:lnTo>
                      <a:lnTo>
                        <a:pt x="5" y="22"/>
                      </a:lnTo>
                      <a:lnTo>
                        <a:pt x="5" y="17"/>
                      </a:lnTo>
                      <a:lnTo>
                        <a:pt x="9" y="17"/>
                      </a:lnTo>
                      <a:lnTo>
                        <a:pt x="9" y="13"/>
                      </a:lnTo>
                      <a:lnTo>
                        <a:pt x="5" y="13"/>
                      </a:lnTo>
                      <a:lnTo>
                        <a:pt x="5" y="13"/>
                      </a:lnTo>
                      <a:lnTo>
                        <a:pt x="5" y="9"/>
                      </a:lnTo>
                      <a:lnTo>
                        <a:pt x="5" y="9"/>
                      </a:lnTo>
                      <a:lnTo>
                        <a:pt x="5" y="4"/>
                      </a:lnTo>
                      <a:lnTo>
                        <a:pt x="0" y="4"/>
                      </a:lnTo>
                      <a:lnTo>
                        <a:pt x="13" y="0"/>
                      </a:lnTo>
                      <a:lnTo>
                        <a:pt x="27" y="0"/>
                      </a:lnTo>
                      <a:lnTo>
                        <a:pt x="31" y="9"/>
                      </a:lnTo>
                      <a:lnTo>
                        <a:pt x="31" y="17"/>
                      </a:lnTo>
                      <a:lnTo>
                        <a:pt x="40" y="26"/>
                      </a:lnTo>
                      <a:lnTo>
                        <a:pt x="49" y="31"/>
                      </a:lnTo>
                      <a:lnTo>
                        <a:pt x="54" y="31"/>
                      </a:lnTo>
                      <a:lnTo>
                        <a:pt x="54" y="35"/>
                      </a:lnTo>
                      <a:lnTo>
                        <a:pt x="58" y="35"/>
                      </a:lnTo>
                      <a:lnTo>
                        <a:pt x="54" y="53"/>
                      </a:lnTo>
                      <a:lnTo>
                        <a:pt x="67" y="62"/>
                      </a:lnTo>
                      <a:lnTo>
                        <a:pt x="67" y="67"/>
                      </a:lnTo>
                      <a:lnTo>
                        <a:pt x="58" y="71"/>
                      </a:lnTo>
                      <a:lnTo>
                        <a:pt x="58" y="80"/>
                      </a:lnTo>
                      <a:lnTo>
                        <a:pt x="54" y="76"/>
                      </a:lnTo>
                      <a:lnTo>
                        <a:pt x="40" y="80"/>
                      </a:lnTo>
                      <a:lnTo>
                        <a:pt x="40" y="80"/>
                      </a:lnTo>
                      <a:lnTo>
                        <a:pt x="31" y="84"/>
                      </a:lnTo>
                      <a:lnTo>
                        <a:pt x="27" y="84"/>
                      </a:lnTo>
                      <a:lnTo>
                        <a:pt x="27" y="76"/>
                      </a:lnTo>
                      <a:lnTo>
                        <a:pt x="18" y="71"/>
                      </a:lnTo>
                      <a:lnTo>
                        <a:pt x="13" y="84"/>
                      </a:lnTo>
                      <a:lnTo>
                        <a:pt x="9" y="84"/>
                      </a:lnTo>
                      <a:lnTo>
                        <a:pt x="0" y="71"/>
                      </a:lnTo>
                      <a:lnTo>
                        <a:pt x="0" y="71"/>
                      </a:lnTo>
                      <a:lnTo>
                        <a:pt x="0" y="67"/>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sp>
              <p:nvSpPr>
                <p:cNvPr id="402" name="Freeform 207"/>
                <p:cNvSpPr>
                  <a:spLocks/>
                </p:cNvSpPr>
                <p:nvPr/>
              </p:nvSpPr>
              <p:spPr bwMode="gray">
                <a:xfrm>
                  <a:off x="2991" y="2091"/>
                  <a:ext cx="13" cy="13"/>
                </a:xfrm>
                <a:custGeom>
                  <a:avLst/>
                  <a:gdLst>
                    <a:gd name="T0" fmla="*/ 0 w 13"/>
                    <a:gd name="T1" fmla="*/ 0 h 13"/>
                    <a:gd name="T2" fmla="*/ 0 w 13"/>
                    <a:gd name="T3" fmla="*/ 0 h 13"/>
                    <a:gd name="T4" fmla="*/ 9 w 13"/>
                    <a:gd name="T5" fmla="*/ 13 h 13"/>
                    <a:gd name="T6" fmla="*/ 13 w 13"/>
                    <a:gd name="T7" fmla="*/ 13 h 13"/>
                  </a:gdLst>
                  <a:ahLst/>
                  <a:cxnLst>
                    <a:cxn ang="0">
                      <a:pos x="T0" y="T1"/>
                    </a:cxn>
                    <a:cxn ang="0">
                      <a:pos x="T2" y="T3"/>
                    </a:cxn>
                    <a:cxn ang="0">
                      <a:pos x="T4" y="T5"/>
                    </a:cxn>
                    <a:cxn ang="0">
                      <a:pos x="T6" y="T7"/>
                    </a:cxn>
                  </a:cxnLst>
                  <a:rect l="0" t="0" r="r" b="b"/>
                  <a:pathLst>
                    <a:path w="13" h="13">
                      <a:moveTo>
                        <a:pt x="0" y="0"/>
                      </a:moveTo>
                      <a:lnTo>
                        <a:pt x="0" y="0"/>
                      </a:lnTo>
                      <a:lnTo>
                        <a:pt x="9" y="13"/>
                      </a:lnTo>
                      <a:lnTo>
                        <a:pt x="13" y="13"/>
                      </a:lnTo>
                    </a:path>
                  </a:pathLst>
                </a:custGeom>
                <a:solidFill>
                  <a:schemeClr val="bg2"/>
                </a:solidFill>
                <a:ln w="3175" cmpd="sng">
                  <a:solidFill>
                    <a:schemeClr val="bg1"/>
                  </a:solidFill>
                  <a:prstDash val="solid"/>
                  <a:round/>
                  <a:headEnd/>
                  <a:tailEnd/>
                </a:ln>
              </p:spPr>
              <p:txBody>
                <a:bodyPr/>
                <a:lstStyle/>
                <a:p>
                  <a:endParaRPr lang="en-US">
                    <a:solidFill>
                      <a:srgbClr val="000000"/>
                    </a:solidFill>
                  </a:endParaRPr>
                </a:p>
              </p:txBody>
            </p:sp>
            <p:sp>
              <p:nvSpPr>
                <p:cNvPr id="403" name="Freeform 208"/>
                <p:cNvSpPr>
                  <a:spLocks noEditPoints="1"/>
                </p:cNvSpPr>
                <p:nvPr/>
              </p:nvSpPr>
              <p:spPr bwMode="gray">
                <a:xfrm>
                  <a:off x="2482" y="2069"/>
                  <a:ext cx="317" cy="290"/>
                </a:xfrm>
                <a:custGeom>
                  <a:avLst/>
                  <a:gdLst>
                    <a:gd name="T0" fmla="*/ 4 w 317"/>
                    <a:gd name="T1" fmla="*/ 290 h 290"/>
                    <a:gd name="T2" fmla="*/ 13 w 317"/>
                    <a:gd name="T3" fmla="*/ 277 h 290"/>
                    <a:gd name="T4" fmla="*/ 22 w 317"/>
                    <a:gd name="T5" fmla="*/ 286 h 290"/>
                    <a:gd name="T6" fmla="*/ 27 w 317"/>
                    <a:gd name="T7" fmla="*/ 290 h 290"/>
                    <a:gd name="T8" fmla="*/ 27 w 317"/>
                    <a:gd name="T9" fmla="*/ 286 h 290"/>
                    <a:gd name="T10" fmla="*/ 143 w 317"/>
                    <a:gd name="T11" fmla="*/ 125 h 290"/>
                    <a:gd name="T12" fmla="*/ 156 w 317"/>
                    <a:gd name="T13" fmla="*/ 138 h 290"/>
                    <a:gd name="T14" fmla="*/ 170 w 317"/>
                    <a:gd name="T15" fmla="*/ 147 h 290"/>
                    <a:gd name="T16" fmla="*/ 179 w 317"/>
                    <a:gd name="T17" fmla="*/ 143 h 290"/>
                    <a:gd name="T18" fmla="*/ 196 w 317"/>
                    <a:gd name="T19" fmla="*/ 138 h 290"/>
                    <a:gd name="T20" fmla="*/ 205 w 317"/>
                    <a:gd name="T21" fmla="*/ 138 h 290"/>
                    <a:gd name="T22" fmla="*/ 219 w 317"/>
                    <a:gd name="T23" fmla="*/ 134 h 290"/>
                    <a:gd name="T24" fmla="*/ 228 w 317"/>
                    <a:gd name="T25" fmla="*/ 125 h 290"/>
                    <a:gd name="T26" fmla="*/ 241 w 317"/>
                    <a:gd name="T27" fmla="*/ 111 h 290"/>
                    <a:gd name="T28" fmla="*/ 250 w 317"/>
                    <a:gd name="T29" fmla="*/ 98 h 290"/>
                    <a:gd name="T30" fmla="*/ 241 w 317"/>
                    <a:gd name="T31" fmla="*/ 89 h 290"/>
                    <a:gd name="T32" fmla="*/ 263 w 317"/>
                    <a:gd name="T33" fmla="*/ 53 h 290"/>
                    <a:gd name="T34" fmla="*/ 295 w 317"/>
                    <a:gd name="T35" fmla="*/ 35 h 290"/>
                    <a:gd name="T36" fmla="*/ 295 w 317"/>
                    <a:gd name="T37" fmla="*/ 31 h 290"/>
                    <a:gd name="T38" fmla="*/ 295 w 317"/>
                    <a:gd name="T39" fmla="*/ 27 h 290"/>
                    <a:gd name="T40" fmla="*/ 277 w 317"/>
                    <a:gd name="T41" fmla="*/ 27 h 290"/>
                    <a:gd name="T42" fmla="*/ 259 w 317"/>
                    <a:gd name="T43" fmla="*/ 22 h 290"/>
                    <a:gd name="T44" fmla="*/ 241 w 317"/>
                    <a:gd name="T45" fmla="*/ 22 h 290"/>
                    <a:gd name="T46" fmla="*/ 223 w 317"/>
                    <a:gd name="T47" fmla="*/ 4 h 290"/>
                    <a:gd name="T48" fmla="*/ 214 w 317"/>
                    <a:gd name="T49" fmla="*/ 4 h 290"/>
                    <a:gd name="T50" fmla="*/ 201 w 317"/>
                    <a:gd name="T51" fmla="*/ 4 h 290"/>
                    <a:gd name="T52" fmla="*/ 179 w 317"/>
                    <a:gd name="T53" fmla="*/ 4 h 290"/>
                    <a:gd name="T54" fmla="*/ 170 w 317"/>
                    <a:gd name="T55" fmla="*/ 0 h 290"/>
                    <a:gd name="T56" fmla="*/ 152 w 317"/>
                    <a:gd name="T57" fmla="*/ 4 h 290"/>
                    <a:gd name="T58" fmla="*/ 143 w 317"/>
                    <a:gd name="T59" fmla="*/ 0 h 290"/>
                    <a:gd name="T60" fmla="*/ 125 w 317"/>
                    <a:gd name="T61" fmla="*/ 0 h 290"/>
                    <a:gd name="T62" fmla="*/ 116 w 317"/>
                    <a:gd name="T63" fmla="*/ 4 h 290"/>
                    <a:gd name="T64" fmla="*/ 112 w 317"/>
                    <a:gd name="T65" fmla="*/ 18 h 290"/>
                    <a:gd name="T66" fmla="*/ 116 w 317"/>
                    <a:gd name="T67" fmla="*/ 22 h 290"/>
                    <a:gd name="T68" fmla="*/ 116 w 317"/>
                    <a:gd name="T69" fmla="*/ 31 h 290"/>
                    <a:gd name="T70" fmla="*/ 129 w 317"/>
                    <a:gd name="T71" fmla="*/ 31 h 290"/>
                    <a:gd name="T72" fmla="*/ 152 w 317"/>
                    <a:gd name="T73" fmla="*/ 40 h 290"/>
                    <a:gd name="T74" fmla="*/ 152 w 317"/>
                    <a:gd name="T75" fmla="*/ 53 h 290"/>
                    <a:gd name="T76" fmla="*/ 147 w 317"/>
                    <a:gd name="T77" fmla="*/ 71 h 290"/>
                    <a:gd name="T78" fmla="*/ 138 w 317"/>
                    <a:gd name="T79" fmla="*/ 85 h 290"/>
                    <a:gd name="T80" fmla="*/ 143 w 317"/>
                    <a:gd name="T81" fmla="*/ 107 h 290"/>
                    <a:gd name="T82" fmla="*/ 143 w 317"/>
                    <a:gd name="T83" fmla="*/ 116 h 290"/>
                    <a:gd name="T84" fmla="*/ 268 w 317"/>
                    <a:gd name="T85" fmla="*/ 94 h 290"/>
                    <a:gd name="T86" fmla="*/ 268 w 317"/>
                    <a:gd name="T87" fmla="*/ 103 h 290"/>
                    <a:gd name="T88" fmla="*/ 272 w 317"/>
                    <a:gd name="T89" fmla="*/ 103 h 290"/>
                    <a:gd name="T90" fmla="*/ 272 w 317"/>
                    <a:gd name="T91" fmla="*/ 94 h 290"/>
                    <a:gd name="T92" fmla="*/ 286 w 317"/>
                    <a:gd name="T93" fmla="*/ 85 h 290"/>
                    <a:gd name="T94" fmla="*/ 290 w 317"/>
                    <a:gd name="T95" fmla="*/ 89 h 290"/>
                    <a:gd name="T96" fmla="*/ 304 w 317"/>
                    <a:gd name="T97" fmla="*/ 85 h 290"/>
                    <a:gd name="T98" fmla="*/ 299 w 317"/>
                    <a:gd name="T99" fmla="*/ 76 h 290"/>
                    <a:gd name="T100" fmla="*/ 290 w 317"/>
                    <a:gd name="T101" fmla="*/ 80 h 290"/>
                    <a:gd name="T102" fmla="*/ 308 w 317"/>
                    <a:gd name="T103" fmla="*/ 71 h 290"/>
                    <a:gd name="T104" fmla="*/ 317 w 317"/>
                    <a:gd name="T105" fmla="*/ 80 h 290"/>
                    <a:gd name="T106" fmla="*/ 308 w 317"/>
                    <a:gd name="T107" fmla="*/ 7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7" h="290">
                      <a:moveTo>
                        <a:pt x="0" y="281"/>
                      </a:moveTo>
                      <a:lnTo>
                        <a:pt x="4" y="290"/>
                      </a:lnTo>
                      <a:lnTo>
                        <a:pt x="13" y="286"/>
                      </a:lnTo>
                      <a:lnTo>
                        <a:pt x="13" y="277"/>
                      </a:lnTo>
                      <a:lnTo>
                        <a:pt x="0" y="281"/>
                      </a:lnTo>
                      <a:close/>
                      <a:moveTo>
                        <a:pt x="22" y="286"/>
                      </a:moveTo>
                      <a:lnTo>
                        <a:pt x="18" y="290"/>
                      </a:lnTo>
                      <a:lnTo>
                        <a:pt x="27" y="290"/>
                      </a:lnTo>
                      <a:lnTo>
                        <a:pt x="27" y="286"/>
                      </a:lnTo>
                      <a:lnTo>
                        <a:pt x="27" y="286"/>
                      </a:lnTo>
                      <a:lnTo>
                        <a:pt x="22" y="286"/>
                      </a:lnTo>
                      <a:close/>
                      <a:moveTo>
                        <a:pt x="143" y="125"/>
                      </a:moveTo>
                      <a:lnTo>
                        <a:pt x="156" y="134"/>
                      </a:lnTo>
                      <a:lnTo>
                        <a:pt x="156" y="138"/>
                      </a:lnTo>
                      <a:lnTo>
                        <a:pt x="156" y="143"/>
                      </a:lnTo>
                      <a:lnTo>
                        <a:pt x="170" y="147"/>
                      </a:lnTo>
                      <a:lnTo>
                        <a:pt x="174" y="138"/>
                      </a:lnTo>
                      <a:lnTo>
                        <a:pt x="179" y="143"/>
                      </a:lnTo>
                      <a:lnTo>
                        <a:pt x="187" y="134"/>
                      </a:lnTo>
                      <a:lnTo>
                        <a:pt x="196" y="138"/>
                      </a:lnTo>
                      <a:lnTo>
                        <a:pt x="205" y="134"/>
                      </a:lnTo>
                      <a:lnTo>
                        <a:pt x="205" y="138"/>
                      </a:lnTo>
                      <a:lnTo>
                        <a:pt x="214" y="134"/>
                      </a:lnTo>
                      <a:lnTo>
                        <a:pt x="219" y="134"/>
                      </a:lnTo>
                      <a:lnTo>
                        <a:pt x="223" y="129"/>
                      </a:lnTo>
                      <a:lnTo>
                        <a:pt x="228" y="125"/>
                      </a:lnTo>
                      <a:lnTo>
                        <a:pt x="237" y="125"/>
                      </a:lnTo>
                      <a:lnTo>
                        <a:pt x="241" y="111"/>
                      </a:lnTo>
                      <a:lnTo>
                        <a:pt x="246" y="103"/>
                      </a:lnTo>
                      <a:lnTo>
                        <a:pt x="250" y="98"/>
                      </a:lnTo>
                      <a:lnTo>
                        <a:pt x="246" y="98"/>
                      </a:lnTo>
                      <a:lnTo>
                        <a:pt x="241" y="89"/>
                      </a:lnTo>
                      <a:lnTo>
                        <a:pt x="241" y="85"/>
                      </a:lnTo>
                      <a:lnTo>
                        <a:pt x="263" y="53"/>
                      </a:lnTo>
                      <a:lnTo>
                        <a:pt x="281" y="49"/>
                      </a:lnTo>
                      <a:lnTo>
                        <a:pt x="295" y="35"/>
                      </a:lnTo>
                      <a:lnTo>
                        <a:pt x="295" y="31"/>
                      </a:lnTo>
                      <a:lnTo>
                        <a:pt x="295" y="31"/>
                      </a:lnTo>
                      <a:lnTo>
                        <a:pt x="299" y="27"/>
                      </a:lnTo>
                      <a:lnTo>
                        <a:pt x="295" y="27"/>
                      </a:lnTo>
                      <a:lnTo>
                        <a:pt x="286" y="27"/>
                      </a:lnTo>
                      <a:lnTo>
                        <a:pt x="277" y="27"/>
                      </a:lnTo>
                      <a:lnTo>
                        <a:pt x="268" y="22"/>
                      </a:lnTo>
                      <a:lnTo>
                        <a:pt x="259" y="22"/>
                      </a:lnTo>
                      <a:lnTo>
                        <a:pt x="246" y="22"/>
                      </a:lnTo>
                      <a:lnTo>
                        <a:pt x="241" y="22"/>
                      </a:lnTo>
                      <a:lnTo>
                        <a:pt x="228" y="13"/>
                      </a:lnTo>
                      <a:lnTo>
                        <a:pt x="223" y="4"/>
                      </a:lnTo>
                      <a:lnTo>
                        <a:pt x="214" y="9"/>
                      </a:lnTo>
                      <a:lnTo>
                        <a:pt x="214" y="4"/>
                      </a:lnTo>
                      <a:lnTo>
                        <a:pt x="205" y="4"/>
                      </a:lnTo>
                      <a:lnTo>
                        <a:pt x="201" y="4"/>
                      </a:lnTo>
                      <a:lnTo>
                        <a:pt x="192" y="4"/>
                      </a:lnTo>
                      <a:lnTo>
                        <a:pt x="179" y="4"/>
                      </a:lnTo>
                      <a:lnTo>
                        <a:pt x="170" y="4"/>
                      </a:lnTo>
                      <a:lnTo>
                        <a:pt x="170" y="0"/>
                      </a:lnTo>
                      <a:lnTo>
                        <a:pt x="161" y="0"/>
                      </a:lnTo>
                      <a:lnTo>
                        <a:pt x="152" y="4"/>
                      </a:lnTo>
                      <a:lnTo>
                        <a:pt x="147" y="0"/>
                      </a:lnTo>
                      <a:lnTo>
                        <a:pt x="143" y="0"/>
                      </a:lnTo>
                      <a:lnTo>
                        <a:pt x="134" y="0"/>
                      </a:lnTo>
                      <a:lnTo>
                        <a:pt x="125" y="0"/>
                      </a:lnTo>
                      <a:lnTo>
                        <a:pt x="129" y="4"/>
                      </a:lnTo>
                      <a:lnTo>
                        <a:pt x="116" y="4"/>
                      </a:lnTo>
                      <a:lnTo>
                        <a:pt x="112" y="9"/>
                      </a:lnTo>
                      <a:lnTo>
                        <a:pt x="112" y="18"/>
                      </a:lnTo>
                      <a:lnTo>
                        <a:pt x="116" y="18"/>
                      </a:lnTo>
                      <a:lnTo>
                        <a:pt x="116" y="22"/>
                      </a:lnTo>
                      <a:lnTo>
                        <a:pt x="120" y="27"/>
                      </a:lnTo>
                      <a:lnTo>
                        <a:pt x="116" y="31"/>
                      </a:lnTo>
                      <a:lnTo>
                        <a:pt x="120" y="35"/>
                      </a:lnTo>
                      <a:lnTo>
                        <a:pt x="129" y="31"/>
                      </a:lnTo>
                      <a:lnTo>
                        <a:pt x="134" y="40"/>
                      </a:lnTo>
                      <a:lnTo>
                        <a:pt x="152" y="40"/>
                      </a:lnTo>
                      <a:lnTo>
                        <a:pt x="161" y="44"/>
                      </a:lnTo>
                      <a:lnTo>
                        <a:pt x="152" y="53"/>
                      </a:lnTo>
                      <a:lnTo>
                        <a:pt x="147" y="67"/>
                      </a:lnTo>
                      <a:lnTo>
                        <a:pt x="147" y="71"/>
                      </a:lnTo>
                      <a:lnTo>
                        <a:pt x="147" y="80"/>
                      </a:lnTo>
                      <a:lnTo>
                        <a:pt x="138" y="85"/>
                      </a:lnTo>
                      <a:lnTo>
                        <a:pt x="147" y="98"/>
                      </a:lnTo>
                      <a:lnTo>
                        <a:pt x="143" y="107"/>
                      </a:lnTo>
                      <a:lnTo>
                        <a:pt x="147" y="116"/>
                      </a:lnTo>
                      <a:lnTo>
                        <a:pt x="143" y="116"/>
                      </a:lnTo>
                      <a:lnTo>
                        <a:pt x="143" y="125"/>
                      </a:lnTo>
                      <a:close/>
                      <a:moveTo>
                        <a:pt x="268" y="94"/>
                      </a:moveTo>
                      <a:lnTo>
                        <a:pt x="263" y="98"/>
                      </a:lnTo>
                      <a:lnTo>
                        <a:pt x="268" y="103"/>
                      </a:lnTo>
                      <a:lnTo>
                        <a:pt x="268" y="103"/>
                      </a:lnTo>
                      <a:lnTo>
                        <a:pt x="272" y="103"/>
                      </a:lnTo>
                      <a:lnTo>
                        <a:pt x="268" y="98"/>
                      </a:lnTo>
                      <a:lnTo>
                        <a:pt x="272" y="94"/>
                      </a:lnTo>
                      <a:lnTo>
                        <a:pt x="268" y="94"/>
                      </a:lnTo>
                      <a:close/>
                      <a:moveTo>
                        <a:pt x="286" y="85"/>
                      </a:moveTo>
                      <a:lnTo>
                        <a:pt x="286" y="85"/>
                      </a:lnTo>
                      <a:lnTo>
                        <a:pt x="290" y="89"/>
                      </a:lnTo>
                      <a:lnTo>
                        <a:pt x="299" y="89"/>
                      </a:lnTo>
                      <a:lnTo>
                        <a:pt x="304" y="85"/>
                      </a:lnTo>
                      <a:lnTo>
                        <a:pt x="304" y="80"/>
                      </a:lnTo>
                      <a:lnTo>
                        <a:pt x="299" y="76"/>
                      </a:lnTo>
                      <a:lnTo>
                        <a:pt x="299" y="76"/>
                      </a:lnTo>
                      <a:lnTo>
                        <a:pt x="290" y="80"/>
                      </a:lnTo>
                      <a:lnTo>
                        <a:pt x="286" y="85"/>
                      </a:lnTo>
                      <a:close/>
                      <a:moveTo>
                        <a:pt x="308" y="71"/>
                      </a:moveTo>
                      <a:lnTo>
                        <a:pt x="308" y="80"/>
                      </a:lnTo>
                      <a:lnTo>
                        <a:pt x="317" y="80"/>
                      </a:lnTo>
                      <a:lnTo>
                        <a:pt x="313" y="71"/>
                      </a:lnTo>
                      <a:lnTo>
                        <a:pt x="308" y="71"/>
                      </a:lnTo>
                      <a:close/>
                    </a:path>
                  </a:pathLst>
                </a:custGeom>
                <a:solidFill>
                  <a:schemeClr val="bg2"/>
                </a:solidFill>
                <a:ln w="3175" cmpd="sng">
                  <a:solidFill>
                    <a:schemeClr val="bg1"/>
                  </a:solidFill>
                  <a:round/>
                  <a:headEnd/>
                  <a:tailEnd/>
                </a:ln>
              </p:spPr>
              <p:txBody>
                <a:bodyPr/>
                <a:lstStyle/>
                <a:p>
                  <a:endParaRPr lang="en-US">
                    <a:solidFill>
                      <a:srgbClr val="000000"/>
                    </a:solidFill>
                  </a:endParaRPr>
                </a:p>
              </p:txBody>
            </p:sp>
          </p:grpSp>
        </p:grpSp>
        <p:sp>
          <p:nvSpPr>
            <p:cNvPr id="312" name="Rechteck 311"/>
            <p:cNvSpPr/>
            <p:nvPr/>
          </p:nvSpPr>
          <p:spPr>
            <a:xfrm>
              <a:off x="6297049" y="3060016"/>
              <a:ext cx="2087909" cy="430853"/>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13" name="Rechteck 312"/>
            <p:cNvSpPr/>
            <p:nvPr/>
          </p:nvSpPr>
          <p:spPr>
            <a:xfrm>
              <a:off x="6297049" y="2241006"/>
              <a:ext cx="2087909" cy="456798"/>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grpSp>
          <p:nvGrpSpPr>
            <p:cNvPr id="314" name="Gruppieren 313"/>
            <p:cNvGrpSpPr/>
            <p:nvPr/>
          </p:nvGrpSpPr>
          <p:grpSpPr>
            <a:xfrm>
              <a:off x="1045047" y="2240676"/>
              <a:ext cx="2168623" cy="531005"/>
              <a:chOff x="3649404" y="249928"/>
              <a:chExt cx="2564343" cy="739325"/>
            </a:xfrm>
          </p:grpSpPr>
          <p:sp>
            <p:nvSpPr>
              <p:cNvPr id="357" name="Rechteck 356"/>
              <p:cNvSpPr/>
              <p:nvPr/>
            </p:nvSpPr>
            <p:spPr>
              <a:xfrm>
                <a:off x="3741136" y="249928"/>
                <a:ext cx="2472611" cy="617916"/>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58" name="Rechteck 357"/>
              <p:cNvSpPr/>
              <p:nvPr/>
            </p:nvSpPr>
            <p:spPr>
              <a:xfrm>
                <a:off x="3649404" y="282512"/>
                <a:ext cx="2110199" cy="70674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spcAft>
                    <a:spcPct val="35000"/>
                  </a:spcAft>
                </a:pPr>
                <a:r>
                  <a:rPr lang="en-US" altLang="en-US" sz="800" b="1" dirty="0" smtClean="0">
                    <a:solidFill>
                      <a:srgbClr val="000000"/>
                    </a:solidFill>
                  </a:rPr>
                  <a:t>Christoph Selig                     </a:t>
                </a:r>
                <a:r>
                  <a:rPr lang="en-US" altLang="en-US" sz="800" dirty="0" smtClean="0">
                    <a:solidFill>
                      <a:srgbClr val="000000"/>
                    </a:solidFill>
                  </a:rPr>
                  <a:t>Head of GoTeach Team/                       SOS CV Program Manager</a:t>
                </a:r>
                <a:r>
                  <a:rPr lang="en-US" altLang="en-US" sz="800" dirty="0" smtClean="0">
                    <a:solidFill>
                      <a:srgbClr val="000000">
                        <a:hueOff val="0"/>
                        <a:satOff val="0"/>
                        <a:lumOff val="0"/>
                        <a:alphaOff val="0"/>
                      </a:srgbClr>
                    </a:solidFill>
                  </a:rPr>
                  <a:t/>
                </a:r>
                <a:br>
                  <a:rPr lang="en-US" altLang="en-US" sz="800" dirty="0" smtClean="0">
                    <a:solidFill>
                      <a:srgbClr val="000000">
                        <a:hueOff val="0"/>
                        <a:satOff val="0"/>
                        <a:lumOff val="0"/>
                        <a:alphaOff val="0"/>
                      </a:srgbClr>
                    </a:solidFill>
                  </a:rPr>
                </a:br>
                <a:endParaRPr lang="de-DE" sz="800" dirty="0">
                  <a:solidFill>
                    <a:srgbClr val="000000">
                      <a:hueOff val="0"/>
                      <a:satOff val="0"/>
                      <a:lumOff val="0"/>
                      <a:alphaOff val="0"/>
                    </a:srgbClr>
                  </a:solidFill>
                </a:endParaRPr>
              </a:p>
            </p:txBody>
          </p:sp>
        </p:grpSp>
        <p:sp>
          <p:nvSpPr>
            <p:cNvPr id="315" name="Rechteck 314"/>
            <p:cNvSpPr/>
            <p:nvPr/>
          </p:nvSpPr>
          <p:spPr>
            <a:xfrm>
              <a:off x="1139008" y="3063785"/>
              <a:ext cx="2074661" cy="443805"/>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16" name="Rechteck 315"/>
            <p:cNvSpPr/>
            <p:nvPr/>
          </p:nvSpPr>
          <p:spPr>
            <a:xfrm>
              <a:off x="1044900" y="3068312"/>
              <a:ext cx="2132961" cy="4225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spcBef>
                  <a:spcPct val="0"/>
                </a:spcBef>
              </a:pPr>
              <a:r>
                <a:rPr lang="en-US" altLang="en-US" sz="800" b="1" dirty="0" smtClean="0">
                  <a:solidFill>
                    <a:srgbClr val="000000">
                      <a:hueOff val="0"/>
                      <a:satOff val="0"/>
                      <a:lumOff val="0"/>
                      <a:alphaOff val="0"/>
                    </a:srgbClr>
                  </a:solidFill>
                </a:rPr>
                <a:t>Annette Wollmann</a:t>
              </a:r>
            </a:p>
            <a:p>
              <a:pPr defTabSz="444500">
                <a:spcBef>
                  <a:spcPct val="0"/>
                </a:spcBef>
              </a:pPr>
              <a:r>
                <a:rPr lang="en-US" altLang="en-US" sz="800" dirty="0" smtClean="0">
                  <a:solidFill>
                    <a:srgbClr val="000000">
                      <a:hueOff val="0"/>
                      <a:satOff val="0"/>
                      <a:lumOff val="0"/>
                      <a:alphaOff val="0"/>
                    </a:srgbClr>
                  </a:solidFill>
                </a:rPr>
                <a:t>Teach For All Program Manager, Teach First Deutschland Coordinator </a:t>
              </a:r>
            </a:p>
          </p:txBody>
        </p:sp>
        <p:pic>
          <p:nvPicPr>
            <p:cNvPr id="317" name="Picture 2" descr="C:\Users\sw5kcs\Pictures\IMG_1201.JPG"/>
            <p:cNvPicPr>
              <a:picLocks noChangeAspect="1" noChangeArrowheads="1"/>
            </p:cNvPicPr>
            <p:nvPr/>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l="57742" t="24944" r="30819" b="51245"/>
            <a:stretch/>
          </p:blipFill>
          <p:spPr bwMode="auto">
            <a:xfrm>
              <a:off x="916831" y="2796712"/>
              <a:ext cx="444354" cy="465815"/>
            </a:xfrm>
            <a:prstGeom prst="rect">
              <a:avLst/>
            </a:prstGeom>
            <a:blipFill>
              <a:blip r:embed="rId3"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a:blipFill>
            <a:ln w="19050">
              <a:solidFill>
                <a:schemeClr val="accent3"/>
              </a:solidFill>
            </a:ln>
            <a:extLst/>
          </p:spPr>
        </p:pic>
        <p:pic>
          <p:nvPicPr>
            <p:cNvPr id="318" name="Picture 9" descr="14"/>
            <p:cNvPicPr>
              <a:picLocks noChangeAspect="1" noChangeArrowheads="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bwMode="auto">
            <a:xfrm>
              <a:off x="915684" y="1972843"/>
              <a:ext cx="454821" cy="465815"/>
            </a:xfrm>
            <a:prstGeom prst="rect">
              <a:avLst/>
            </a:prstGeom>
            <a:blipFill>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a:blipFill>
            <a:ln w="19050">
              <a:solidFill>
                <a:schemeClr val="accent3"/>
              </a:solidFill>
            </a:ln>
            <a:extLst/>
          </p:spPr>
        </p:pic>
        <p:sp>
          <p:nvSpPr>
            <p:cNvPr id="319" name="Rechteck 318"/>
            <p:cNvSpPr/>
            <p:nvPr/>
          </p:nvSpPr>
          <p:spPr>
            <a:xfrm>
              <a:off x="6308543" y="3752445"/>
              <a:ext cx="2078217" cy="443805"/>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20" name="Rechteck 319"/>
            <p:cNvSpPr/>
            <p:nvPr/>
          </p:nvSpPr>
          <p:spPr>
            <a:xfrm>
              <a:off x="6046341" y="3708178"/>
              <a:ext cx="2340419" cy="44380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spcAft>
                  <a:spcPct val="35000"/>
                </a:spcAft>
              </a:pPr>
              <a:r>
                <a:rPr lang="en-US" altLang="en-US" sz="800" b="1" dirty="0" smtClean="0">
                  <a:solidFill>
                    <a:srgbClr val="000000">
                      <a:hueOff val="0"/>
                      <a:satOff val="0"/>
                      <a:lumOff val="0"/>
                      <a:alphaOff val="0"/>
                    </a:srgbClr>
                  </a:solidFill>
                </a:rPr>
                <a:t>Amanda De Silva                                   </a:t>
              </a:r>
              <a:r>
                <a:rPr lang="en-US" altLang="en-US" sz="800" dirty="0" err="1" smtClean="0">
                  <a:solidFill>
                    <a:srgbClr val="000000">
                      <a:hueOff val="0"/>
                      <a:satOff val="0"/>
                      <a:lumOff val="0"/>
                      <a:alphaOff val="0"/>
                    </a:srgbClr>
                  </a:solidFill>
                </a:rPr>
                <a:t>GoTeach</a:t>
              </a:r>
              <a:r>
                <a:rPr lang="en-US" altLang="en-US" sz="800" dirty="0" smtClean="0">
                  <a:solidFill>
                    <a:srgbClr val="000000">
                      <a:hueOff val="0"/>
                      <a:satOff val="0"/>
                      <a:lumOff val="0"/>
                      <a:alphaOff val="0"/>
                    </a:srgbClr>
                  </a:solidFill>
                </a:rPr>
                <a:t> Program Manager Asia Pacific</a:t>
              </a:r>
            </a:p>
          </p:txBody>
        </p:sp>
        <p:sp>
          <p:nvSpPr>
            <p:cNvPr id="321" name="Rechteck 320"/>
            <p:cNvSpPr/>
            <p:nvPr/>
          </p:nvSpPr>
          <p:spPr>
            <a:xfrm>
              <a:off x="3663178" y="3765438"/>
              <a:ext cx="2078217" cy="443805"/>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22" name="Rechteck 321"/>
            <p:cNvSpPr/>
            <p:nvPr/>
          </p:nvSpPr>
          <p:spPr>
            <a:xfrm>
              <a:off x="3505935" y="3783028"/>
              <a:ext cx="2099202" cy="5076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spcAft>
                  <a:spcPct val="35000"/>
                </a:spcAft>
              </a:pPr>
              <a:r>
                <a:rPr lang="en-US" altLang="en-US" sz="800" b="1" dirty="0" smtClean="0">
                  <a:solidFill>
                    <a:srgbClr val="000000">
                      <a:hueOff val="0"/>
                      <a:satOff val="0"/>
                      <a:lumOff val="0"/>
                      <a:alphaOff val="0"/>
                    </a:srgbClr>
                  </a:solidFill>
                </a:rPr>
                <a:t>Leigh Swartz                                                          </a:t>
              </a:r>
              <a:r>
                <a:rPr lang="en-US" altLang="en-US" sz="800" dirty="0" err="1" smtClean="0">
                  <a:solidFill>
                    <a:srgbClr val="000000">
                      <a:hueOff val="0"/>
                      <a:satOff val="0"/>
                      <a:lumOff val="0"/>
                      <a:alphaOff val="0"/>
                    </a:srgbClr>
                  </a:solidFill>
                </a:rPr>
                <a:t>GoTeach</a:t>
              </a:r>
              <a:r>
                <a:rPr lang="en-US" altLang="en-US" sz="800" dirty="0" smtClean="0">
                  <a:solidFill>
                    <a:srgbClr val="000000">
                      <a:hueOff val="0"/>
                      <a:satOff val="0"/>
                      <a:lumOff val="0"/>
                      <a:alphaOff val="0"/>
                    </a:srgbClr>
                  </a:solidFill>
                </a:rPr>
                <a:t> Program Manager Sub Sahara Africa</a:t>
              </a:r>
              <a:br>
                <a:rPr lang="en-US" altLang="en-US" sz="800" dirty="0" smtClean="0">
                  <a:solidFill>
                    <a:srgbClr val="000000">
                      <a:hueOff val="0"/>
                      <a:satOff val="0"/>
                      <a:lumOff val="0"/>
                      <a:alphaOff val="0"/>
                    </a:srgbClr>
                  </a:solidFill>
                </a:rPr>
              </a:br>
              <a:endParaRPr lang="de-DE" sz="800" dirty="0">
                <a:solidFill>
                  <a:srgbClr val="000000">
                    <a:hueOff val="0"/>
                    <a:satOff val="0"/>
                    <a:lumOff val="0"/>
                    <a:alphaOff val="0"/>
                  </a:srgbClr>
                </a:solidFill>
              </a:endParaRPr>
            </a:p>
          </p:txBody>
        </p:sp>
        <p:sp>
          <p:nvSpPr>
            <p:cNvPr id="323" name="Rechteck 322"/>
            <p:cNvSpPr/>
            <p:nvPr/>
          </p:nvSpPr>
          <p:spPr>
            <a:xfrm>
              <a:off x="1122623" y="3763732"/>
              <a:ext cx="2100431" cy="443805"/>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24" name="Rechteck 323"/>
            <p:cNvSpPr/>
            <p:nvPr/>
          </p:nvSpPr>
          <p:spPr>
            <a:xfrm>
              <a:off x="1058516" y="3763732"/>
              <a:ext cx="2119345" cy="44380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spcAft>
                  <a:spcPct val="35000"/>
                </a:spcAft>
              </a:pPr>
              <a:r>
                <a:rPr lang="en-US" altLang="en-US" sz="800" b="1" dirty="0" smtClean="0">
                  <a:solidFill>
                    <a:srgbClr val="000000">
                      <a:hueOff val="0"/>
                      <a:satOff val="0"/>
                      <a:lumOff val="0"/>
                      <a:alphaOff val="0"/>
                    </a:srgbClr>
                  </a:solidFill>
                </a:rPr>
                <a:t>Andrea Colchado Olivera</a:t>
              </a:r>
              <a:br>
                <a:rPr lang="en-US" altLang="en-US" sz="800" b="1" dirty="0" smtClean="0">
                  <a:solidFill>
                    <a:srgbClr val="000000">
                      <a:hueOff val="0"/>
                      <a:satOff val="0"/>
                      <a:lumOff val="0"/>
                      <a:alphaOff val="0"/>
                    </a:srgbClr>
                  </a:solidFill>
                </a:rPr>
              </a:br>
              <a:r>
                <a:rPr lang="en-US" altLang="en-US" sz="800" dirty="0" err="1" smtClean="0">
                  <a:solidFill>
                    <a:srgbClr val="000000">
                      <a:hueOff val="0"/>
                      <a:satOff val="0"/>
                      <a:lumOff val="0"/>
                      <a:alphaOff val="0"/>
                    </a:srgbClr>
                  </a:solidFill>
                </a:rPr>
                <a:t>GoTeach</a:t>
              </a:r>
              <a:r>
                <a:rPr lang="en-US" altLang="en-US" sz="800" dirty="0" smtClean="0">
                  <a:solidFill>
                    <a:srgbClr val="000000">
                      <a:hueOff val="0"/>
                      <a:satOff val="0"/>
                      <a:lumOff val="0"/>
                      <a:alphaOff val="0"/>
                    </a:srgbClr>
                  </a:solidFill>
                </a:rPr>
                <a:t> Program Manager Americas</a:t>
              </a:r>
            </a:p>
          </p:txBody>
        </p:sp>
        <p:pic>
          <p:nvPicPr>
            <p:cNvPr id="325" name="Picture 2"/>
            <p:cNvPicPr>
              <a:picLocks noChangeAspect="1" noChangeArrowheads="1"/>
            </p:cNvPicPr>
            <p:nvPr/>
          </p:nvPicPr>
          <p:blipFill>
            <a:blip r:embed="rId6">
              <a:extLst>
                <a:ext uri="{BEBA8EAE-BF5A-486C-A8C5-ECC9F3942E4B}">
                  <a14:imgProps xmlns:a14="http://schemas.microsoft.com/office/drawing/2010/main">
                    <a14:imgLayer r:embed="rId7">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6069508" y="3603513"/>
              <a:ext cx="464262" cy="508141"/>
            </a:xfrm>
            <a:prstGeom prst="rect">
              <a:avLst/>
            </a:prstGeom>
            <a:blipFill>
              <a:blip r:embed="rId3" cstate="email">
                <a:extLst>
                  <a:ext uri="{28A0092B-C50C-407E-A947-70E740481C1C}">
                    <a14:useLocalDpi xmlns:a14="http://schemas.microsoft.com/office/drawing/2010/main"/>
                  </a:ext>
                </a:extLst>
              </a:blip>
              <a:srcRect/>
              <a:stretch>
                <a:fillRect/>
              </a:stretch>
            </a:blipFill>
            <a:ln w="19050">
              <a:solidFill>
                <a:schemeClr val="accent3"/>
              </a:solidFill>
            </a:ln>
            <a:extLst/>
          </p:spPr>
        </p:pic>
        <p:pic>
          <p:nvPicPr>
            <p:cNvPr id="326" name="Picture 3"/>
            <p:cNvPicPr>
              <a:picLocks noChangeAspect="1" noChangeArrowheads="1"/>
            </p:cNvPicPr>
            <p:nvPr/>
          </p:nvPicPr>
          <p:blipFill>
            <a:blip r:embed="rId8">
              <a:extLst>
                <a:ext uri="{BEBA8EAE-BF5A-486C-A8C5-ECC9F3942E4B}">
                  <a14:imgProps xmlns:a14="http://schemas.microsoft.com/office/drawing/2010/main">
                    <a14:imgLayer r:embed="rId9">
                      <a14:imgEffect>
                        <a14:colorTemperature colorTemp="47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10801" y="3603513"/>
              <a:ext cx="459705" cy="457861"/>
            </a:xfrm>
            <a:prstGeom prst="rect">
              <a:avLst/>
            </a:prstGeom>
            <a:blipFill>
              <a:blip r:embed="rId3" cstate="email">
                <a:extLst>
                  <a:ext uri="{28A0092B-C50C-407E-A947-70E740481C1C}">
                    <a14:useLocalDpi xmlns:a14="http://schemas.microsoft.com/office/drawing/2010/main"/>
                  </a:ext>
                </a:extLst>
              </a:blip>
              <a:srcRect/>
              <a:stretch>
                <a:fillRect/>
              </a:stretch>
            </a:blipFill>
            <a:ln w="19050">
              <a:solidFill>
                <a:schemeClr val="accent3"/>
              </a:solidFill>
            </a:ln>
            <a:extLst/>
          </p:spPr>
        </p:pic>
        <p:pic>
          <p:nvPicPr>
            <p:cNvPr id="327" name="Picture 4"/>
            <p:cNvPicPr>
              <a:picLocks noChangeAspect="1" noChangeArrowheads="1"/>
            </p:cNvPicPr>
            <p:nvPr/>
          </p:nvPicPr>
          <p:blipFill>
            <a:blip r:embed="rId10">
              <a:extLst>
                <a:ext uri="{BEBA8EAE-BF5A-486C-A8C5-ECC9F3942E4B}">
                  <a14:imgProps xmlns:a14="http://schemas.microsoft.com/office/drawing/2010/main">
                    <a14:imgLayer r:embed="rId11">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470359" y="3603513"/>
              <a:ext cx="482533" cy="465766"/>
            </a:xfrm>
            <a:prstGeom prst="rect">
              <a:avLst/>
            </a:prstGeom>
            <a:blipFill>
              <a:blip r:embed="rId3" cstate="email">
                <a:extLst>
                  <a:ext uri="{28A0092B-C50C-407E-A947-70E740481C1C}">
                    <a14:useLocalDpi xmlns:a14="http://schemas.microsoft.com/office/drawing/2010/main"/>
                  </a:ext>
                </a:extLst>
              </a:blip>
              <a:srcRect/>
              <a:stretch>
                <a:fillRect/>
              </a:stretch>
            </a:blipFill>
            <a:ln w="19050">
              <a:solidFill>
                <a:schemeClr val="accent3"/>
              </a:solidFill>
            </a:ln>
            <a:extLst/>
          </p:spPr>
        </p:pic>
        <p:sp>
          <p:nvSpPr>
            <p:cNvPr id="328" name="Rechteck 327"/>
            <p:cNvSpPr/>
            <p:nvPr/>
          </p:nvSpPr>
          <p:spPr>
            <a:xfrm>
              <a:off x="3673692" y="4393085"/>
              <a:ext cx="2067703" cy="443805"/>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grpSp>
          <p:nvGrpSpPr>
            <p:cNvPr id="329" name="Gruppieren 328"/>
            <p:cNvGrpSpPr/>
            <p:nvPr/>
          </p:nvGrpSpPr>
          <p:grpSpPr>
            <a:xfrm>
              <a:off x="1046725" y="4391379"/>
              <a:ext cx="2175905" cy="443806"/>
              <a:chOff x="577724" y="1275901"/>
              <a:chExt cx="2765882" cy="720763"/>
            </a:xfrm>
          </p:grpSpPr>
          <p:sp>
            <p:nvSpPr>
              <p:cNvPr id="355" name="Rechteck 354"/>
              <p:cNvSpPr/>
              <p:nvPr/>
            </p:nvSpPr>
            <p:spPr>
              <a:xfrm>
                <a:off x="725441" y="1275901"/>
                <a:ext cx="2618165" cy="720762"/>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56" name="Rechteck 355"/>
              <p:cNvSpPr/>
              <p:nvPr/>
            </p:nvSpPr>
            <p:spPr>
              <a:xfrm>
                <a:off x="577724" y="1275901"/>
                <a:ext cx="2641742" cy="7207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spcAft>
                    <a:spcPct val="35000"/>
                  </a:spcAft>
                </a:pPr>
                <a:r>
                  <a:rPr lang="en-US" altLang="en-US" sz="800" b="1" dirty="0" err="1" smtClean="0">
                    <a:solidFill>
                      <a:srgbClr val="000000">
                        <a:hueOff val="0"/>
                        <a:satOff val="0"/>
                        <a:lumOff val="0"/>
                        <a:alphaOff val="0"/>
                      </a:srgbClr>
                    </a:solidFill>
                  </a:rPr>
                  <a:t>Faneva</a:t>
                </a:r>
                <a:r>
                  <a:rPr lang="en-US" altLang="en-US" sz="800" b="1" dirty="0" smtClean="0">
                    <a:solidFill>
                      <a:srgbClr val="000000">
                        <a:hueOff val="0"/>
                        <a:satOff val="0"/>
                        <a:lumOff val="0"/>
                        <a:alphaOff val="0"/>
                      </a:srgbClr>
                    </a:solidFill>
                  </a:rPr>
                  <a:t> </a:t>
                </a:r>
                <a:r>
                  <a:rPr lang="en-US" altLang="en-US" sz="800" b="1" dirty="0" err="1" smtClean="0">
                    <a:solidFill>
                      <a:srgbClr val="000000">
                        <a:hueOff val="0"/>
                        <a:satOff val="0"/>
                        <a:lumOff val="0"/>
                        <a:alphaOff val="0"/>
                      </a:srgbClr>
                    </a:solidFill>
                  </a:rPr>
                  <a:t>Raharimanantsoa</a:t>
                </a:r>
                <a:r>
                  <a:rPr lang="en-US" altLang="en-US" sz="800" b="1" dirty="0" smtClean="0">
                    <a:solidFill>
                      <a:srgbClr val="000000">
                        <a:hueOff val="0"/>
                        <a:satOff val="0"/>
                        <a:lumOff val="0"/>
                        <a:alphaOff val="0"/>
                      </a:srgbClr>
                    </a:solidFill>
                  </a:rPr>
                  <a:t/>
                </a:r>
                <a:br>
                  <a:rPr lang="en-US" altLang="en-US" sz="800" b="1" dirty="0" smtClean="0">
                    <a:solidFill>
                      <a:srgbClr val="000000">
                        <a:hueOff val="0"/>
                        <a:satOff val="0"/>
                        <a:lumOff val="0"/>
                        <a:alphaOff val="0"/>
                      </a:srgbClr>
                    </a:solidFill>
                  </a:rPr>
                </a:br>
                <a:r>
                  <a:rPr lang="en-US" altLang="en-US" sz="800" dirty="0" err="1" smtClean="0">
                    <a:solidFill>
                      <a:srgbClr val="000000">
                        <a:hueOff val="0"/>
                        <a:satOff val="0"/>
                        <a:lumOff val="0"/>
                        <a:alphaOff val="0"/>
                      </a:srgbClr>
                    </a:solidFill>
                  </a:rPr>
                  <a:t>GoTeach</a:t>
                </a:r>
                <a:r>
                  <a:rPr lang="en-US" altLang="en-US" sz="800" dirty="0" smtClean="0">
                    <a:solidFill>
                      <a:srgbClr val="000000">
                        <a:hueOff val="0"/>
                        <a:satOff val="0"/>
                        <a:lumOff val="0"/>
                        <a:alphaOff val="0"/>
                      </a:srgbClr>
                    </a:solidFill>
                  </a:rPr>
                  <a:t> Program Manager Indian Ocean &amp; French Africa</a:t>
                </a:r>
              </a:p>
            </p:txBody>
          </p:sp>
        </p:grpSp>
        <p:pic>
          <p:nvPicPr>
            <p:cNvPr id="330" name="Picture 7"/>
            <p:cNvPicPr>
              <a:picLocks noChangeAspect="1" noChangeArrowheads="1"/>
            </p:cNvPicPr>
            <p:nvPr/>
          </p:nvPicPr>
          <p:blipFill>
            <a:blip r:embed="rId1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8617" y="4254453"/>
              <a:ext cx="444748" cy="449393"/>
            </a:xfrm>
            <a:prstGeom prst="rect">
              <a:avLst/>
            </a:prstGeom>
            <a:blipFill>
              <a:blip r:embed="rId3"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a:blipFill>
            <a:ln w="19050">
              <a:solidFill>
                <a:schemeClr val="accent3"/>
              </a:solidFill>
            </a:ln>
            <a:extLst/>
          </p:spPr>
        </p:pic>
        <p:sp>
          <p:nvSpPr>
            <p:cNvPr id="331" name="Rechteck 330"/>
            <p:cNvSpPr/>
            <p:nvPr/>
          </p:nvSpPr>
          <p:spPr>
            <a:xfrm>
              <a:off x="1167892" y="5158238"/>
              <a:ext cx="2054738" cy="443805"/>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32" name="Rechteck 331"/>
            <p:cNvSpPr/>
            <p:nvPr/>
          </p:nvSpPr>
          <p:spPr>
            <a:xfrm>
              <a:off x="1055323" y="5194813"/>
              <a:ext cx="2167731" cy="5076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spcAft>
                  <a:spcPct val="35000"/>
                </a:spcAft>
              </a:pPr>
              <a:r>
                <a:rPr lang="de-DE" altLang="en-US" sz="800" b="1" dirty="0" smtClean="0">
                  <a:solidFill>
                    <a:srgbClr val="000000">
                      <a:hueOff val="0"/>
                      <a:satOff val="0"/>
                      <a:lumOff val="0"/>
                      <a:alphaOff val="0"/>
                    </a:srgbClr>
                  </a:solidFill>
                </a:rPr>
                <a:t>Andy Button-Stephens                         </a:t>
              </a:r>
              <a:r>
                <a:rPr lang="en-US" altLang="en-US" sz="800" dirty="0" smtClean="0">
                  <a:solidFill>
                    <a:srgbClr val="000000">
                      <a:hueOff val="0"/>
                      <a:satOff val="0"/>
                      <a:lumOff val="0"/>
                      <a:alphaOff val="0"/>
                    </a:srgbClr>
                  </a:solidFill>
                </a:rPr>
                <a:t>Senior </a:t>
              </a:r>
              <a:r>
                <a:rPr lang="en-US" altLang="en-US" sz="800" dirty="0" err="1" smtClean="0">
                  <a:solidFill>
                    <a:srgbClr val="000000">
                      <a:hueOff val="0"/>
                      <a:satOff val="0"/>
                      <a:lumOff val="0"/>
                      <a:alphaOff val="0"/>
                    </a:srgbClr>
                  </a:solidFill>
                </a:rPr>
                <a:t>Programme</a:t>
              </a:r>
              <a:r>
                <a:rPr lang="en-US" altLang="en-US" sz="800" dirty="0" smtClean="0">
                  <a:solidFill>
                    <a:srgbClr val="000000">
                      <a:hueOff val="0"/>
                      <a:satOff val="0"/>
                      <a:lumOff val="0"/>
                      <a:alphaOff val="0"/>
                    </a:srgbClr>
                  </a:solidFill>
                </a:rPr>
                <a:t> Manager Partnership with Teach First,         DHL UK Foundation</a:t>
              </a:r>
              <a:r>
                <a:rPr lang="en-US" altLang="en-US" sz="800" b="1" dirty="0" smtClean="0">
                  <a:solidFill>
                    <a:srgbClr val="000000">
                      <a:hueOff val="0"/>
                      <a:satOff val="0"/>
                      <a:lumOff val="0"/>
                      <a:alphaOff val="0"/>
                    </a:srgbClr>
                  </a:solidFill>
                </a:rPr>
                <a:t/>
              </a:r>
              <a:br>
                <a:rPr lang="en-US" altLang="en-US" sz="800" b="1" dirty="0" smtClean="0">
                  <a:solidFill>
                    <a:srgbClr val="000000">
                      <a:hueOff val="0"/>
                      <a:satOff val="0"/>
                      <a:lumOff val="0"/>
                      <a:alphaOff val="0"/>
                    </a:srgbClr>
                  </a:solidFill>
                </a:rPr>
              </a:br>
              <a:endParaRPr lang="de-DE" sz="800" dirty="0">
                <a:solidFill>
                  <a:srgbClr val="000000">
                    <a:hueOff val="0"/>
                    <a:satOff val="0"/>
                    <a:lumOff val="0"/>
                    <a:alphaOff val="0"/>
                  </a:srgbClr>
                </a:solidFill>
              </a:endParaRPr>
            </a:p>
          </p:txBody>
        </p:sp>
        <p:pic>
          <p:nvPicPr>
            <p:cNvPr id="333" name="Picture 3"/>
            <p:cNvPicPr>
              <a:picLocks noChangeAspect="1" noChangeArrowheads="1"/>
            </p:cNvPicPr>
            <p:nvPr/>
          </p:nvPicPr>
          <p:blipFill>
            <a:blip r:embed="rId13">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10801" y="5019430"/>
              <a:ext cx="493921" cy="447766"/>
            </a:xfrm>
            <a:prstGeom prst="rect">
              <a:avLst/>
            </a:prstGeom>
            <a:blipFill>
              <a:blip r:embed="rId3" cstate="email">
                <a:extLst>
                  <a:ext uri="{28A0092B-C50C-407E-A947-70E740481C1C}">
                    <a14:useLocalDpi xmlns:a14="http://schemas.microsoft.com/office/drawing/2010/main"/>
                  </a:ext>
                </a:extLst>
              </a:blip>
              <a:srcRect/>
              <a:stretch>
                <a:fillRect/>
              </a:stretch>
            </a:blipFill>
            <a:ln w="19050">
              <a:solidFill>
                <a:schemeClr val="accent3"/>
              </a:solidFill>
            </a:ln>
            <a:extLst/>
          </p:spPr>
        </p:pic>
        <p:sp>
          <p:nvSpPr>
            <p:cNvPr id="334" name="Rechteck 333"/>
            <p:cNvSpPr/>
            <p:nvPr/>
          </p:nvSpPr>
          <p:spPr>
            <a:xfrm>
              <a:off x="3679234" y="5162545"/>
              <a:ext cx="2062161" cy="443808"/>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35" name="Rechteck 334"/>
            <p:cNvSpPr/>
            <p:nvPr/>
          </p:nvSpPr>
          <p:spPr>
            <a:xfrm>
              <a:off x="3505936" y="5079372"/>
              <a:ext cx="2261168" cy="5076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spcAft>
                  <a:spcPct val="35000"/>
                </a:spcAft>
              </a:pPr>
              <a:r>
                <a:rPr lang="de-DE" sz="800" b="1" dirty="0">
                  <a:solidFill>
                    <a:srgbClr val="000000">
                      <a:hueOff val="0"/>
                      <a:satOff val="0"/>
                      <a:lumOff val="0"/>
                      <a:alphaOff val="0"/>
                    </a:srgbClr>
                  </a:solidFill>
                </a:rPr>
                <a:t>César Lia</a:t>
              </a:r>
              <a:r>
                <a:rPr lang="de-DE" sz="800" b="1" dirty="0"/>
                <a:t>ño </a:t>
              </a:r>
              <a:r>
                <a:rPr lang="de-DE" sz="800" b="1" dirty="0" smtClean="0"/>
                <a:t>Alonso         </a:t>
              </a:r>
              <a:r>
                <a:rPr lang="de-DE" sz="800" b="1" dirty="0" smtClean="0">
                  <a:solidFill>
                    <a:srgbClr val="000000">
                      <a:hueOff val="0"/>
                      <a:satOff val="0"/>
                      <a:lumOff val="0"/>
                      <a:alphaOff val="0"/>
                    </a:srgbClr>
                  </a:solidFill>
                </a:rPr>
                <a:t>             </a:t>
              </a:r>
              <a:r>
                <a:rPr lang="en-US" sz="800" dirty="0" err="1" smtClean="0">
                  <a:solidFill>
                    <a:srgbClr val="000000">
                      <a:hueOff val="0"/>
                      <a:satOff val="0"/>
                      <a:lumOff val="0"/>
                      <a:alphaOff val="0"/>
                    </a:srgbClr>
                  </a:solidFill>
                </a:rPr>
                <a:t>GoTeach</a:t>
              </a:r>
              <a:r>
                <a:rPr lang="en-US" sz="800" dirty="0" smtClean="0">
                  <a:solidFill>
                    <a:srgbClr val="000000">
                      <a:hueOff val="0"/>
                      <a:satOff val="0"/>
                      <a:lumOff val="0"/>
                      <a:alphaOff val="0"/>
                    </a:srgbClr>
                  </a:solidFill>
                </a:rPr>
                <a:t> Coordinator Spain</a:t>
              </a:r>
              <a:endParaRPr lang="de-DE" sz="800" dirty="0">
                <a:solidFill>
                  <a:srgbClr val="000000">
                    <a:hueOff val="0"/>
                    <a:satOff val="0"/>
                    <a:lumOff val="0"/>
                    <a:alphaOff val="0"/>
                  </a:srgbClr>
                </a:solidFill>
              </a:endParaRPr>
            </a:p>
          </p:txBody>
        </p:sp>
        <p:pic>
          <p:nvPicPr>
            <p:cNvPr id="336" name="Picture 2"/>
            <p:cNvPicPr>
              <a:picLocks noChangeAspect="1" noChangeArrowheads="1"/>
            </p:cNvPicPr>
            <p:nvPr/>
          </p:nvPicPr>
          <p:blipFill>
            <a:blip r:embed="rId15">
              <a:extLst>
                <a:ext uri="{BEBA8EAE-BF5A-486C-A8C5-ECC9F3942E4B}">
                  <a14:imgProps xmlns:a14="http://schemas.microsoft.com/office/drawing/2010/main">
                    <a14:imgLayer r:embed="rId1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495774" y="5019948"/>
              <a:ext cx="457119" cy="447247"/>
            </a:xfrm>
            <a:prstGeom prst="rect">
              <a:avLst/>
            </a:prstGeom>
            <a:blipFill>
              <a:blip r:embed="rId3" cstate="email">
                <a:extLst>
                  <a:ext uri="{28A0092B-C50C-407E-A947-70E740481C1C}">
                    <a14:useLocalDpi xmlns:a14="http://schemas.microsoft.com/office/drawing/2010/main"/>
                  </a:ext>
                </a:extLst>
              </a:blip>
              <a:srcRect/>
              <a:stretch>
                <a:fillRect/>
              </a:stretch>
            </a:blipFill>
            <a:ln w="19050">
              <a:solidFill>
                <a:schemeClr val="accent3"/>
              </a:solidFill>
            </a:ln>
            <a:extLst/>
          </p:spPr>
        </p:pic>
        <p:sp>
          <p:nvSpPr>
            <p:cNvPr id="337" name="Rechteck 336"/>
            <p:cNvSpPr/>
            <p:nvPr/>
          </p:nvSpPr>
          <p:spPr>
            <a:xfrm>
              <a:off x="3663178" y="2775268"/>
              <a:ext cx="2078217" cy="443805"/>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38" name="Rechteck 337"/>
            <p:cNvSpPr/>
            <p:nvPr/>
          </p:nvSpPr>
          <p:spPr>
            <a:xfrm>
              <a:off x="3505936" y="2779795"/>
              <a:ext cx="1890996" cy="42255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spcAft>
                  <a:spcPct val="35000"/>
                </a:spcAft>
              </a:pPr>
              <a:r>
                <a:rPr lang="en-US" altLang="en-US" sz="800" b="1" dirty="0" smtClean="0">
                  <a:solidFill>
                    <a:srgbClr val="000000">
                      <a:hueOff val="0"/>
                      <a:satOff val="0"/>
                      <a:lumOff val="0"/>
                      <a:alphaOff val="0"/>
                    </a:srgbClr>
                  </a:solidFill>
                </a:rPr>
                <a:t>Annette Mock                    </a:t>
              </a:r>
              <a:r>
                <a:rPr lang="en-US" altLang="en-US" sz="800" dirty="0" smtClean="0">
                  <a:solidFill>
                    <a:srgbClr val="000000">
                      <a:hueOff val="0"/>
                      <a:satOff val="0"/>
                      <a:lumOff val="0"/>
                      <a:alphaOff val="0"/>
                    </a:srgbClr>
                  </a:solidFill>
                </a:rPr>
                <a:t>Refugee Aid  programs Germany</a:t>
              </a:r>
            </a:p>
          </p:txBody>
        </p:sp>
        <p:pic>
          <p:nvPicPr>
            <p:cNvPr id="339" name="Picture 2"/>
            <p:cNvPicPr>
              <a:picLocks noChangeAspect="1" noChangeArrowheads="1"/>
            </p:cNvPicPr>
            <p:nvPr/>
          </p:nvPicPr>
          <p:blipFill rotWithShape="1">
            <a:blip r:embed="rId17">
              <a:duotone>
                <a:schemeClr val="accent2">
                  <a:shade val="45000"/>
                  <a:satMod val="135000"/>
                </a:schemeClr>
                <a:prstClr val="white"/>
              </a:duotone>
              <a:extLst>
                <a:ext uri="{BEBA8EAE-BF5A-486C-A8C5-ECC9F3942E4B}">
                  <a14:imgProps xmlns:a14="http://schemas.microsoft.com/office/drawing/2010/main">
                    <a14:imgLayer r:embed="rId18">
                      <a14:imgEffect>
                        <a14:saturation sat="0"/>
                      </a14:imgEffect>
                    </a14:imgLayer>
                  </a14:imgProps>
                </a:ext>
                <a:ext uri="{28A0092B-C50C-407E-A947-70E740481C1C}">
                  <a14:useLocalDpi xmlns:a14="http://schemas.microsoft.com/office/drawing/2010/main" val="0"/>
                </a:ext>
              </a:extLst>
            </a:blip>
            <a:srcRect l="20827" r="37124" b="12621"/>
            <a:stretch/>
          </p:blipFill>
          <p:spPr bwMode="auto">
            <a:xfrm>
              <a:off x="3490251" y="2524513"/>
              <a:ext cx="462640" cy="533304"/>
            </a:xfrm>
            <a:prstGeom prst="rect">
              <a:avLst/>
            </a:prstGeom>
            <a:blipFill>
              <a:blip r:embed="rId3"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a:blipFill>
            <a:ln w="19050">
              <a:solidFill>
                <a:schemeClr val="accent3"/>
              </a:solidFill>
            </a:ln>
            <a:extLst/>
          </p:spPr>
        </p:pic>
        <p:pic>
          <p:nvPicPr>
            <p:cNvPr id="340" name="Picture 2" descr="R:\65 ORG UNITS\FDC\06 LEADERSHIP GIVING\Team\Team photos\SNo.jpg"/>
            <p:cNvPicPr>
              <a:picLocks noChangeAspect="1" noChangeArrowheads="1"/>
            </p:cNvPicPr>
            <p:nvPr/>
          </p:nvPicPr>
          <p:blipFill rotWithShape="1">
            <a:blip r:embed="rId19" cstate="print">
              <a:extLst>
                <a:ext uri="{BEBA8EAE-BF5A-486C-A8C5-ECC9F3942E4B}">
                  <a14:imgProps xmlns:a14="http://schemas.microsoft.com/office/drawing/2010/main">
                    <a14:imgLayer r:embed="rId20">
                      <a14:imgEffect>
                        <a14:saturation sat="0"/>
                      </a14:imgEffect>
                    </a14:imgLayer>
                  </a14:imgProps>
                </a:ext>
                <a:ext uri="{28A0092B-C50C-407E-A947-70E740481C1C}">
                  <a14:useLocalDpi xmlns:a14="http://schemas.microsoft.com/office/drawing/2010/main" val="0"/>
                </a:ext>
              </a:extLst>
            </a:blip>
            <a:srcRect l="15582" t="8133" b="31494"/>
            <a:stretch/>
          </p:blipFill>
          <p:spPr bwMode="auto">
            <a:xfrm>
              <a:off x="6063932" y="1991149"/>
              <a:ext cx="542357" cy="495309"/>
            </a:xfrm>
            <a:prstGeom prst="rect">
              <a:avLst/>
            </a:prstGeom>
            <a:noFill/>
            <a:ln w="19050">
              <a:solidFill>
                <a:schemeClr val="accent3"/>
              </a:solidFill>
            </a:ln>
            <a:extLst>
              <a:ext uri="{909E8E84-426E-40DD-AFC4-6F175D3DCCD1}">
                <a14:hiddenFill xmlns:a14="http://schemas.microsoft.com/office/drawing/2010/main">
                  <a:solidFill>
                    <a:srgbClr val="FFFFFF"/>
                  </a:solidFill>
                </a14:hiddenFill>
              </a:ext>
            </a:extLst>
          </p:spPr>
        </p:pic>
        <p:sp>
          <p:nvSpPr>
            <p:cNvPr id="341" name="Rechteck 340"/>
            <p:cNvSpPr/>
            <p:nvPr/>
          </p:nvSpPr>
          <p:spPr>
            <a:xfrm>
              <a:off x="6137475" y="2243193"/>
              <a:ext cx="2255394" cy="44380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pPr>
              <a:r>
                <a:rPr lang="en-US" altLang="en-US" sz="800" b="1" dirty="0">
                  <a:solidFill>
                    <a:srgbClr val="000000">
                      <a:hueOff val="0"/>
                      <a:satOff val="0"/>
                      <a:lumOff val="0"/>
                      <a:alphaOff val="0"/>
                    </a:srgbClr>
                  </a:solidFill>
                </a:rPr>
                <a:t>Susanne Novotny</a:t>
              </a:r>
            </a:p>
            <a:p>
              <a:pPr defTabSz="444500">
                <a:lnSpc>
                  <a:spcPct val="90000"/>
                </a:lnSpc>
                <a:spcBef>
                  <a:spcPct val="0"/>
                </a:spcBef>
              </a:pPr>
              <a:r>
                <a:rPr lang="en-US" altLang="en-US" sz="800" dirty="0">
                  <a:solidFill>
                    <a:srgbClr val="000000">
                      <a:hueOff val="0"/>
                      <a:satOff val="0"/>
                      <a:lumOff val="0"/>
                      <a:alphaOff val="0"/>
                    </a:srgbClr>
                  </a:solidFill>
                </a:rPr>
                <a:t>DPDHL Group </a:t>
              </a:r>
              <a:r>
                <a:rPr lang="en-US" altLang="en-US" sz="800" dirty="0" smtClean="0">
                  <a:solidFill>
                    <a:srgbClr val="000000">
                      <a:hueOff val="0"/>
                      <a:satOff val="0"/>
                      <a:lumOff val="0"/>
                      <a:alphaOff val="0"/>
                    </a:srgbClr>
                  </a:solidFill>
                </a:rPr>
                <a:t>Partnership Manager</a:t>
              </a:r>
            </a:p>
            <a:p>
              <a:pPr defTabSz="444500">
                <a:lnSpc>
                  <a:spcPct val="90000"/>
                </a:lnSpc>
                <a:spcBef>
                  <a:spcPct val="0"/>
                </a:spcBef>
              </a:pPr>
              <a:r>
                <a:rPr lang="en-US" altLang="en-US" sz="800" dirty="0" smtClean="0">
                  <a:solidFill>
                    <a:srgbClr val="000000">
                      <a:hueOff val="0"/>
                      <a:satOff val="0"/>
                      <a:lumOff val="0"/>
                      <a:alphaOff val="0"/>
                    </a:srgbClr>
                  </a:solidFill>
                </a:rPr>
                <a:t>SOS CV </a:t>
              </a:r>
              <a:r>
                <a:rPr lang="en-US" altLang="en-US" sz="800" dirty="0">
                  <a:solidFill>
                    <a:srgbClr val="000000">
                      <a:hueOff val="0"/>
                      <a:satOff val="0"/>
                      <a:lumOff val="0"/>
                      <a:alphaOff val="0"/>
                    </a:srgbClr>
                  </a:solidFill>
                </a:rPr>
                <a:t>International</a:t>
              </a:r>
            </a:p>
          </p:txBody>
        </p:sp>
        <p:pic>
          <p:nvPicPr>
            <p:cNvPr id="342" name="Picture 2" descr="https://nepal2018.teachforall.org/sites/gc2016/files/styles/speaker__140x175_/public/91._chirlie_felix.jpg?itok=gbNnazjr"/>
            <p:cNvPicPr>
              <a:picLocks noChangeAspect="1" noChangeArrowheads="1"/>
            </p:cNvPicPr>
            <p:nvPr/>
          </p:nvPicPr>
          <p:blipFill>
            <a:blip r:embed="rId21">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063036" y="2796712"/>
              <a:ext cx="467735" cy="496737"/>
            </a:xfrm>
            <a:prstGeom prst="rect">
              <a:avLst/>
            </a:prstGeom>
            <a:noFill/>
            <a:ln w="19050">
              <a:solidFill>
                <a:schemeClr val="accent3">
                  <a:hueOff val="0"/>
                  <a:satOff val="0"/>
                  <a:lumOff val="0"/>
                  <a:shade val="95000"/>
                  <a:satMod val="105000"/>
                </a:schemeClr>
              </a:solidFill>
            </a:ln>
            <a:extLst>
              <a:ext uri="{909E8E84-426E-40DD-AFC4-6F175D3DCCD1}">
                <a14:hiddenFill xmlns:a14="http://schemas.microsoft.com/office/drawing/2010/main">
                  <a:solidFill>
                    <a:srgbClr val="FFFFFF"/>
                  </a:solidFill>
                </a14:hiddenFill>
              </a:ext>
            </a:extLst>
          </p:spPr>
        </p:pic>
        <p:sp>
          <p:nvSpPr>
            <p:cNvPr id="343" name="Rechteck 342"/>
            <p:cNvSpPr/>
            <p:nvPr/>
          </p:nvSpPr>
          <p:spPr>
            <a:xfrm>
              <a:off x="6145416" y="3062203"/>
              <a:ext cx="2247453" cy="44380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pPr>
              <a:r>
                <a:rPr lang="en-US" altLang="en-US" sz="800" b="1" dirty="0" smtClean="0">
                  <a:solidFill>
                    <a:srgbClr val="000000">
                      <a:hueOff val="0"/>
                      <a:satOff val="0"/>
                      <a:lumOff val="0"/>
                      <a:alphaOff val="0"/>
                    </a:srgbClr>
                  </a:solidFill>
                </a:rPr>
                <a:t>Chirlie Felix</a:t>
              </a:r>
              <a:endParaRPr lang="en-US" altLang="en-US" sz="800" b="1" dirty="0">
                <a:solidFill>
                  <a:srgbClr val="000000">
                    <a:hueOff val="0"/>
                    <a:satOff val="0"/>
                    <a:lumOff val="0"/>
                    <a:alphaOff val="0"/>
                  </a:srgbClr>
                </a:solidFill>
              </a:endParaRPr>
            </a:p>
            <a:p>
              <a:pPr defTabSz="444500">
                <a:lnSpc>
                  <a:spcPct val="90000"/>
                </a:lnSpc>
                <a:spcBef>
                  <a:spcPct val="0"/>
                </a:spcBef>
              </a:pPr>
              <a:r>
                <a:rPr lang="en-US" altLang="en-US" sz="800" dirty="0">
                  <a:solidFill>
                    <a:srgbClr val="000000">
                      <a:hueOff val="0"/>
                      <a:satOff val="0"/>
                      <a:lumOff val="0"/>
                      <a:alphaOff val="0"/>
                    </a:srgbClr>
                  </a:solidFill>
                </a:rPr>
                <a:t>DPDHL Group Partnership </a:t>
              </a:r>
              <a:r>
                <a:rPr lang="en-US" altLang="en-US" sz="800" dirty="0" smtClean="0">
                  <a:solidFill>
                    <a:srgbClr val="000000">
                      <a:hueOff val="0"/>
                      <a:satOff val="0"/>
                      <a:lumOff val="0"/>
                      <a:alphaOff val="0"/>
                    </a:srgbClr>
                  </a:solidFill>
                </a:rPr>
                <a:t>Manager</a:t>
              </a:r>
              <a:endParaRPr lang="en-US" altLang="en-US" sz="800" dirty="0">
                <a:solidFill>
                  <a:srgbClr val="000000">
                    <a:hueOff val="0"/>
                    <a:satOff val="0"/>
                    <a:lumOff val="0"/>
                    <a:alphaOff val="0"/>
                  </a:srgbClr>
                </a:solidFill>
              </a:endParaRPr>
            </a:p>
            <a:p>
              <a:pPr defTabSz="444500">
                <a:lnSpc>
                  <a:spcPct val="90000"/>
                </a:lnSpc>
                <a:spcBef>
                  <a:spcPct val="0"/>
                </a:spcBef>
              </a:pPr>
              <a:r>
                <a:rPr lang="en-US" altLang="en-US" sz="800" dirty="0" smtClean="0">
                  <a:solidFill>
                    <a:srgbClr val="000000">
                      <a:hueOff val="0"/>
                      <a:satOff val="0"/>
                      <a:lumOff val="0"/>
                      <a:alphaOff val="0"/>
                    </a:srgbClr>
                  </a:solidFill>
                </a:rPr>
                <a:t>Teach For All</a:t>
              </a:r>
              <a:endParaRPr lang="en-US" altLang="en-US" sz="800" dirty="0">
                <a:solidFill>
                  <a:srgbClr val="000000">
                    <a:hueOff val="0"/>
                    <a:satOff val="0"/>
                    <a:lumOff val="0"/>
                    <a:alphaOff val="0"/>
                  </a:srgbClr>
                </a:solidFill>
              </a:endParaRPr>
            </a:p>
          </p:txBody>
        </p:sp>
        <p:sp>
          <p:nvSpPr>
            <p:cNvPr id="344" name="Rechteck 343"/>
            <p:cNvSpPr/>
            <p:nvPr/>
          </p:nvSpPr>
          <p:spPr bwMode="auto">
            <a:xfrm>
              <a:off x="570327" y="1931287"/>
              <a:ext cx="7923018" cy="1608794"/>
            </a:xfrm>
            <a:prstGeom prst="rect">
              <a:avLst/>
            </a:prstGeom>
            <a:noFill/>
            <a:ln w="12700" cap="flat" cmpd="sng" algn="ctr">
              <a:solidFill>
                <a:schemeClr val="accent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smtClean="0">
                <a:solidFill>
                  <a:srgbClr val="969696"/>
                </a:solidFill>
              </a:endParaRPr>
            </a:p>
          </p:txBody>
        </p:sp>
        <p:sp>
          <p:nvSpPr>
            <p:cNvPr id="345" name="Rechteck 344"/>
            <p:cNvSpPr/>
            <p:nvPr/>
          </p:nvSpPr>
          <p:spPr bwMode="auto">
            <a:xfrm>
              <a:off x="570327" y="3567412"/>
              <a:ext cx="7924529" cy="1303678"/>
            </a:xfrm>
            <a:prstGeom prst="rect">
              <a:avLst/>
            </a:prstGeom>
            <a:noFill/>
            <a:ln w="12700" cap="flat" cmpd="sng" algn="ctr">
              <a:solidFill>
                <a:schemeClr val="accent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smtClean="0">
                <a:solidFill>
                  <a:srgbClr val="969696"/>
                </a:solidFill>
              </a:endParaRPr>
            </a:p>
          </p:txBody>
        </p:sp>
        <p:sp>
          <p:nvSpPr>
            <p:cNvPr id="346" name="Rechteck 345"/>
            <p:cNvSpPr/>
            <p:nvPr/>
          </p:nvSpPr>
          <p:spPr bwMode="auto">
            <a:xfrm>
              <a:off x="570327" y="4901122"/>
              <a:ext cx="7930357" cy="994853"/>
            </a:xfrm>
            <a:prstGeom prst="rect">
              <a:avLst/>
            </a:prstGeom>
            <a:noFill/>
            <a:ln w="12700" cap="flat" cmpd="sng" algn="ctr">
              <a:solidFill>
                <a:schemeClr val="accent1"/>
              </a:solid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defTabSz="995363" eaLnBrk="0" fontAlgn="base" hangingPunct="0">
                <a:spcBef>
                  <a:spcPct val="0"/>
                </a:spcBef>
                <a:spcAft>
                  <a:spcPct val="0"/>
                </a:spcAft>
              </a:pPr>
              <a:endParaRPr lang="de-DE" sz="1400" dirty="0" err="1" smtClean="0">
                <a:solidFill>
                  <a:srgbClr val="969696"/>
                </a:solidFill>
              </a:endParaRPr>
            </a:p>
          </p:txBody>
        </p:sp>
        <p:sp>
          <p:nvSpPr>
            <p:cNvPr id="347" name="Textfeld 346"/>
            <p:cNvSpPr txBox="1"/>
            <p:nvPr/>
          </p:nvSpPr>
          <p:spPr>
            <a:xfrm rot="16200000">
              <a:off x="-83748" y="2626390"/>
              <a:ext cx="1608795" cy="218586"/>
            </a:xfrm>
            <a:prstGeom prst="rect">
              <a:avLst/>
            </a:prstGeom>
            <a:noFill/>
          </p:spPr>
          <p:txBody>
            <a:bodyPr wrap="square" lIns="0" tIns="0" rIns="0" bIns="0" rtlCol="0">
              <a:spAutoFit/>
            </a:bodyPr>
            <a:lstStyle/>
            <a:p>
              <a:pPr algn="ctr">
                <a:lnSpc>
                  <a:spcPct val="110000"/>
                </a:lnSpc>
                <a:spcAft>
                  <a:spcPts val="500"/>
                </a:spcAft>
              </a:pPr>
              <a:r>
                <a:rPr lang="de-DE" sz="1400" b="1" dirty="0" smtClean="0">
                  <a:solidFill>
                    <a:srgbClr val="969696"/>
                  </a:solidFill>
                </a:rPr>
                <a:t>GLOBAL</a:t>
              </a:r>
            </a:p>
          </p:txBody>
        </p:sp>
        <p:sp>
          <p:nvSpPr>
            <p:cNvPr id="348" name="Textfeld 347"/>
            <p:cNvSpPr txBox="1"/>
            <p:nvPr/>
          </p:nvSpPr>
          <p:spPr>
            <a:xfrm rot="16200000">
              <a:off x="66479" y="4105325"/>
              <a:ext cx="1308341" cy="218586"/>
            </a:xfrm>
            <a:prstGeom prst="rect">
              <a:avLst/>
            </a:prstGeom>
            <a:noFill/>
          </p:spPr>
          <p:txBody>
            <a:bodyPr wrap="square" lIns="0" tIns="0" rIns="0" bIns="0" rtlCol="0">
              <a:spAutoFit/>
            </a:bodyPr>
            <a:lstStyle/>
            <a:p>
              <a:pPr algn="ctr">
                <a:lnSpc>
                  <a:spcPct val="110000"/>
                </a:lnSpc>
                <a:spcAft>
                  <a:spcPts val="500"/>
                </a:spcAft>
              </a:pPr>
              <a:r>
                <a:rPr lang="de-DE" sz="1400" b="1" dirty="0" smtClean="0">
                  <a:solidFill>
                    <a:srgbClr val="969696"/>
                  </a:solidFill>
                </a:rPr>
                <a:t>REGIONAL</a:t>
              </a:r>
            </a:p>
          </p:txBody>
        </p:sp>
        <p:sp>
          <p:nvSpPr>
            <p:cNvPr id="349" name="Textfeld 348"/>
            <p:cNvSpPr txBox="1"/>
            <p:nvPr/>
          </p:nvSpPr>
          <p:spPr>
            <a:xfrm rot="16200000">
              <a:off x="-83748" y="5284815"/>
              <a:ext cx="1608795" cy="218586"/>
            </a:xfrm>
            <a:prstGeom prst="rect">
              <a:avLst/>
            </a:prstGeom>
            <a:noFill/>
          </p:spPr>
          <p:txBody>
            <a:bodyPr wrap="square" lIns="0" tIns="0" rIns="0" bIns="0" rtlCol="0">
              <a:spAutoFit/>
            </a:bodyPr>
            <a:lstStyle/>
            <a:p>
              <a:pPr algn="ctr">
                <a:lnSpc>
                  <a:spcPct val="110000"/>
                </a:lnSpc>
                <a:spcAft>
                  <a:spcPts val="500"/>
                </a:spcAft>
              </a:pPr>
              <a:r>
                <a:rPr lang="de-DE" sz="1400" b="1" dirty="0" smtClean="0">
                  <a:solidFill>
                    <a:srgbClr val="969696"/>
                  </a:solidFill>
                </a:rPr>
                <a:t>NATIONAL</a:t>
              </a:r>
            </a:p>
          </p:txBody>
        </p:sp>
        <p:sp>
          <p:nvSpPr>
            <p:cNvPr id="350" name="Rechteck 349"/>
            <p:cNvSpPr/>
            <p:nvPr/>
          </p:nvSpPr>
          <p:spPr>
            <a:xfrm>
              <a:off x="3505935" y="4425780"/>
              <a:ext cx="2009913" cy="5076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144000" bIns="38100" numCol="1" spcCol="1270" anchor="ctr" anchorCtr="0">
              <a:noAutofit/>
            </a:bodyPr>
            <a:lstStyle/>
            <a:p>
              <a:pPr defTabSz="444500">
                <a:lnSpc>
                  <a:spcPct val="90000"/>
                </a:lnSpc>
                <a:spcBef>
                  <a:spcPct val="0"/>
                </a:spcBef>
                <a:spcAft>
                  <a:spcPct val="35000"/>
                </a:spcAft>
              </a:pPr>
              <a:r>
                <a:rPr lang="en-US" sz="800" b="1" dirty="0" err="1" smtClean="0">
                  <a:solidFill>
                    <a:srgbClr val="000000">
                      <a:hueOff val="0"/>
                      <a:satOff val="0"/>
                      <a:lumOff val="0"/>
                      <a:alphaOff val="0"/>
                    </a:srgbClr>
                  </a:solidFill>
                </a:rPr>
                <a:t>Najwa</a:t>
              </a:r>
              <a:r>
                <a:rPr lang="en-US" sz="800" b="1" dirty="0" smtClean="0">
                  <a:solidFill>
                    <a:srgbClr val="000000">
                      <a:hueOff val="0"/>
                      <a:satOff val="0"/>
                      <a:lumOff val="0"/>
                      <a:alphaOff val="0"/>
                    </a:srgbClr>
                  </a:solidFill>
                </a:rPr>
                <a:t> </a:t>
              </a:r>
              <a:r>
                <a:rPr lang="en-US" sz="800" b="1" dirty="0" err="1" smtClean="0">
                  <a:solidFill>
                    <a:srgbClr val="000000">
                      <a:hueOff val="0"/>
                      <a:satOff val="0"/>
                      <a:lumOff val="0"/>
                      <a:alphaOff val="0"/>
                    </a:srgbClr>
                  </a:solidFill>
                </a:rPr>
                <a:t>Raslan</a:t>
              </a:r>
              <a:r>
                <a:rPr lang="en-US" altLang="en-US" sz="800" b="1" dirty="0" smtClean="0">
                  <a:solidFill>
                    <a:srgbClr val="000000">
                      <a:hueOff val="0"/>
                      <a:satOff val="0"/>
                      <a:lumOff val="0"/>
                      <a:alphaOff val="0"/>
                    </a:srgbClr>
                  </a:solidFill>
                </a:rPr>
                <a:t>                                  </a:t>
              </a:r>
              <a:r>
                <a:rPr lang="en-US" altLang="en-US" sz="800" dirty="0" smtClean="0">
                  <a:solidFill>
                    <a:srgbClr val="000000">
                      <a:hueOff val="0"/>
                      <a:satOff val="0"/>
                      <a:lumOff val="0"/>
                      <a:alphaOff val="0"/>
                    </a:srgbClr>
                  </a:solidFill>
                </a:rPr>
                <a:t>GoTeach Program Manager MENA</a:t>
              </a:r>
              <a:br>
                <a:rPr lang="en-US" altLang="en-US" sz="800" dirty="0" smtClean="0">
                  <a:solidFill>
                    <a:srgbClr val="000000">
                      <a:hueOff val="0"/>
                      <a:satOff val="0"/>
                      <a:lumOff val="0"/>
                      <a:alphaOff val="0"/>
                    </a:srgbClr>
                  </a:solidFill>
                </a:rPr>
              </a:br>
              <a:endParaRPr lang="en-US" sz="800" dirty="0">
                <a:solidFill>
                  <a:srgbClr val="000000">
                    <a:hueOff val="0"/>
                    <a:satOff val="0"/>
                    <a:lumOff val="0"/>
                    <a:alphaOff val="0"/>
                  </a:srgbClr>
                </a:solidFill>
              </a:endParaRPr>
            </a:p>
          </p:txBody>
        </p:sp>
        <p:pic>
          <p:nvPicPr>
            <p:cNvPr id="351" name="Picture 2" descr="https://mynet.dpdhl.com/image/user_male_portrait?img_id=15209972&amp;t=1556187335102"/>
            <p:cNvPicPr>
              <a:picLocks noChangeAspect="1" noChangeArrowheads="1"/>
            </p:cNvPicPr>
            <p:nvPr/>
          </p:nvPicPr>
          <p:blipFill>
            <a:blip r:embed="rId23">
              <a:extLst>
                <a:ext uri="{BEBA8EAE-BF5A-486C-A8C5-ECC9F3942E4B}">
                  <a14:imgProps xmlns:a14="http://schemas.microsoft.com/office/drawing/2010/main">
                    <a14:imgLayer r:embed="rId2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470375" y="4253569"/>
              <a:ext cx="464400" cy="464400"/>
            </a:xfrm>
            <a:prstGeom prst="rect">
              <a:avLst/>
            </a:prstGeom>
            <a:noFill/>
            <a:ln w="19050">
              <a:solidFill>
                <a:schemeClr val="accent3"/>
              </a:solidFill>
            </a:ln>
            <a:extLst>
              <a:ext uri="{909E8E84-426E-40DD-AFC4-6F175D3DCCD1}">
                <a14:hiddenFill xmlns:a14="http://schemas.microsoft.com/office/drawing/2010/main">
                  <a:solidFill>
                    <a:srgbClr val="FFFFFF"/>
                  </a:solidFill>
                </a14:hiddenFill>
              </a:ext>
            </a:extLst>
          </p:spPr>
        </p:pic>
        <p:sp>
          <p:nvSpPr>
            <p:cNvPr id="352" name="Rechteck 351"/>
            <p:cNvSpPr/>
            <p:nvPr/>
          </p:nvSpPr>
          <p:spPr>
            <a:xfrm>
              <a:off x="6240612" y="5151353"/>
              <a:ext cx="2062161" cy="443808"/>
            </a:xfrm>
            <a:prstGeom prst="rect">
              <a:avLst/>
            </a:prstGeom>
          </p:spPr>
          <p:style>
            <a:lnRef idx="1">
              <a:schemeClr val="accent3">
                <a:hueOff val="0"/>
                <a:satOff val="0"/>
                <a:lumOff val="0"/>
                <a:alphaOff val="0"/>
              </a:schemeClr>
            </a:lnRef>
            <a:fillRef idx="1">
              <a:schemeClr val="accent3">
                <a:alpha val="40000"/>
                <a:tint val="40000"/>
                <a:hueOff val="0"/>
                <a:satOff val="0"/>
                <a:lumOff val="0"/>
                <a:alphaOff val="0"/>
              </a:schemeClr>
            </a:fillRef>
            <a:effectRef idx="0">
              <a:schemeClr val="accent3">
                <a:alpha val="40000"/>
                <a:tint val="40000"/>
                <a:hueOff val="0"/>
                <a:satOff val="0"/>
                <a:lumOff val="0"/>
                <a:alphaOff val="0"/>
              </a:schemeClr>
            </a:effectRef>
            <a:fontRef idx="minor">
              <a:schemeClr val="dk1">
                <a:hueOff val="0"/>
                <a:satOff val="0"/>
                <a:lumOff val="0"/>
                <a:alphaOff val="0"/>
              </a:schemeClr>
            </a:fontRef>
          </p:style>
        </p:sp>
        <p:sp>
          <p:nvSpPr>
            <p:cNvPr id="353" name="Rechteck 352"/>
            <p:cNvSpPr/>
            <p:nvPr/>
          </p:nvSpPr>
          <p:spPr>
            <a:xfrm>
              <a:off x="6046341" y="5079372"/>
              <a:ext cx="2135485" cy="50760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59169" tIns="38100" rIns="38100" bIns="38100" numCol="1" spcCol="1270" anchor="ctr" anchorCtr="0">
              <a:noAutofit/>
            </a:bodyPr>
            <a:lstStyle/>
            <a:p>
              <a:pPr defTabSz="444500">
                <a:lnSpc>
                  <a:spcPct val="90000"/>
                </a:lnSpc>
                <a:spcBef>
                  <a:spcPct val="0"/>
                </a:spcBef>
                <a:spcAft>
                  <a:spcPct val="35000"/>
                </a:spcAft>
              </a:pPr>
              <a:r>
                <a:rPr lang="de-DE" sz="800" b="1" dirty="0" smtClean="0">
                  <a:solidFill>
                    <a:srgbClr val="000000">
                      <a:hueOff val="0"/>
                      <a:satOff val="0"/>
                      <a:lumOff val="0"/>
                      <a:alphaOff val="0"/>
                    </a:srgbClr>
                  </a:solidFill>
                </a:rPr>
                <a:t>Alex Hislop                                   </a:t>
              </a:r>
              <a:r>
                <a:rPr lang="en-US" sz="800" dirty="0" err="1" smtClean="0">
                  <a:solidFill>
                    <a:srgbClr val="000000">
                      <a:hueOff val="0"/>
                      <a:satOff val="0"/>
                      <a:lumOff val="0"/>
                      <a:alphaOff val="0"/>
                    </a:srgbClr>
                  </a:solidFill>
                </a:rPr>
                <a:t>GoTeach</a:t>
              </a:r>
              <a:r>
                <a:rPr lang="en-US" sz="800" dirty="0" smtClean="0">
                  <a:solidFill>
                    <a:srgbClr val="000000">
                      <a:hueOff val="0"/>
                      <a:satOff val="0"/>
                      <a:lumOff val="0"/>
                      <a:alphaOff val="0"/>
                    </a:srgbClr>
                  </a:solidFill>
                </a:rPr>
                <a:t> Coordinator Sweden / Nordics</a:t>
              </a:r>
              <a:endParaRPr lang="de-DE" sz="800" dirty="0">
                <a:solidFill>
                  <a:srgbClr val="000000">
                    <a:hueOff val="0"/>
                    <a:satOff val="0"/>
                    <a:lumOff val="0"/>
                    <a:alphaOff val="0"/>
                  </a:srgbClr>
                </a:solidFill>
              </a:endParaRPr>
            </a:p>
          </p:txBody>
        </p:sp>
        <p:pic>
          <p:nvPicPr>
            <p:cNvPr id="354" name="Picture 3"/>
            <p:cNvPicPr>
              <a:picLocks noChangeAspect="1" noChangeArrowheads="1"/>
            </p:cNvPicPr>
            <p:nvPr/>
          </p:nvPicPr>
          <p:blipFill>
            <a:blip r:embed="rId25">
              <a:extLst>
                <a:ext uri="{BEBA8EAE-BF5A-486C-A8C5-ECC9F3942E4B}">
                  <a14:imgProps xmlns:a14="http://schemas.microsoft.com/office/drawing/2010/main">
                    <a14:imgLayer r:embed="rId2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071208" y="5012903"/>
              <a:ext cx="421600" cy="446400"/>
            </a:xfrm>
            <a:prstGeom prst="rect">
              <a:avLst/>
            </a:prstGeom>
            <a:blipFill>
              <a:blip r:embed="rId3" cstate="email">
                <a:extLst>
                  <a:ext uri="{28A0092B-C50C-407E-A947-70E740481C1C}">
                    <a14:useLocalDpi xmlns:a14="http://schemas.microsoft.com/office/drawing/2010/main"/>
                  </a:ext>
                </a:extLst>
              </a:blip>
              <a:srcRect/>
              <a:stretch>
                <a:fillRect/>
              </a:stretch>
            </a:blipFill>
            <a:ln w="19050">
              <a:solidFill>
                <a:schemeClr val="accent3"/>
              </a:solidFill>
            </a:ln>
            <a:extLst/>
          </p:spPr>
        </p:pic>
      </p:grpSp>
    </p:spTree>
    <p:extLst>
      <p:ext uri="{BB962C8B-B14F-4D97-AF65-F5344CB8AC3E}">
        <p14:creationId xmlns:p14="http://schemas.microsoft.com/office/powerpoint/2010/main" val="29765234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7"/>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5556" r="5556"/>
          <a:stretch>
            <a:fillRect/>
          </a:stretch>
        </p:blipFill>
        <p:spPr/>
      </p:pic>
      <p:sp>
        <p:nvSpPr>
          <p:cNvPr id="3" name="Textplatzhalter 2"/>
          <p:cNvSpPr>
            <a:spLocks noGrp="1"/>
          </p:cNvSpPr>
          <p:nvPr>
            <p:ph type="body" sz="quarter" idx="11"/>
          </p:nvPr>
        </p:nvSpPr>
        <p:spPr>
          <a:xfrm>
            <a:off x="414000" y="4804864"/>
            <a:ext cx="5302037" cy="1451474"/>
          </a:xfrm>
        </p:spPr>
        <p:txBody>
          <a:bodyPr/>
          <a:lstStyle/>
          <a:p>
            <a:r>
              <a:rPr lang="en-US" dirty="0"/>
              <a:t>“I want to become an independent woman.” – </a:t>
            </a:r>
            <a:r>
              <a:rPr lang="en-US" dirty="0" err="1"/>
              <a:t>Sonali</a:t>
            </a:r>
            <a:r>
              <a:rPr lang="en-US" dirty="0" smtClean="0"/>
              <a:t>, </a:t>
            </a:r>
            <a:r>
              <a:rPr lang="en-US" dirty="0"/>
              <a:t>Mumbai</a:t>
            </a:r>
            <a:endParaRPr lang="de-DE" dirty="0"/>
          </a:p>
        </p:txBody>
      </p:sp>
      <p:sp>
        <p:nvSpPr>
          <p:cNvPr id="6" name="Textplatzhalter 5"/>
          <p:cNvSpPr>
            <a:spLocks noGrp="1"/>
          </p:cNvSpPr>
          <p:nvPr>
            <p:ph type="body" sz="quarter" idx="19"/>
          </p:nvPr>
        </p:nvSpPr>
        <p:spPr>
          <a:xfrm>
            <a:off x="414000" y="0"/>
            <a:ext cx="65" cy="222108"/>
          </a:xfrm>
        </p:spPr>
        <p:txBody>
          <a:bodyPr/>
          <a:lstStyle/>
          <a:p>
            <a:endParaRPr lang="de-DE" dirty="0"/>
          </a:p>
        </p:txBody>
      </p:sp>
    </p:spTree>
    <p:extLst>
      <p:ext uri="{BB962C8B-B14F-4D97-AF65-F5344CB8AC3E}">
        <p14:creationId xmlns:p14="http://schemas.microsoft.com/office/powerpoint/2010/main" val="13573609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31"/>
          </p:nvPr>
        </p:nvSpPr>
        <p:spPr/>
        <p:txBody>
          <a:bodyPr/>
          <a:lstStyle/>
          <a:p>
            <a:r>
              <a:rPr lang="en-US" dirty="0" err="1" smtClean="0"/>
              <a:t>GoTeach</a:t>
            </a:r>
            <a:r>
              <a:rPr lang="en-US" dirty="0" smtClean="0"/>
              <a:t> | October 2019</a:t>
            </a:r>
          </a:p>
        </p:txBody>
      </p:sp>
      <p:sp>
        <p:nvSpPr>
          <p:cNvPr id="3" name="Titel 2"/>
          <p:cNvSpPr>
            <a:spLocks noGrp="1"/>
          </p:cNvSpPr>
          <p:nvPr>
            <p:ph type="title"/>
          </p:nvPr>
        </p:nvSpPr>
        <p:spPr/>
        <p:txBody>
          <a:bodyPr/>
          <a:lstStyle/>
          <a:p>
            <a:r>
              <a:rPr lang="de-DE" dirty="0" err="1"/>
              <a:t>GoTeach</a:t>
            </a:r>
            <a:r>
              <a:rPr lang="de-DE" dirty="0"/>
              <a:t> – The </a:t>
            </a:r>
            <a:r>
              <a:rPr lang="de-DE" dirty="0" smtClean="0"/>
              <a:t>Challenge</a:t>
            </a:r>
            <a:endParaRPr lang="de-DE" dirty="0"/>
          </a:p>
        </p:txBody>
      </p:sp>
      <p:sp>
        <p:nvSpPr>
          <p:cNvPr id="5" name="Text Placeholder 28"/>
          <p:cNvSpPr txBox="1">
            <a:spLocks/>
          </p:cNvSpPr>
          <p:nvPr/>
        </p:nvSpPr>
        <p:spPr>
          <a:xfrm>
            <a:off x="458475" y="1252874"/>
            <a:ext cx="8315325" cy="549267"/>
          </a:xfrm>
          <a:prstGeom prst="rect">
            <a:avLst/>
          </a:prstGeom>
        </p:spPr>
        <p:txBody>
          <a:bodyPr vert="horz" lIns="0" tIns="0" rIns="0" bIns="0" rtlCol="0">
            <a:no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1" dirty="0" smtClean="0">
                <a:latin typeface="+mj-lt"/>
              </a:rPr>
              <a:t>More than 64 </a:t>
            </a:r>
            <a:r>
              <a:rPr lang="en-US" sz="1600" b="1" dirty="0">
                <a:latin typeface="+mj-lt"/>
              </a:rPr>
              <a:t>million young people worldwide are </a:t>
            </a:r>
            <a:r>
              <a:rPr lang="en-US" sz="1600" b="1" dirty="0" smtClean="0">
                <a:latin typeface="+mj-lt"/>
              </a:rPr>
              <a:t>unemployed. Many </a:t>
            </a:r>
            <a:r>
              <a:rPr lang="en-US" sz="1600" b="1" dirty="0">
                <a:latin typeface="+mj-lt"/>
              </a:rPr>
              <a:t>more do not earn enough to build a stable, independent </a:t>
            </a:r>
            <a:r>
              <a:rPr lang="en-US" sz="1600" b="1" dirty="0" smtClean="0">
                <a:latin typeface="+mj-lt"/>
              </a:rPr>
              <a:t>life </a:t>
            </a:r>
          </a:p>
        </p:txBody>
      </p:sp>
      <p:pic>
        <p:nvPicPr>
          <p:cNvPr id="589826" name="Picture 2"/>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336" b="100000" l="1122" r="99359">
                        <a14:foregroundMark x1="10737" y1="23490" x2="10737" y2="23490"/>
                        <a14:foregroundMark x1="9295" y1="23490" x2="9295" y2="23490"/>
                        <a14:foregroundMark x1="8494" y1="24832" x2="8494" y2="24832"/>
                        <a14:foregroundMark x1="7692" y1="24497" x2="7692" y2="24497"/>
                        <a14:foregroundMark x1="7372" y1="26510" x2="7372" y2="26510"/>
                        <a14:foregroundMark x1="6891" y1="27517" x2="6891" y2="27517"/>
                        <a14:backgroundMark x1="75481" y1="22148" x2="75481" y2="22148"/>
                        <a14:backgroundMark x1="72276" y1="23154" x2="72276" y2="23154"/>
                        <a14:backgroundMark x1="70513" y1="22819" x2="70513" y2="22819"/>
                        <a14:backgroundMark x1="69551" y1="22148" x2="69551" y2="22148"/>
                        <a14:backgroundMark x1="9295" y1="21141" x2="9295" y2="21141"/>
                        <a14:backgroundMark x1="11058" y1="20470" x2="11058" y2="20470"/>
                        <a14:backgroundMark x1="79327" y1="25168" x2="79327" y2="25168"/>
                      </a14:backgroundRemoval>
                    </a14:imgEffect>
                  </a14:imgLayer>
                </a14:imgProps>
              </a:ext>
              <a:ext uri="{28A0092B-C50C-407E-A947-70E740481C1C}">
                <a14:useLocalDpi xmlns:a14="http://schemas.microsoft.com/office/drawing/2010/main" val="0"/>
              </a:ext>
            </a:extLst>
          </a:blip>
          <a:srcRect/>
          <a:stretch>
            <a:fillRect/>
          </a:stretch>
        </p:blipFill>
        <p:spPr bwMode="auto">
          <a:xfrm>
            <a:off x="1529688" y="2140616"/>
            <a:ext cx="5734085" cy="2458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action_title"/>
          <p:cNvSpPr txBox="1">
            <a:spLocks noChangeArrowheads="1"/>
          </p:cNvSpPr>
          <p:nvPr>
            <p:custDataLst>
              <p:tags r:id="rId1"/>
            </p:custDataLst>
          </p:nvPr>
        </p:nvSpPr>
        <p:spPr bwMode="gray">
          <a:xfrm>
            <a:off x="1574304" y="4599027"/>
            <a:ext cx="5661329" cy="1220197"/>
          </a:xfrm>
          <a:prstGeom prst="rect">
            <a:avLst/>
          </a:prstGeom>
          <a:solidFill>
            <a:schemeClr val="accent3">
              <a:alpha val="90000"/>
            </a:schemeClr>
          </a:solidFill>
          <a:ln w="28575">
            <a:solidFill>
              <a:schemeClr val="bg1"/>
            </a:solidFill>
          </a:ln>
          <a:effectLst/>
        </p:spPr>
        <p:txBody>
          <a:bodyPr wrap="square" lIns="0" tIns="36000" rIns="0" bIns="36000" anchor="ctr">
            <a:spAutoFit/>
          </a:bodyPr>
          <a:lstStyle>
            <a:defPPr>
              <a:defRPr lang="de-DE"/>
            </a:defPPr>
            <a:lvl1pPr defTabSz="995363">
              <a:lnSpc>
                <a:spcPct val="110000"/>
              </a:lnSpc>
              <a:defRPr sz="1800" b="1">
                <a:solidFill>
                  <a:srgbClr val="000000"/>
                </a:solidFill>
                <a:latin typeface="Arial" pitchFamily="34" charset="0"/>
                <a:cs typeface="Arial" pitchFamily="34" charset="0"/>
              </a:defRPr>
            </a:lvl1pPr>
            <a:lvl2pPr defTabSz="995363">
              <a:defRPr sz="2400">
                <a:latin typeface="Arial" pitchFamily="34" charset="0"/>
              </a:defRPr>
            </a:lvl2pPr>
            <a:lvl3pPr defTabSz="995363">
              <a:defRPr sz="2400">
                <a:latin typeface="Arial" pitchFamily="34" charset="0"/>
              </a:defRPr>
            </a:lvl3pPr>
            <a:lvl4pPr defTabSz="995363">
              <a:defRPr sz="2400">
                <a:latin typeface="Arial" pitchFamily="34" charset="0"/>
              </a:defRPr>
            </a:lvl4pPr>
            <a:lvl5pPr defTabSz="995363">
              <a:defRPr sz="2400">
                <a:latin typeface="Arial" pitchFamily="34" charset="0"/>
              </a:defRPr>
            </a:lvl5pPr>
            <a:lvl6pPr defTabSz="995363" eaLnBrk="0" fontAlgn="base" hangingPunct="0">
              <a:spcBef>
                <a:spcPct val="0"/>
              </a:spcBef>
              <a:spcAft>
                <a:spcPct val="0"/>
              </a:spcAft>
              <a:defRPr sz="2400">
                <a:latin typeface="Arial" pitchFamily="34" charset="0"/>
              </a:defRPr>
            </a:lvl6pPr>
            <a:lvl7pPr defTabSz="995363" eaLnBrk="0" fontAlgn="base" hangingPunct="0">
              <a:spcBef>
                <a:spcPct val="0"/>
              </a:spcBef>
              <a:spcAft>
                <a:spcPct val="0"/>
              </a:spcAft>
              <a:defRPr sz="2400">
                <a:latin typeface="Arial" pitchFamily="34" charset="0"/>
              </a:defRPr>
            </a:lvl7pPr>
            <a:lvl8pPr defTabSz="995363" eaLnBrk="0" fontAlgn="base" hangingPunct="0">
              <a:spcBef>
                <a:spcPct val="0"/>
              </a:spcBef>
              <a:spcAft>
                <a:spcPct val="0"/>
              </a:spcAft>
              <a:defRPr sz="2400">
                <a:latin typeface="Arial" pitchFamily="34" charset="0"/>
              </a:defRPr>
            </a:lvl8pPr>
            <a:lvl9pPr defTabSz="995363" eaLnBrk="0" fontAlgn="base" hangingPunct="0">
              <a:spcBef>
                <a:spcPct val="0"/>
              </a:spcBef>
              <a:spcAft>
                <a:spcPct val="0"/>
              </a:spcAft>
              <a:defRPr sz="2400">
                <a:latin typeface="Arial" pitchFamily="34" charset="0"/>
              </a:defRPr>
            </a:lvl9pPr>
          </a:lstStyle>
          <a:p>
            <a:pPr algn="ctr">
              <a:spcAft>
                <a:spcPts val="500"/>
              </a:spcAft>
            </a:pPr>
            <a:r>
              <a:rPr lang="en-US" sz="1600" dirty="0">
                <a:solidFill>
                  <a:schemeClr val="tx1"/>
                </a:solidFill>
                <a:latin typeface="+mn-lt"/>
                <a:cs typeface="+mn-cs"/>
              </a:rPr>
              <a:t>Risk of marginalization and social exclusion: </a:t>
            </a:r>
          </a:p>
          <a:p>
            <a:pPr algn="ctr">
              <a:spcAft>
                <a:spcPts val="500"/>
              </a:spcAft>
            </a:pPr>
            <a:r>
              <a:rPr lang="en-US" sz="1600" b="0" dirty="0">
                <a:solidFill>
                  <a:schemeClr val="tx1"/>
                </a:solidFill>
                <a:latin typeface="+mn-lt"/>
                <a:cs typeface="+mn-cs"/>
              </a:rPr>
              <a:t>Without education, work experience and income, especially disadvantaged young people are vulnerable to a lifetime of continued poverty</a:t>
            </a:r>
          </a:p>
        </p:txBody>
      </p:sp>
      <p:sp>
        <p:nvSpPr>
          <p:cNvPr id="7" name="Rectangle 6"/>
          <p:cNvSpPr/>
          <p:nvPr/>
        </p:nvSpPr>
        <p:spPr>
          <a:xfrm>
            <a:off x="414000" y="5902404"/>
            <a:ext cx="8359800" cy="215444"/>
          </a:xfrm>
          <a:prstGeom prst="rect">
            <a:avLst/>
          </a:prstGeom>
        </p:spPr>
        <p:txBody>
          <a:bodyPr wrap="square">
            <a:spAutoFit/>
          </a:bodyPr>
          <a:lstStyle/>
          <a:p>
            <a:pPr lvl="0"/>
            <a:r>
              <a:rPr lang="en-GB" sz="800" dirty="0" smtClean="0"/>
              <a:t>Source: </a:t>
            </a:r>
            <a:r>
              <a:rPr lang="de-DE" sz="800" dirty="0"/>
              <a:t>International Labour </a:t>
            </a:r>
            <a:r>
              <a:rPr lang="de-DE" sz="800" dirty="0" err="1"/>
              <a:t>Organization</a:t>
            </a:r>
            <a:r>
              <a:rPr lang="de-DE" sz="800" dirty="0"/>
              <a:t> (ILO</a:t>
            </a:r>
            <a:r>
              <a:rPr lang="de-DE" sz="800" dirty="0" smtClean="0"/>
              <a:t>)</a:t>
            </a:r>
            <a:endParaRPr lang="en-GB" sz="800" dirty="0"/>
          </a:p>
        </p:txBody>
      </p:sp>
    </p:spTree>
    <p:extLst>
      <p:ext uri="{BB962C8B-B14F-4D97-AF65-F5344CB8AC3E}">
        <p14:creationId xmlns:p14="http://schemas.microsoft.com/office/powerpoint/2010/main" val="8437409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31"/>
          </p:nvPr>
        </p:nvSpPr>
        <p:spPr/>
        <p:txBody>
          <a:bodyPr/>
          <a:lstStyle/>
          <a:p>
            <a:r>
              <a:rPr lang="en-US" smtClean="0"/>
              <a:t>GoTeach | October 2019</a:t>
            </a:r>
            <a:endParaRPr lang="en-US" dirty="0" smtClean="0"/>
          </a:p>
        </p:txBody>
      </p:sp>
      <p:sp>
        <p:nvSpPr>
          <p:cNvPr id="38" name="Titel 2"/>
          <p:cNvSpPr txBox="1">
            <a:spLocks/>
          </p:cNvSpPr>
          <p:nvPr/>
        </p:nvSpPr>
        <p:spPr>
          <a:xfrm>
            <a:off x="471600" y="241200"/>
            <a:ext cx="8316000" cy="712800"/>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000" kern="1200" cap="none" normalizeH="0" baseline="0">
                <a:solidFill>
                  <a:schemeClr val="tx1"/>
                </a:solidFill>
                <a:latin typeface="+mj-lt"/>
                <a:ea typeface="+mj-ea"/>
                <a:cs typeface="+mj-cs"/>
              </a:defRPr>
            </a:lvl1pPr>
          </a:lstStyle>
          <a:p>
            <a:r>
              <a:rPr lang="de-DE" smtClean="0"/>
              <a:t>GoTeach – Main focus and target group </a:t>
            </a:r>
            <a:endParaRPr lang="de-DE" dirty="0"/>
          </a:p>
        </p:txBody>
      </p:sp>
      <p:sp>
        <p:nvSpPr>
          <p:cNvPr id="39" name="action_title"/>
          <p:cNvSpPr txBox="1">
            <a:spLocks noChangeArrowheads="1"/>
          </p:cNvSpPr>
          <p:nvPr>
            <p:custDataLst>
              <p:tags r:id="rId1"/>
            </p:custDataLst>
          </p:nvPr>
        </p:nvSpPr>
        <p:spPr bwMode="gray">
          <a:xfrm>
            <a:off x="414001" y="1244703"/>
            <a:ext cx="8463574" cy="533479"/>
          </a:xfrm>
          <a:prstGeom prst="rect">
            <a:avLst/>
          </a:prstGeom>
          <a:noFill/>
          <a:ln>
            <a:noFill/>
          </a:ln>
          <a:effectLst/>
        </p:spPr>
        <p:txBody>
          <a:bodyPr wrap="square" lIns="0" tIns="0" rIns="0" bIns="0">
            <a:spAutoFit/>
          </a:bodyPr>
          <a:lstStyle>
            <a:defPPr>
              <a:defRPr lang="de-DE"/>
            </a:defPPr>
            <a:lvl1pPr defTabSz="995363">
              <a:lnSpc>
                <a:spcPct val="110000"/>
              </a:lnSpc>
              <a:defRPr sz="1800" b="1">
                <a:solidFill>
                  <a:srgbClr val="000000"/>
                </a:solidFill>
                <a:latin typeface="Arial" pitchFamily="34" charset="0"/>
                <a:cs typeface="Arial" pitchFamily="34" charset="0"/>
              </a:defRPr>
            </a:lvl1pPr>
            <a:lvl2pPr defTabSz="995363">
              <a:defRPr sz="2400">
                <a:latin typeface="Arial" pitchFamily="34" charset="0"/>
              </a:defRPr>
            </a:lvl2pPr>
            <a:lvl3pPr defTabSz="995363">
              <a:defRPr sz="2400">
                <a:latin typeface="Arial" pitchFamily="34" charset="0"/>
              </a:defRPr>
            </a:lvl3pPr>
            <a:lvl4pPr defTabSz="995363">
              <a:defRPr sz="2400">
                <a:latin typeface="Arial" pitchFamily="34" charset="0"/>
              </a:defRPr>
            </a:lvl4pPr>
            <a:lvl5pPr defTabSz="995363">
              <a:defRPr sz="2400">
                <a:latin typeface="Arial" pitchFamily="34" charset="0"/>
              </a:defRPr>
            </a:lvl5pPr>
            <a:lvl6pPr defTabSz="995363" eaLnBrk="0" fontAlgn="base" hangingPunct="0">
              <a:spcBef>
                <a:spcPct val="0"/>
              </a:spcBef>
              <a:spcAft>
                <a:spcPct val="0"/>
              </a:spcAft>
              <a:defRPr sz="2400">
                <a:latin typeface="Arial" pitchFamily="34" charset="0"/>
              </a:defRPr>
            </a:lvl6pPr>
            <a:lvl7pPr defTabSz="995363" eaLnBrk="0" fontAlgn="base" hangingPunct="0">
              <a:spcBef>
                <a:spcPct val="0"/>
              </a:spcBef>
              <a:spcAft>
                <a:spcPct val="0"/>
              </a:spcAft>
              <a:defRPr sz="2400">
                <a:latin typeface="Arial" pitchFamily="34" charset="0"/>
              </a:defRPr>
            </a:lvl7pPr>
            <a:lvl8pPr defTabSz="995363" eaLnBrk="0" fontAlgn="base" hangingPunct="0">
              <a:spcBef>
                <a:spcPct val="0"/>
              </a:spcBef>
              <a:spcAft>
                <a:spcPct val="0"/>
              </a:spcAft>
              <a:defRPr sz="2400">
                <a:latin typeface="Arial" pitchFamily="34" charset="0"/>
              </a:defRPr>
            </a:lvl8pPr>
            <a:lvl9pPr defTabSz="995363" eaLnBrk="0" fontAlgn="base" hangingPunct="0">
              <a:spcBef>
                <a:spcPct val="0"/>
              </a:spcBef>
              <a:spcAft>
                <a:spcPct val="0"/>
              </a:spcAft>
              <a:defRPr sz="2400">
                <a:latin typeface="Arial" pitchFamily="34" charset="0"/>
              </a:defRPr>
            </a:lvl9pPr>
          </a:lstStyle>
          <a:p>
            <a:pPr marL="0" lvl="4" defTabSz="914400">
              <a:lnSpc>
                <a:spcPct val="110000"/>
              </a:lnSpc>
              <a:spcAft>
                <a:spcPts val="500"/>
              </a:spcAft>
            </a:pPr>
            <a:r>
              <a:rPr lang="en-US" sz="1600" b="1" dirty="0">
                <a:latin typeface="+mj-lt"/>
              </a:rPr>
              <a:t>We support children and young people to fulfill their potential and increase their employment prospects</a:t>
            </a:r>
          </a:p>
        </p:txBody>
      </p:sp>
      <p:grpSp>
        <p:nvGrpSpPr>
          <p:cNvPr id="5" name="Gruppieren 4"/>
          <p:cNvGrpSpPr/>
          <p:nvPr/>
        </p:nvGrpSpPr>
        <p:grpSpPr>
          <a:xfrm>
            <a:off x="507415" y="2415080"/>
            <a:ext cx="8190840" cy="3251906"/>
            <a:chOff x="523891" y="2044377"/>
            <a:chExt cx="8190840" cy="3251906"/>
          </a:xfrm>
        </p:grpSpPr>
        <p:sp>
          <p:nvSpPr>
            <p:cNvPr id="41" name="Rechteck 40"/>
            <p:cNvSpPr/>
            <p:nvPr>
              <p:custDataLst>
                <p:tags r:id="rId2"/>
              </p:custDataLst>
            </p:nvPr>
          </p:nvSpPr>
          <p:spPr>
            <a:xfrm>
              <a:off x="4678363" y="4341389"/>
              <a:ext cx="3970357" cy="885790"/>
            </a:xfrm>
            <a:prstGeom prst="rect">
              <a:avLst/>
            </a:prstGeom>
            <a:gradFill>
              <a:gsLst>
                <a:gs pos="5000">
                  <a:schemeClr val="bg1">
                    <a:lumMod val="95000"/>
                  </a:schemeClr>
                </a:gs>
                <a:gs pos="80000">
                  <a:schemeClr val="accent1">
                    <a:lumMod val="30000"/>
                    <a:lumOff val="70000"/>
                  </a:schemeClr>
                </a:gs>
              </a:gsLst>
              <a:lin ang="16200000" scaled="0"/>
            </a:gradFill>
          </p:spPr>
          <p:txBody>
            <a:bodyPr wrap="square" lIns="180000" tIns="108000" bIns="108000" anchor="ctr" anchorCtr="0">
              <a:noAutofit/>
            </a:bodyPr>
            <a:lstStyle/>
            <a:p>
              <a:pPr marL="285750" indent="-285750" defTabSz="863600">
                <a:lnSpc>
                  <a:spcPct val="90000"/>
                </a:lnSpc>
                <a:spcAft>
                  <a:spcPct val="20000"/>
                </a:spcAft>
                <a:buClr>
                  <a:schemeClr val="tx1"/>
                </a:buClr>
                <a:buSzPct val="80000"/>
                <a:buFont typeface="Wingdings" panose="05000000000000000000" pitchFamily="2" charset="2"/>
                <a:buChar char="§"/>
              </a:pPr>
              <a:endParaRPr lang="de-DE" sz="1600" b="1" dirty="0"/>
            </a:p>
            <a:p>
              <a:pPr marL="180975" indent="-180975" defTabSz="863600">
                <a:lnSpc>
                  <a:spcPct val="90000"/>
                </a:lnSpc>
                <a:spcAft>
                  <a:spcPct val="20000"/>
                </a:spcAft>
                <a:buClr>
                  <a:srgbClr val="000000"/>
                </a:buClr>
                <a:buSzPct val="80000"/>
                <a:buFont typeface="Arial" pitchFamily="34" charset="0"/>
                <a:buChar char="•"/>
              </a:pPr>
              <a:endParaRPr lang="de-DE" sz="1600" b="1" dirty="0"/>
            </a:p>
            <a:p>
              <a:pPr defTabSz="863600">
                <a:lnSpc>
                  <a:spcPct val="90000"/>
                </a:lnSpc>
                <a:spcAft>
                  <a:spcPct val="20000"/>
                </a:spcAft>
                <a:buClr>
                  <a:schemeClr val="tx1"/>
                </a:buClr>
                <a:buSzPct val="80000"/>
              </a:pPr>
              <a:endParaRPr lang="de-DE" sz="1400" dirty="0"/>
            </a:p>
            <a:p>
              <a:pPr marL="180975" indent="-180975" defTabSz="863600">
                <a:lnSpc>
                  <a:spcPct val="90000"/>
                </a:lnSpc>
                <a:spcAft>
                  <a:spcPct val="20000"/>
                </a:spcAft>
                <a:buClr>
                  <a:schemeClr val="tx1"/>
                </a:buClr>
                <a:buSzPct val="80000"/>
                <a:buFont typeface="Arial" pitchFamily="34" charset="0"/>
                <a:buChar char="•"/>
              </a:pPr>
              <a:endParaRPr lang="de-DE" sz="1400" dirty="0"/>
            </a:p>
          </p:txBody>
        </p:sp>
        <p:sp>
          <p:nvSpPr>
            <p:cNvPr id="42" name="Rechteck 41"/>
            <p:cNvSpPr/>
            <p:nvPr>
              <p:custDataLst>
                <p:tags r:id="rId3"/>
              </p:custDataLst>
            </p:nvPr>
          </p:nvSpPr>
          <p:spPr>
            <a:xfrm>
              <a:off x="523891" y="3891014"/>
              <a:ext cx="3970357" cy="1346162"/>
            </a:xfrm>
            <a:prstGeom prst="rect">
              <a:avLst/>
            </a:prstGeom>
            <a:gradFill>
              <a:gsLst>
                <a:gs pos="5000">
                  <a:schemeClr val="bg1">
                    <a:lumMod val="95000"/>
                  </a:schemeClr>
                </a:gs>
                <a:gs pos="80000">
                  <a:schemeClr val="accent1">
                    <a:lumMod val="30000"/>
                    <a:lumOff val="70000"/>
                  </a:schemeClr>
                </a:gs>
              </a:gsLst>
              <a:lin ang="16200000" scaled="0"/>
            </a:gradFill>
          </p:spPr>
          <p:txBody>
            <a:bodyPr wrap="square" lIns="180000" tIns="108000" bIns="108000" anchor="ctr" anchorCtr="0">
              <a:noAutofit/>
            </a:bodyPr>
            <a:lstStyle/>
            <a:p>
              <a:pPr marL="285750" indent="-285750" defTabSz="863600">
                <a:lnSpc>
                  <a:spcPct val="90000"/>
                </a:lnSpc>
                <a:spcAft>
                  <a:spcPct val="20000"/>
                </a:spcAft>
                <a:buClr>
                  <a:schemeClr val="tx1"/>
                </a:buClr>
                <a:buSzPct val="80000"/>
                <a:buFont typeface="Wingdings" panose="05000000000000000000" pitchFamily="2" charset="2"/>
                <a:buChar char="§"/>
              </a:pPr>
              <a:endParaRPr lang="de-DE" sz="1600" b="1" dirty="0"/>
            </a:p>
            <a:p>
              <a:pPr marL="180975" indent="-180975" defTabSz="863600">
                <a:lnSpc>
                  <a:spcPct val="90000"/>
                </a:lnSpc>
                <a:spcAft>
                  <a:spcPct val="20000"/>
                </a:spcAft>
                <a:buClr>
                  <a:srgbClr val="000000"/>
                </a:buClr>
                <a:buSzPct val="80000"/>
                <a:buFont typeface="Arial" pitchFamily="34" charset="0"/>
                <a:buChar char="•"/>
              </a:pPr>
              <a:endParaRPr lang="de-DE" sz="1600" b="1" dirty="0"/>
            </a:p>
            <a:p>
              <a:pPr defTabSz="863600">
                <a:lnSpc>
                  <a:spcPct val="90000"/>
                </a:lnSpc>
                <a:spcAft>
                  <a:spcPct val="20000"/>
                </a:spcAft>
                <a:buClr>
                  <a:schemeClr val="tx1"/>
                </a:buClr>
                <a:buSzPct val="80000"/>
              </a:pPr>
              <a:endParaRPr lang="de-DE" sz="1400" dirty="0"/>
            </a:p>
            <a:p>
              <a:pPr marL="180975" indent="-180975" defTabSz="863600">
                <a:lnSpc>
                  <a:spcPct val="90000"/>
                </a:lnSpc>
                <a:spcAft>
                  <a:spcPct val="20000"/>
                </a:spcAft>
                <a:buClr>
                  <a:schemeClr val="tx1"/>
                </a:buClr>
                <a:buSzPct val="80000"/>
                <a:buFont typeface="Arial" pitchFamily="34" charset="0"/>
                <a:buChar char="•"/>
              </a:pPr>
              <a:endParaRPr lang="de-DE" sz="1400" dirty="0"/>
            </a:p>
          </p:txBody>
        </p:sp>
        <p:sp>
          <p:nvSpPr>
            <p:cNvPr id="43" name="Rechteck 42"/>
            <p:cNvSpPr/>
            <p:nvPr>
              <p:custDataLst>
                <p:tags r:id="rId4"/>
              </p:custDataLst>
            </p:nvPr>
          </p:nvSpPr>
          <p:spPr>
            <a:xfrm>
              <a:off x="528493" y="2798817"/>
              <a:ext cx="3970357" cy="1009225"/>
            </a:xfrm>
            <a:prstGeom prst="rect">
              <a:avLst/>
            </a:prstGeom>
            <a:gradFill>
              <a:gsLst>
                <a:gs pos="5000">
                  <a:schemeClr val="bg1">
                    <a:lumMod val="95000"/>
                  </a:schemeClr>
                </a:gs>
                <a:gs pos="80000">
                  <a:schemeClr val="accent1">
                    <a:lumMod val="30000"/>
                    <a:lumOff val="70000"/>
                  </a:schemeClr>
                </a:gs>
              </a:gsLst>
              <a:lin ang="16200000" scaled="0"/>
            </a:gradFill>
          </p:spPr>
          <p:txBody>
            <a:bodyPr wrap="square" lIns="180000" tIns="108000" bIns="108000" anchor="ctr" anchorCtr="0">
              <a:noAutofit/>
            </a:bodyPr>
            <a:lstStyle/>
            <a:p>
              <a:pPr marL="285750" indent="-285750" defTabSz="863600">
                <a:lnSpc>
                  <a:spcPct val="90000"/>
                </a:lnSpc>
                <a:spcAft>
                  <a:spcPct val="20000"/>
                </a:spcAft>
                <a:buClr>
                  <a:schemeClr val="tx1"/>
                </a:buClr>
                <a:buSzPct val="80000"/>
                <a:buFont typeface="Wingdings" panose="05000000000000000000" pitchFamily="2" charset="2"/>
                <a:buChar char="§"/>
              </a:pPr>
              <a:endParaRPr lang="de-DE" sz="1600" b="1" dirty="0"/>
            </a:p>
            <a:p>
              <a:pPr marL="180975" indent="-180975" defTabSz="863600">
                <a:lnSpc>
                  <a:spcPct val="90000"/>
                </a:lnSpc>
                <a:spcAft>
                  <a:spcPct val="20000"/>
                </a:spcAft>
                <a:buClr>
                  <a:srgbClr val="000000"/>
                </a:buClr>
                <a:buSzPct val="80000"/>
                <a:buFont typeface="Arial" pitchFamily="34" charset="0"/>
                <a:buChar char="•"/>
              </a:pPr>
              <a:endParaRPr lang="de-DE" sz="1600" b="1" dirty="0"/>
            </a:p>
            <a:p>
              <a:pPr defTabSz="863600">
                <a:lnSpc>
                  <a:spcPct val="90000"/>
                </a:lnSpc>
                <a:spcAft>
                  <a:spcPct val="20000"/>
                </a:spcAft>
                <a:buClr>
                  <a:schemeClr val="tx1"/>
                </a:buClr>
                <a:buSzPct val="80000"/>
              </a:pPr>
              <a:endParaRPr lang="de-DE" sz="1400" dirty="0"/>
            </a:p>
            <a:p>
              <a:pPr marL="180975" indent="-180975" defTabSz="863600">
                <a:lnSpc>
                  <a:spcPct val="90000"/>
                </a:lnSpc>
                <a:spcAft>
                  <a:spcPct val="20000"/>
                </a:spcAft>
                <a:buClr>
                  <a:schemeClr val="tx1"/>
                </a:buClr>
                <a:buSzPct val="80000"/>
                <a:buFont typeface="Arial" pitchFamily="34" charset="0"/>
                <a:buChar char="•"/>
              </a:pPr>
              <a:endParaRPr lang="de-DE" sz="1400" dirty="0"/>
            </a:p>
          </p:txBody>
        </p:sp>
        <p:sp>
          <p:nvSpPr>
            <p:cNvPr id="44" name="Rechteck 43"/>
            <p:cNvSpPr/>
            <p:nvPr>
              <p:custDataLst>
                <p:tags r:id="rId5"/>
              </p:custDataLst>
            </p:nvPr>
          </p:nvSpPr>
          <p:spPr>
            <a:xfrm>
              <a:off x="528493" y="2044377"/>
              <a:ext cx="3970357" cy="662074"/>
            </a:xfrm>
            <a:prstGeom prst="rect">
              <a:avLst/>
            </a:prstGeom>
            <a:gradFill>
              <a:gsLst>
                <a:gs pos="5000">
                  <a:schemeClr val="bg1">
                    <a:lumMod val="95000"/>
                  </a:schemeClr>
                </a:gs>
                <a:gs pos="80000">
                  <a:schemeClr val="accent1">
                    <a:lumMod val="30000"/>
                    <a:lumOff val="70000"/>
                  </a:schemeClr>
                </a:gs>
              </a:gsLst>
              <a:lin ang="16200000" scaled="0"/>
            </a:gradFill>
          </p:spPr>
          <p:txBody>
            <a:bodyPr wrap="square" lIns="180000" tIns="108000" bIns="108000" anchor="ctr" anchorCtr="0">
              <a:noAutofit/>
            </a:bodyPr>
            <a:lstStyle/>
            <a:p>
              <a:pPr marL="285750" indent="-285750" defTabSz="863600">
                <a:lnSpc>
                  <a:spcPct val="90000"/>
                </a:lnSpc>
                <a:spcAft>
                  <a:spcPct val="20000"/>
                </a:spcAft>
                <a:buClr>
                  <a:schemeClr val="tx1"/>
                </a:buClr>
                <a:buSzPct val="80000"/>
                <a:buFont typeface="Wingdings" panose="05000000000000000000" pitchFamily="2" charset="2"/>
                <a:buChar char="§"/>
              </a:pPr>
              <a:endParaRPr lang="de-DE" sz="1600" b="1" dirty="0"/>
            </a:p>
            <a:p>
              <a:pPr marL="180975" indent="-180975" defTabSz="863600">
                <a:lnSpc>
                  <a:spcPct val="90000"/>
                </a:lnSpc>
                <a:spcAft>
                  <a:spcPct val="20000"/>
                </a:spcAft>
                <a:buClr>
                  <a:srgbClr val="000000"/>
                </a:buClr>
                <a:buSzPct val="80000"/>
                <a:buFont typeface="Arial" pitchFamily="34" charset="0"/>
                <a:buChar char="•"/>
              </a:pPr>
              <a:endParaRPr lang="de-DE" sz="1600" b="1" dirty="0"/>
            </a:p>
            <a:p>
              <a:pPr defTabSz="863600">
                <a:lnSpc>
                  <a:spcPct val="90000"/>
                </a:lnSpc>
                <a:spcAft>
                  <a:spcPct val="20000"/>
                </a:spcAft>
                <a:buClr>
                  <a:schemeClr val="tx1"/>
                </a:buClr>
                <a:buSzPct val="80000"/>
              </a:pPr>
              <a:endParaRPr lang="de-DE" sz="1400" dirty="0"/>
            </a:p>
            <a:p>
              <a:pPr marL="180975" indent="-180975" defTabSz="863600">
                <a:lnSpc>
                  <a:spcPct val="90000"/>
                </a:lnSpc>
                <a:spcAft>
                  <a:spcPct val="20000"/>
                </a:spcAft>
                <a:buClr>
                  <a:schemeClr val="tx1"/>
                </a:buClr>
                <a:buSzPct val="80000"/>
                <a:buFont typeface="Arial" pitchFamily="34" charset="0"/>
                <a:buChar char="•"/>
              </a:pPr>
              <a:endParaRPr lang="de-DE" sz="1400" dirty="0"/>
            </a:p>
          </p:txBody>
        </p:sp>
        <p:pic>
          <p:nvPicPr>
            <p:cNvPr id="45" name="Picture 6" descr="Bildergebnis für zielgruppe icon">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5634" y="2145447"/>
              <a:ext cx="425217" cy="440415"/>
            </a:xfrm>
            <a:prstGeom prst="rect">
              <a:avLst/>
            </a:prstGeom>
            <a:noFill/>
            <a:extLst>
              <a:ext uri="{909E8E84-426E-40DD-AFC4-6F175D3DCCD1}">
                <a14:hiddenFill xmlns:a14="http://schemas.microsoft.com/office/drawing/2010/main">
                  <a:solidFill>
                    <a:srgbClr val="FFFFFF"/>
                  </a:solidFill>
                </a14:hiddenFill>
              </a:ext>
            </a:extLst>
          </p:spPr>
        </p:pic>
        <p:sp>
          <p:nvSpPr>
            <p:cNvPr id="46" name="Textfeld 45"/>
            <p:cNvSpPr txBox="1"/>
            <p:nvPr/>
          </p:nvSpPr>
          <p:spPr>
            <a:xfrm>
              <a:off x="1074526" y="2311974"/>
              <a:ext cx="500137" cy="163956"/>
            </a:xfrm>
            <a:prstGeom prst="rect">
              <a:avLst/>
            </a:prstGeom>
            <a:noFill/>
          </p:spPr>
          <p:txBody>
            <a:bodyPr wrap="none" lIns="0" tIns="0" rIns="0" bIns="0" rtlCol="0">
              <a:spAutoFit/>
            </a:bodyPr>
            <a:lstStyle/>
            <a:p>
              <a:pPr>
                <a:lnSpc>
                  <a:spcPct val="110000"/>
                </a:lnSpc>
                <a:spcAft>
                  <a:spcPts val="500"/>
                </a:spcAft>
              </a:pPr>
              <a:r>
                <a:rPr lang="de-DE" sz="1050" b="1" dirty="0">
                  <a:solidFill>
                    <a:srgbClr val="000000"/>
                  </a:solidFill>
                  <a:latin typeface="Arial" charset="0"/>
                </a:rPr>
                <a:t>Mission</a:t>
              </a:r>
            </a:p>
          </p:txBody>
        </p:sp>
        <p:pic>
          <p:nvPicPr>
            <p:cNvPr id="47" name="Picture 4" descr="Bildergebnis für zielgruppe icon">
              <a:hlinkClick r:id="rId13"/>
            </p:cNvPr>
            <p:cNvPicPr>
              <a:picLocks noChangeAspect="1" noChangeArrowheads="1"/>
            </p:cNvPicPr>
            <p:nvPr/>
          </p:nvPicPr>
          <p:blipFill>
            <a:blip r:embed="rId14">
              <a:extLst>
                <a:ext uri="{BEBA8EAE-BF5A-486C-A8C5-ECC9F3942E4B}">
                  <a14:imgProps xmlns:a14="http://schemas.microsoft.com/office/drawing/2010/main">
                    <a14:imgLayer r:embed="rId15">
                      <a14:imgEffect>
                        <a14:backgroundRemoval t="0" b="100000" l="0" r="99681">
                          <a14:foregroundMark x1="50160" y1="50479" x2="50160" y2="50479"/>
                          <a14:foregroundMark x1="60064" y1="51438" x2="60064" y2="51438"/>
                          <a14:foregroundMark x1="41214" y1="51438" x2="41214" y2="51438"/>
                          <a14:foregroundMark x1="77796" y1="89137" x2="77796" y2="89137"/>
                          <a14:foregroundMark x1="49201" y1="77157" x2="49201" y2="77157"/>
                          <a14:foregroundMark x1="76837" y1="50479" x2="76837" y2="50479"/>
                          <a14:foregroundMark x1="24441" y1="52396" x2="24441" y2="52396"/>
                          <a14:foregroundMark x1="26358" y1="33706" x2="26358" y2="33706"/>
                          <a14:foregroundMark x1="49201" y1="23802" x2="49201" y2="23802"/>
                          <a14:foregroundMark x1="61981" y1="25719" x2="61981" y2="25719"/>
                          <a14:backgroundMark x1="90735" y1="6869" x2="90735" y2="6869"/>
                          <a14:backgroundMark x1="7508" y1="9904" x2="7508" y2="9904"/>
                          <a14:backgroundMark x1="8626" y1="87061" x2="8626" y2="87061"/>
                          <a14:backgroundMark x1="90735" y1="89137" x2="90735" y2="89137"/>
                          <a14:backgroundMark x1="79872" y1="70288" x2="79872" y2="70288"/>
                          <a14:backgroundMark x1="57029" y1="69329" x2="57029" y2="69329"/>
                          <a14:backgroundMark x1="60064" y1="34665" x2="60064" y2="34665"/>
                          <a14:backgroundMark x1="35304" y1="35623" x2="35304" y2="35623"/>
                          <a14:backgroundMark x1="52077" y1="14856" x2="52077" y2="14856"/>
                          <a14:backgroundMark x1="18530" y1="30671" x2="18530" y2="30671"/>
                          <a14:backgroundMark x1="11502" y1="53514" x2="11502" y2="53514"/>
                          <a14:backgroundMark x1="87700" y1="48562" x2="87700" y2="48562"/>
                          <a14:backgroundMark x1="76837" y1="23802" x2="76837" y2="23802"/>
                          <a14:backgroundMark x1="49201" y1="89137" x2="49201" y2="89137"/>
                          <a14:backgroundMark x1="28435" y1="78275" x2="28435" y2="78275"/>
                          <a14:backgroundMark x1="41214" y1="72204" x2="41214" y2="72204"/>
                        </a14:backgroundRemoval>
                      </a14:imgEffect>
                    </a14:imgLayer>
                  </a14:imgProps>
                </a:ext>
                <a:ext uri="{28A0092B-C50C-407E-A947-70E740481C1C}">
                  <a14:useLocalDpi xmlns:a14="http://schemas.microsoft.com/office/drawing/2010/main" val="0"/>
                </a:ext>
              </a:extLst>
            </a:blip>
            <a:srcRect/>
            <a:stretch>
              <a:fillRect/>
            </a:stretch>
          </p:blipFill>
          <p:spPr bwMode="auto">
            <a:xfrm>
              <a:off x="603309" y="3143070"/>
              <a:ext cx="329416" cy="352022"/>
            </a:xfrm>
            <a:prstGeom prst="rect">
              <a:avLst/>
            </a:prstGeom>
            <a:noFill/>
            <a:extLst>
              <a:ext uri="{909E8E84-426E-40DD-AFC4-6F175D3DCCD1}">
                <a14:hiddenFill xmlns:a14="http://schemas.microsoft.com/office/drawing/2010/main">
                  <a:solidFill>
                    <a:srgbClr val="FFFFFF"/>
                  </a:solidFill>
                </a14:hiddenFill>
              </a:ext>
            </a:extLst>
          </p:spPr>
        </p:pic>
        <p:sp>
          <p:nvSpPr>
            <p:cNvPr id="48" name="Textfeld 47"/>
            <p:cNvSpPr txBox="1"/>
            <p:nvPr/>
          </p:nvSpPr>
          <p:spPr>
            <a:xfrm>
              <a:off x="1074526" y="3143070"/>
              <a:ext cx="705844" cy="341697"/>
            </a:xfrm>
            <a:prstGeom prst="rect">
              <a:avLst/>
            </a:prstGeom>
            <a:noFill/>
          </p:spPr>
          <p:txBody>
            <a:bodyPr wrap="square" lIns="0" tIns="0" rIns="0" bIns="0" rtlCol="0">
              <a:spAutoFit/>
            </a:bodyPr>
            <a:lstStyle/>
            <a:p>
              <a:pPr>
                <a:lnSpc>
                  <a:spcPct val="110000"/>
                </a:lnSpc>
                <a:spcAft>
                  <a:spcPts val="500"/>
                </a:spcAft>
              </a:pPr>
              <a:r>
                <a:rPr lang="de-DE" sz="1050" b="1" dirty="0" smtClean="0">
                  <a:solidFill>
                    <a:srgbClr val="000000"/>
                  </a:solidFill>
                  <a:latin typeface="Arial" charset="0"/>
                </a:rPr>
                <a:t>Target </a:t>
              </a:r>
              <a:r>
                <a:rPr lang="de-DE" sz="1050" b="1" dirty="0" err="1" smtClean="0">
                  <a:solidFill>
                    <a:srgbClr val="000000"/>
                  </a:solidFill>
                  <a:latin typeface="Arial" charset="0"/>
                </a:rPr>
                <a:t>group</a:t>
              </a:r>
              <a:endParaRPr lang="de-DE" sz="1050" b="1" dirty="0">
                <a:solidFill>
                  <a:srgbClr val="000000"/>
                </a:solidFill>
                <a:latin typeface="Arial" charset="0"/>
              </a:endParaRPr>
            </a:p>
          </p:txBody>
        </p:sp>
        <p:sp>
          <p:nvSpPr>
            <p:cNvPr id="49" name="Textfeld 48"/>
            <p:cNvSpPr txBox="1"/>
            <p:nvPr/>
          </p:nvSpPr>
          <p:spPr>
            <a:xfrm>
              <a:off x="1825822" y="2296589"/>
              <a:ext cx="2668426" cy="179341"/>
            </a:xfrm>
            <a:prstGeom prst="rect">
              <a:avLst/>
            </a:prstGeom>
            <a:noFill/>
          </p:spPr>
          <p:txBody>
            <a:bodyPr wrap="square" lIns="0" tIns="0" rIns="0" bIns="0" rtlCol="0">
              <a:spAutoFit/>
            </a:bodyPr>
            <a:lstStyle/>
            <a:p>
              <a:pPr>
                <a:lnSpc>
                  <a:spcPct val="110000"/>
                </a:lnSpc>
                <a:spcAft>
                  <a:spcPts val="500"/>
                </a:spcAft>
              </a:pPr>
              <a:r>
                <a:rPr lang="en-US" sz="1100" b="1" dirty="0" smtClean="0"/>
                <a:t>Improve employability</a:t>
              </a:r>
            </a:p>
          </p:txBody>
        </p:sp>
        <p:sp>
          <p:nvSpPr>
            <p:cNvPr id="50" name="Textfeld 49"/>
            <p:cNvSpPr txBox="1"/>
            <p:nvPr/>
          </p:nvSpPr>
          <p:spPr>
            <a:xfrm>
              <a:off x="1825822" y="2944330"/>
              <a:ext cx="2309763" cy="739177"/>
            </a:xfrm>
            <a:prstGeom prst="rect">
              <a:avLst/>
            </a:prstGeom>
            <a:noFill/>
          </p:spPr>
          <p:txBody>
            <a:bodyPr wrap="square" lIns="0" tIns="0" rIns="0" bIns="0" rtlCol="0">
              <a:spAutoFit/>
            </a:bodyPr>
            <a:lstStyle/>
            <a:p>
              <a:pPr>
                <a:lnSpc>
                  <a:spcPct val="110000"/>
                </a:lnSpc>
                <a:spcAft>
                  <a:spcPts val="500"/>
                </a:spcAft>
              </a:pPr>
              <a:r>
                <a:rPr lang="en-US" sz="1100" dirty="0" smtClean="0"/>
                <a:t>Children (7+) </a:t>
              </a:r>
              <a:r>
                <a:rPr lang="en-US" sz="1100" dirty="0"/>
                <a:t>and young people (15+) who are socio-economically disadvantaged </a:t>
              </a:r>
              <a:r>
                <a:rPr lang="en-US" sz="1100" dirty="0" smtClean="0"/>
                <a:t>due to </a:t>
              </a:r>
              <a:r>
                <a:rPr lang="en-US" sz="1100" b="1" dirty="0" smtClean="0"/>
                <a:t>poverty</a:t>
              </a:r>
              <a:r>
                <a:rPr lang="en-US" sz="1100" b="1" dirty="0"/>
                <a:t>, loss of family and </a:t>
              </a:r>
              <a:r>
                <a:rPr lang="en-US" sz="1100" b="1" dirty="0" smtClean="0"/>
                <a:t>fleeing</a:t>
              </a:r>
              <a:endParaRPr lang="en-US" altLang="en-US" sz="1100" b="1" dirty="0"/>
            </a:p>
          </p:txBody>
        </p:sp>
        <p:sp>
          <p:nvSpPr>
            <p:cNvPr id="51" name="Textfeld 50"/>
            <p:cNvSpPr txBox="1"/>
            <p:nvPr/>
          </p:nvSpPr>
          <p:spPr>
            <a:xfrm>
              <a:off x="1074526" y="4325990"/>
              <a:ext cx="648577" cy="341697"/>
            </a:xfrm>
            <a:prstGeom prst="rect">
              <a:avLst/>
            </a:prstGeom>
            <a:noFill/>
          </p:spPr>
          <p:txBody>
            <a:bodyPr wrap="square" lIns="0" tIns="0" rIns="0" bIns="0" rtlCol="0">
              <a:spAutoFit/>
            </a:bodyPr>
            <a:lstStyle/>
            <a:p>
              <a:pPr>
                <a:lnSpc>
                  <a:spcPct val="110000"/>
                </a:lnSpc>
                <a:spcAft>
                  <a:spcPts val="500"/>
                </a:spcAft>
              </a:pPr>
              <a:r>
                <a:rPr lang="de-DE" sz="1050" b="1" dirty="0" smtClean="0">
                  <a:latin typeface="Arial" charset="0"/>
                </a:rPr>
                <a:t>Lead </a:t>
              </a:r>
              <a:r>
                <a:rPr lang="de-DE" sz="1050" b="1" dirty="0" err="1" smtClean="0">
                  <a:latin typeface="Arial" charset="0"/>
                </a:rPr>
                <a:t>partners</a:t>
              </a:r>
              <a:endParaRPr lang="de-DE" sz="1050" b="1" dirty="0">
                <a:latin typeface="Arial" charset="0"/>
              </a:endParaRPr>
            </a:p>
          </p:txBody>
        </p:sp>
        <p:grpSp>
          <p:nvGrpSpPr>
            <p:cNvPr id="52" name="Group 177"/>
            <p:cNvGrpSpPr/>
            <p:nvPr/>
          </p:nvGrpSpPr>
          <p:grpSpPr>
            <a:xfrm>
              <a:off x="602524" y="4402770"/>
              <a:ext cx="378328" cy="277997"/>
              <a:chOff x="2843213" y="4732338"/>
              <a:chExt cx="947737" cy="768350"/>
            </a:xfrm>
            <a:solidFill>
              <a:schemeClr val="tx1"/>
            </a:solidFill>
          </p:grpSpPr>
          <p:sp>
            <p:nvSpPr>
              <p:cNvPr id="59" name="Freeform 127"/>
              <p:cNvSpPr>
                <a:spLocks/>
              </p:cNvSpPr>
              <p:nvPr/>
            </p:nvSpPr>
            <p:spPr bwMode="auto">
              <a:xfrm>
                <a:off x="3502025" y="4732338"/>
                <a:ext cx="288925" cy="288925"/>
              </a:xfrm>
              <a:custGeom>
                <a:avLst/>
                <a:gdLst>
                  <a:gd name="T0" fmla="*/ 75 w 77"/>
                  <a:gd name="T1" fmla="*/ 53 h 77"/>
                  <a:gd name="T2" fmla="*/ 25 w 77"/>
                  <a:gd name="T3" fmla="*/ 3 h 77"/>
                  <a:gd name="T4" fmla="*/ 15 w 77"/>
                  <a:gd name="T5" fmla="*/ 3 h 77"/>
                  <a:gd name="T6" fmla="*/ 3 w 77"/>
                  <a:gd name="T7" fmla="*/ 15 h 77"/>
                  <a:gd name="T8" fmla="*/ 3 w 77"/>
                  <a:gd name="T9" fmla="*/ 25 h 77"/>
                  <a:gd name="T10" fmla="*/ 53 w 77"/>
                  <a:gd name="T11" fmla="*/ 75 h 77"/>
                  <a:gd name="T12" fmla="*/ 62 w 77"/>
                  <a:gd name="T13" fmla="*/ 75 h 77"/>
                  <a:gd name="T14" fmla="*/ 75 w 77"/>
                  <a:gd name="T15" fmla="*/ 63 h 77"/>
                  <a:gd name="T16" fmla="*/ 75 w 77"/>
                  <a:gd name="T17" fmla="*/ 5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77">
                    <a:moveTo>
                      <a:pt x="75" y="53"/>
                    </a:moveTo>
                    <a:cubicBezTo>
                      <a:pt x="25" y="3"/>
                      <a:pt x="25" y="3"/>
                      <a:pt x="25" y="3"/>
                    </a:cubicBezTo>
                    <a:cubicBezTo>
                      <a:pt x="22" y="0"/>
                      <a:pt x="18" y="0"/>
                      <a:pt x="15" y="3"/>
                    </a:cubicBezTo>
                    <a:cubicBezTo>
                      <a:pt x="3" y="15"/>
                      <a:pt x="3" y="15"/>
                      <a:pt x="3" y="15"/>
                    </a:cubicBezTo>
                    <a:cubicBezTo>
                      <a:pt x="0" y="18"/>
                      <a:pt x="0" y="22"/>
                      <a:pt x="3" y="25"/>
                    </a:cubicBezTo>
                    <a:cubicBezTo>
                      <a:pt x="53" y="75"/>
                      <a:pt x="53" y="75"/>
                      <a:pt x="53" y="75"/>
                    </a:cubicBezTo>
                    <a:cubicBezTo>
                      <a:pt x="56" y="77"/>
                      <a:pt x="60" y="77"/>
                      <a:pt x="62" y="75"/>
                    </a:cubicBezTo>
                    <a:cubicBezTo>
                      <a:pt x="75" y="63"/>
                      <a:pt x="75" y="63"/>
                      <a:pt x="75" y="63"/>
                    </a:cubicBezTo>
                    <a:cubicBezTo>
                      <a:pt x="77" y="60"/>
                      <a:pt x="77" y="56"/>
                      <a:pt x="75"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28"/>
              <p:cNvSpPr>
                <a:spLocks/>
              </p:cNvSpPr>
              <p:nvPr/>
            </p:nvSpPr>
            <p:spPr bwMode="auto">
              <a:xfrm>
                <a:off x="2843213" y="4779963"/>
                <a:ext cx="820737" cy="720725"/>
              </a:xfrm>
              <a:custGeom>
                <a:avLst/>
                <a:gdLst>
                  <a:gd name="T0" fmla="*/ 119 w 219"/>
                  <a:gd name="T1" fmla="*/ 6 h 192"/>
                  <a:gd name="T2" fmla="*/ 65 w 219"/>
                  <a:gd name="T3" fmla="*/ 64 h 192"/>
                  <a:gd name="T4" fmla="*/ 78 w 219"/>
                  <a:gd name="T5" fmla="*/ 85 h 192"/>
                  <a:gd name="T6" fmla="*/ 100 w 219"/>
                  <a:gd name="T7" fmla="*/ 58 h 192"/>
                  <a:gd name="T8" fmla="*/ 123 w 219"/>
                  <a:gd name="T9" fmla="*/ 51 h 192"/>
                  <a:gd name="T10" fmla="*/ 181 w 219"/>
                  <a:gd name="T11" fmla="*/ 109 h 192"/>
                  <a:gd name="T12" fmla="*/ 190 w 219"/>
                  <a:gd name="T13" fmla="*/ 122 h 192"/>
                  <a:gd name="T14" fmla="*/ 181 w 219"/>
                  <a:gd name="T15" fmla="*/ 131 h 192"/>
                  <a:gd name="T16" fmla="*/ 150 w 219"/>
                  <a:gd name="T17" fmla="*/ 103 h 192"/>
                  <a:gd name="T18" fmla="*/ 144 w 219"/>
                  <a:gd name="T19" fmla="*/ 106 h 192"/>
                  <a:gd name="T20" fmla="*/ 170 w 219"/>
                  <a:gd name="T21" fmla="*/ 133 h 192"/>
                  <a:gd name="T22" fmla="*/ 170 w 219"/>
                  <a:gd name="T23" fmla="*/ 146 h 192"/>
                  <a:gd name="T24" fmla="*/ 132 w 219"/>
                  <a:gd name="T25" fmla="*/ 121 h 192"/>
                  <a:gd name="T26" fmla="*/ 127 w 219"/>
                  <a:gd name="T27" fmla="*/ 121 h 192"/>
                  <a:gd name="T28" fmla="*/ 153 w 219"/>
                  <a:gd name="T29" fmla="*/ 151 h 192"/>
                  <a:gd name="T30" fmla="*/ 153 w 219"/>
                  <a:gd name="T31" fmla="*/ 164 h 192"/>
                  <a:gd name="T32" fmla="*/ 115 w 219"/>
                  <a:gd name="T33" fmla="*/ 139 h 192"/>
                  <a:gd name="T34" fmla="*/ 110 w 219"/>
                  <a:gd name="T35" fmla="*/ 138 h 192"/>
                  <a:gd name="T36" fmla="*/ 110 w 219"/>
                  <a:gd name="T37" fmla="*/ 143 h 192"/>
                  <a:gd name="T38" fmla="*/ 138 w 219"/>
                  <a:gd name="T39" fmla="*/ 175 h 192"/>
                  <a:gd name="T40" fmla="*/ 129 w 219"/>
                  <a:gd name="T41" fmla="*/ 184 h 192"/>
                  <a:gd name="T42" fmla="*/ 112 w 219"/>
                  <a:gd name="T43" fmla="*/ 170 h 192"/>
                  <a:gd name="T44" fmla="*/ 94 w 219"/>
                  <a:gd name="T45" fmla="*/ 154 h 192"/>
                  <a:gd name="T46" fmla="*/ 77 w 219"/>
                  <a:gd name="T47" fmla="*/ 136 h 192"/>
                  <a:gd name="T48" fmla="*/ 75 w 219"/>
                  <a:gd name="T49" fmla="*/ 120 h 192"/>
                  <a:gd name="T50" fmla="*/ 59 w 219"/>
                  <a:gd name="T51" fmla="*/ 118 h 192"/>
                  <a:gd name="T52" fmla="*/ 42 w 219"/>
                  <a:gd name="T53" fmla="*/ 101 h 192"/>
                  <a:gd name="T54" fmla="*/ 1 w 219"/>
                  <a:gd name="T55" fmla="*/ 64 h 192"/>
                  <a:gd name="T56" fmla="*/ 37 w 219"/>
                  <a:gd name="T57" fmla="*/ 105 h 192"/>
                  <a:gd name="T58" fmla="*/ 26 w 219"/>
                  <a:gd name="T59" fmla="*/ 117 h 192"/>
                  <a:gd name="T60" fmla="*/ 43 w 219"/>
                  <a:gd name="T61" fmla="*/ 134 h 192"/>
                  <a:gd name="T62" fmla="*/ 43 w 219"/>
                  <a:gd name="T63" fmla="*/ 152 h 192"/>
                  <a:gd name="T64" fmla="*/ 61 w 219"/>
                  <a:gd name="T65" fmla="*/ 169 h 192"/>
                  <a:gd name="T66" fmla="*/ 78 w 219"/>
                  <a:gd name="T67" fmla="*/ 187 h 192"/>
                  <a:gd name="T68" fmla="*/ 103 w 219"/>
                  <a:gd name="T69" fmla="*/ 179 h 192"/>
                  <a:gd name="T70" fmla="*/ 118 w 219"/>
                  <a:gd name="T71" fmla="*/ 186 h 192"/>
                  <a:gd name="T72" fmla="*/ 140 w 219"/>
                  <a:gd name="T73" fmla="*/ 186 h 192"/>
                  <a:gd name="T74" fmla="*/ 144 w 219"/>
                  <a:gd name="T75" fmla="*/ 173 h 192"/>
                  <a:gd name="T76" fmla="*/ 162 w 219"/>
                  <a:gd name="T77" fmla="*/ 157 h 192"/>
                  <a:gd name="T78" fmla="*/ 175 w 219"/>
                  <a:gd name="T79" fmla="*/ 151 h 192"/>
                  <a:gd name="T80" fmla="*/ 179 w 219"/>
                  <a:gd name="T81" fmla="*/ 138 h 192"/>
                  <a:gd name="T82" fmla="*/ 192 w 219"/>
                  <a:gd name="T83" fmla="*/ 133 h 192"/>
                  <a:gd name="T84" fmla="*/ 192 w 219"/>
                  <a:gd name="T85" fmla="*/ 111 h 192"/>
                  <a:gd name="T86" fmla="*/ 219 w 219"/>
                  <a:gd name="T87" fmla="*/ 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9" h="192">
                    <a:moveTo>
                      <a:pt x="168" y="21"/>
                    </a:moveTo>
                    <a:cubicBezTo>
                      <a:pt x="119" y="6"/>
                      <a:pt x="119" y="6"/>
                      <a:pt x="119" y="6"/>
                    </a:cubicBezTo>
                    <a:cubicBezTo>
                      <a:pt x="105" y="0"/>
                      <a:pt x="90" y="7"/>
                      <a:pt x="84" y="20"/>
                    </a:cubicBezTo>
                    <a:cubicBezTo>
                      <a:pt x="65" y="64"/>
                      <a:pt x="65" y="64"/>
                      <a:pt x="65" y="64"/>
                    </a:cubicBezTo>
                    <a:cubicBezTo>
                      <a:pt x="65" y="65"/>
                      <a:pt x="64" y="67"/>
                      <a:pt x="64" y="69"/>
                    </a:cubicBezTo>
                    <a:cubicBezTo>
                      <a:pt x="63" y="77"/>
                      <a:pt x="70" y="84"/>
                      <a:pt x="78" y="85"/>
                    </a:cubicBezTo>
                    <a:cubicBezTo>
                      <a:pt x="84" y="85"/>
                      <a:pt x="90" y="82"/>
                      <a:pt x="92" y="77"/>
                    </a:cubicBezTo>
                    <a:cubicBezTo>
                      <a:pt x="100" y="58"/>
                      <a:pt x="100" y="58"/>
                      <a:pt x="100" y="58"/>
                    </a:cubicBezTo>
                    <a:cubicBezTo>
                      <a:pt x="103" y="53"/>
                      <a:pt x="109" y="48"/>
                      <a:pt x="115" y="48"/>
                    </a:cubicBezTo>
                    <a:cubicBezTo>
                      <a:pt x="118" y="49"/>
                      <a:pt x="121" y="50"/>
                      <a:pt x="123" y="51"/>
                    </a:cubicBezTo>
                    <a:cubicBezTo>
                      <a:pt x="181" y="109"/>
                      <a:pt x="181" y="109"/>
                      <a:pt x="181" y="109"/>
                    </a:cubicBezTo>
                    <a:cubicBezTo>
                      <a:pt x="181" y="109"/>
                      <a:pt x="181" y="109"/>
                      <a:pt x="181" y="109"/>
                    </a:cubicBezTo>
                    <a:cubicBezTo>
                      <a:pt x="188" y="116"/>
                      <a:pt x="188" y="116"/>
                      <a:pt x="188" y="116"/>
                    </a:cubicBezTo>
                    <a:cubicBezTo>
                      <a:pt x="189" y="117"/>
                      <a:pt x="190" y="120"/>
                      <a:pt x="190" y="122"/>
                    </a:cubicBezTo>
                    <a:cubicBezTo>
                      <a:pt x="190" y="125"/>
                      <a:pt x="189" y="127"/>
                      <a:pt x="188" y="128"/>
                    </a:cubicBezTo>
                    <a:cubicBezTo>
                      <a:pt x="186" y="130"/>
                      <a:pt x="184" y="131"/>
                      <a:pt x="181" y="131"/>
                    </a:cubicBezTo>
                    <a:cubicBezTo>
                      <a:pt x="179" y="131"/>
                      <a:pt x="177" y="130"/>
                      <a:pt x="175" y="128"/>
                    </a:cubicBezTo>
                    <a:cubicBezTo>
                      <a:pt x="150" y="103"/>
                      <a:pt x="150" y="103"/>
                      <a:pt x="150" y="103"/>
                    </a:cubicBezTo>
                    <a:cubicBezTo>
                      <a:pt x="148" y="102"/>
                      <a:pt x="146" y="102"/>
                      <a:pt x="145" y="103"/>
                    </a:cubicBezTo>
                    <a:cubicBezTo>
                      <a:pt x="144" y="104"/>
                      <a:pt x="144" y="105"/>
                      <a:pt x="144" y="106"/>
                    </a:cubicBezTo>
                    <a:cubicBezTo>
                      <a:pt x="144" y="107"/>
                      <a:pt x="144" y="107"/>
                      <a:pt x="145" y="108"/>
                    </a:cubicBezTo>
                    <a:cubicBezTo>
                      <a:pt x="170" y="133"/>
                      <a:pt x="170" y="133"/>
                      <a:pt x="170" y="133"/>
                    </a:cubicBezTo>
                    <a:cubicBezTo>
                      <a:pt x="172" y="135"/>
                      <a:pt x="173" y="137"/>
                      <a:pt x="173" y="140"/>
                    </a:cubicBezTo>
                    <a:cubicBezTo>
                      <a:pt x="173" y="142"/>
                      <a:pt x="172" y="144"/>
                      <a:pt x="170" y="146"/>
                    </a:cubicBezTo>
                    <a:cubicBezTo>
                      <a:pt x="167" y="150"/>
                      <a:pt x="161" y="150"/>
                      <a:pt x="157" y="146"/>
                    </a:cubicBezTo>
                    <a:cubicBezTo>
                      <a:pt x="157" y="146"/>
                      <a:pt x="135" y="124"/>
                      <a:pt x="132" y="121"/>
                    </a:cubicBezTo>
                    <a:cubicBezTo>
                      <a:pt x="132" y="121"/>
                      <a:pt x="132" y="121"/>
                      <a:pt x="132" y="121"/>
                    </a:cubicBezTo>
                    <a:cubicBezTo>
                      <a:pt x="131" y="120"/>
                      <a:pt x="129" y="120"/>
                      <a:pt x="127" y="121"/>
                    </a:cubicBezTo>
                    <a:cubicBezTo>
                      <a:pt x="126" y="122"/>
                      <a:pt x="126" y="124"/>
                      <a:pt x="127" y="126"/>
                    </a:cubicBezTo>
                    <a:cubicBezTo>
                      <a:pt x="153" y="151"/>
                      <a:pt x="153" y="151"/>
                      <a:pt x="153" y="151"/>
                    </a:cubicBezTo>
                    <a:cubicBezTo>
                      <a:pt x="154" y="152"/>
                      <a:pt x="155" y="155"/>
                      <a:pt x="155" y="157"/>
                    </a:cubicBezTo>
                    <a:cubicBezTo>
                      <a:pt x="155" y="160"/>
                      <a:pt x="154" y="162"/>
                      <a:pt x="153" y="164"/>
                    </a:cubicBezTo>
                    <a:cubicBezTo>
                      <a:pt x="149" y="167"/>
                      <a:pt x="143" y="167"/>
                      <a:pt x="140" y="163"/>
                    </a:cubicBezTo>
                    <a:cubicBezTo>
                      <a:pt x="140" y="164"/>
                      <a:pt x="118" y="141"/>
                      <a:pt x="115" y="139"/>
                    </a:cubicBezTo>
                    <a:cubicBezTo>
                      <a:pt x="115" y="138"/>
                      <a:pt x="115" y="138"/>
                      <a:pt x="115" y="138"/>
                    </a:cubicBezTo>
                    <a:cubicBezTo>
                      <a:pt x="113" y="137"/>
                      <a:pt x="111" y="137"/>
                      <a:pt x="110" y="138"/>
                    </a:cubicBezTo>
                    <a:cubicBezTo>
                      <a:pt x="109" y="139"/>
                      <a:pt x="109" y="140"/>
                      <a:pt x="109" y="141"/>
                    </a:cubicBezTo>
                    <a:cubicBezTo>
                      <a:pt x="109" y="142"/>
                      <a:pt x="109" y="142"/>
                      <a:pt x="110" y="143"/>
                    </a:cubicBezTo>
                    <a:cubicBezTo>
                      <a:pt x="135" y="168"/>
                      <a:pt x="135" y="168"/>
                      <a:pt x="135" y="168"/>
                    </a:cubicBezTo>
                    <a:cubicBezTo>
                      <a:pt x="137" y="170"/>
                      <a:pt x="138" y="172"/>
                      <a:pt x="138" y="175"/>
                    </a:cubicBezTo>
                    <a:cubicBezTo>
                      <a:pt x="138" y="177"/>
                      <a:pt x="137" y="179"/>
                      <a:pt x="135" y="181"/>
                    </a:cubicBezTo>
                    <a:cubicBezTo>
                      <a:pt x="133" y="183"/>
                      <a:pt x="131" y="184"/>
                      <a:pt x="129" y="184"/>
                    </a:cubicBezTo>
                    <a:cubicBezTo>
                      <a:pt x="126" y="184"/>
                      <a:pt x="124" y="183"/>
                      <a:pt x="122" y="181"/>
                    </a:cubicBezTo>
                    <a:cubicBezTo>
                      <a:pt x="112" y="170"/>
                      <a:pt x="112" y="170"/>
                      <a:pt x="112" y="170"/>
                    </a:cubicBezTo>
                    <a:cubicBezTo>
                      <a:pt x="115" y="166"/>
                      <a:pt x="115" y="159"/>
                      <a:pt x="110" y="155"/>
                    </a:cubicBezTo>
                    <a:cubicBezTo>
                      <a:pt x="106" y="150"/>
                      <a:pt x="99" y="150"/>
                      <a:pt x="94" y="154"/>
                    </a:cubicBezTo>
                    <a:cubicBezTo>
                      <a:pt x="98" y="149"/>
                      <a:pt x="97" y="142"/>
                      <a:pt x="93" y="137"/>
                    </a:cubicBezTo>
                    <a:cubicBezTo>
                      <a:pt x="89" y="133"/>
                      <a:pt x="82" y="132"/>
                      <a:pt x="77" y="136"/>
                    </a:cubicBezTo>
                    <a:cubicBezTo>
                      <a:pt x="77" y="135"/>
                      <a:pt x="77" y="135"/>
                      <a:pt x="77" y="135"/>
                    </a:cubicBezTo>
                    <a:cubicBezTo>
                      <a:pt x="80" y="130"/>
                      <a:pt x="80" y="124"/>
                      <a:pt x="75" y="120"/>
                    </a:cubicBezTo>
                    <a:cubicBezTo>
                      <a:pt x="71" y="115"/>
                      <a:pt x="64" y="115"/>
                      <a:pt x="60" y="118"/>
                    </a:cubicBezTo>
                    <a:cubicBezTo>
                      <a:pt x="59" y="118"/>
                      <a:pt x="59" y="118"/>
                      <a:pt x="59" y="118"/>
                    </a:cubicBezTo>
                    <a:cubicBezTo>
                      <a:pt x="63" y="113"/>
                      <a:pt x="62" y="106"/>
                      <a:pt x="58" y="102"/>
                    </a:cubicBezTo>
                    <a:cubicBezTo>
                      <a:pt x="54" y="98"/>
                      <a:pt x="47" y="97"/>
                      <a:pt x="42" y="101"/>
                    </a:cubicBezTo>
                    <a:cubicBezTo>
                      <a:pt x="6" y="64"/>
                      <a:pt x="6" y="64"/>
                      <a:pt x="6" y="64"/>
                    </a:cubicBezTo>
                    <a:cubicBezTo>
                      <a:pt x="4" y="63"/>
                      <a:pt x="2" y="63"/>
                      <a:pt x="1" y="64"/>
                    </a:cubicBezTo>
                    <a:cubicBezTo>
                      <a:pt x="0" y="65"/>
                      <a:pt x="0" y="68"/>
                      <a:pt x="1" y="69"/>
                    </a:cubicBezTo>
                    <a:cubicBezTo>
                      <a:pt x="37" y="105"/>
                      <a:pt x="37" y="105"/>
                      <a:pt x="37" y="105"/>
                    </a:cubicBezTo>
                    <a:cubicBezTo>
                      <a:pt x="33" y="109"/>
                      <a:pt x="33" y="109"/>
                      <a:pt x="33" y="109"/>
                    </a:cubicBezTo>
                    <a:cubicBezTo>
                      <a:pt x="26" y="117"/>
                      <a:pt x="26" y="117"/>
                      <a:pt x="26" y="117"/>
                    </a:cubicBezTo>
                    <a:cubicBezTo>
                      <a:pt x="21" y="121"/>
                      <a:pt x="21" y="129"/>
                      <a:pt x="26" y="134"/>
                    </a:cubicBezTo>
                    <a:cubicBezTo>
                      <a:pt x="31" y="139"/>
                      <a:pt x="38" y="139"/>
                      <a:pt x="43" y="134"/>
                    </a:cubicBezTo>
                    <a:cubicBezTo>
                      <a:pt x="43" y="134"/>
                      <a:pt x="43" y="134"/>
                      <a:pt x="43" y="134"/>
                    </a:cubicBezTo>
                    <a:cubicBezTo>
                      <a:pt x="38" y="139"/>
                      <a:pt x="38" y="147"/>
                      <a:pt x="43" y="152"/>
                    </a:cubicBezTo>
                    <a:cubicBezTo>
                      <a:pt x="48" y="156"/>
                      <a:pt x="56" y="156"/>
                      <a:pt x="61" y="152"/>
                    </a:cubicBezTo>
                    <a:cubicBezTo>
                      <a:pt x="56" y="156"/>
                      <a:pt x="56" y="164"/>
                      <a:pt x="61" y="169"/>
                    </a:cubicBezTo>
                    <a:cubicBezTo>
                      <a:pt x="65" y="174"/>
                      <a:pt x="72" y="174"/>
                      <a:pt x="77" y="170"/>
                    </a:cubicBezTo>
                    <a:cubicBezTo>
                      <a:pt x="73" y="175"/>
                      <a:pt x="74" y="182"/>
                      <a:pt x="78" y="187"/>
                    </a:cubicBezTo>
                    <a:cubicBezTo>
                      <a:pt x="83" y="192"/>
                      <a:pt x="91" y="192"/>
                      <a:pt x="96" y="187"/>
                    </a:cubicBezTo>
                    <a:cubicBezTo>
                      <a:pt x="103" y="179"/>
                      <a:pt x="103" y="179"/>
                      <a:pt x="103" y="179"/>
                    </a:cubicBezTo>
                    <a:cubicBezTo>
                      <a:pt x="107" y="175"/>
                      <a:pt x="107" y="175"/>
                      <a:pt x="107" y="175"/>
                    </a:cubicBezTo>
                    <a:cubicBezTo>
                      <a:pt x="118" y="186"/>
                      <a:pt x="118" y="186"/>
                      <a:pt x="118" y="186"/>
                    </a:cubicBezTo>
                    <a:cubicBezTo>
                      <a:pt x="121" y="189"/>
                      <a:pt x="124" y="190"/>
                      <a:pt x="129" y="190"/>
                    </a:cubicBezTo>
                    <a:cubicBezTo>
                      <a:pt x="133" y="190"/>
                      <a:pt x="137" y="189"/>
                      <a:pt x="140" y="186"/>
                    </a:cubicBezTo>
                    <a:cubicBezTo>
                      <a:pt x="143" y="183"/>
                      <a:pt x="144" y="179"/>
                      <a:pt x="144" y="175"/>
                    </a:cubicBezTo>
                    <a:cubicBezTo>
                      <a:pt x="144" y="174"/>
                      <a:pt x="144" y="173"/>
                      <a:pt x="144" y="173"/>
                    </a:cubicBezTo>
                    <a:cubicBezTo>
                      <a:pt x="149" y="173"/>
                      <a:pt x="154" y="172"/>
                      <a:pt x="157" y="168"/>
                    </a:cubicBezTo>
                    <a:cubicBezTo>
                      <a:pt x="160" y="165"/>
                      <a:pt x="162" y="161"/>
                      <a:pt x="162" y="157"/>
                    </a:cubicBezTo>
                    <a:cubicBezTo>
                      <a:pt x="162" y="156"/>
                      <a:pt x="162" y="156"/>
                      <a:pt x="162" y="155"/>
                    </a:cubicBezTo>
                    <a:cubicBezTo>
                      <a:pt x="166" y="156"/>
                      <a:pt x="171" y="154"/>
                      <a:pt x="175" y="151"/>
                    </a:cubicBezTo>
                    <a:cubicBezTo>
                      <a:pt x="178" y="148"/>
                      <a:pt x="179" y="144"/>
                      <a:pt x="179" y="140"/>
                    </a:cubicBezTo>
                    <a:cubicBezTo>
                      <a:pt x="179" y="139"/>
                      <a:pt x="179" y="138"/>
                      <a:pt x="179" y="138"/>
                    </a:cubicBezTo>
                    <a:cubicBezTo>
                      <a:pt x="180" y="138"/>
                      <a:pt x="181" y="138"/>
                      <a:pt x="181" y="138"/>
                    </a:cubicBezTo>
                    <a:cubicBezTo>
                      <a:pt x="185" y="138"/>
                      <a:pt x="189" y="136"/>
                      <a:pt x="192" y="133"/>
                    </a:cubicBezTo>
                    <a:cubicBezTo>
                      <a:pt x="195" y="130"/>
                      <a:pt x="197" y="126"/>
                      <a:pt x="197" y="122"/>
                    </a:cubicBezTo>
                    <a:cubicBezTo>
                      <a:pt x="197" y="118"/>
                      <a:pt x="195" y="114"/>
                      <a:pt x="192" y="111"/>
                    </a:cubicBezTo>
                    <a:cubicBezTo>
                      <a:pt x="185" y="104"/>
                      <a:pt x="185" y="104"/>
                      <a:pt x="185" y="104"/>
                    </a:cubicBezTo>
                    <a:cubicBezTo>
                      <a:pt x="219" y="71"/>
                      <a:pt x="219" y="71"/>
                      <a:pt x="219" y="71"/>
                    </a:cubicBezTo>
                    <a:lnTo>
                      <a:pt x="168"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Textfeld 52"/>
            <p:cNvSpPr txBox="1"/>
            <p:nvPr/>
          </p:nvSpPr>
          <p:spPr>
            <a:xfrm>
              <a:off x="1825822" y="3999637"/>
              <a:ext cx="2168934" cy="404338"/>
            </a:xfrm>
            <a:prstGeom prst="rect">
              <a:avLst/>
            </a:prstGeom>
            <a:noFill/>
          </p:spPr>
          <p:txBody>
            <a:bodyPr wrap="square" lIns="0" tIns="0" rIns="0" bIns="0" rtlCol="0">
              <a:spAutoFit/>
            </a:bodyPr>
            <a:lstStyle/>
            <a:p>
              <a:pPr marL="171450" indent="-171450">
                <a:spcAft>
                  <a:spcPts val="500"/>
                </a:spcAft>
                <a:buClr>
                  <a:srgbClr val="000000"/>
                </a:buClr>
                <a:buSzPct val="100000"/>
                <a:buFont typeface="Arial" panose="020B0604020202020204" pitchFamily="34" charset="0"/>
                <a:buChar char="•"/>
              </a:pPr>
              <a:r>
                <a:rPr lang="de-DE" sz="1100" dirty="0" err="1" smtClean="0"/>
                <a:t>Teach</a:t>
              </a:r>
              <a:r>
                <a:rPr lang="de-DE" sz="1100" dirty="0" smtClean="0"/>
                <a:t> For All </a:t>
              </a:r>
              <a:r>
                <a:rPr lang="de-DE" sz="1100" dirty="0" err="1" smtClean="0"/>
                <a:t>network</a:t>
              </a:r>
              <a:endParaRPr lang="de-DE" sz="1100" dirty="0" smtClean="0"/>
            </a:p>
            <a:p>
              <a:pPr marL="171450" indent="-171450">
                <a:spcAft>
                  <a:spcPts val="500"/>
                </a:spcAft>
                <a:buClr>
                  <a:srgbClr val="000000"/>
                </a:buClr>
                <a:buSzPct val="100000"/>
                <a:buFont typeface="Arial" panose="020B0604020202020204" pitchFamily="34" charset="0"/>
                <a:buChar char="•"/>
              </a:pPr>
              <a:r>
                <a:rPr lang="de-DE" sz="1100" dirty="0" smtClean="0"/>
                <a:t>SOS </a:t>
              </a:r>
              <a:r>
                <a:rPr lang="de-DE" sz="1100" dirty="0" err="1" smtClean="0"/>
                <a:t>Children‘s</a:t>
              </a:r>
              <a:r>
                <a:rPr lang="de-DE" sz="1100" dirty="0" smtClean="0"/>
                <a:t> </a:t>
              </a:r>
              <a:r>
                <a:rPr lang="de-DE" sz="1100" dirty="0" err="1" smtClean="0"/>
                <a:t>Villages</a:t>
              </a:r>
              <a:endParaRPr lang="de-DE" sz="1100" dirty="0"/>
            </a:p>
          </p:txBody>
        </p:sp>
        <p:sp>
          <p:nvSpPr>
            <p:cNvPr id="54" name="Textfeld 53"/>
            <p:cNvSpPr txBox="1"/>
            <p:nvPr/>
          </p:nvSpPr>
          <p:spPr>
            <a:xfrm>
              <a:off x="1825822" y="4731368"/>
              <a:ext cx="339823" cy="564915"/>
            </a:xfrm>
            <a:prstGeom prst="rect">
              <a:avLst/>
            </a:prstGeom>
            <a:noFill/>
          </p:spPr>
          <p:txBody>
            <a:bodyPr wrap="none" lIns="0" tIns="0" rIns="0" bIns="0" rtlCol="0">
              <a:spAutoFit/>
            </a:bodyPr>
            <a:lstStyle/>
            <a:p>
              <a:pPr>
                <a:lnSpc>
                  <a:spcPct val="110000"/>
                </a:lnSpc>
                <a:spcAft>
                  <a:spcPts val="500"/>
                </a:spcAft>
              </a:pPr>
              <a:r>
                <a:rPr lang="de-DE" sz="3600" b="1" dirty="0" smtClean="0">
                  <a:solidFill>
                    <a:schemeClr val="accent1"/>
                  </a:solidFill>
                </a:rPr>
                <a:t>+</a:t>
              </a:r>
              <a:r>
                <a:rPr lang="de-DE" sz="2000" dirty="0" smtClean="0"/>
                <a:t> </a:t>
              </a:r>
            </a:p>
          </p:txBody>
        </p:sp>
        <p:sp>
          <p:nvSpPr>
            <p:cNvPr id="55" name="Textfeld 54"/>
            <p:cNvSpPr txBox="1"/>
            <p:nvPr/>
          </p:nvSpPr>
          <p:spPr>
            <a:xfrm>
              <a:off x="2148157" y="4942560"/>
              <a:ext cx="2169919" cy="169277"/>
            </a:xfrm>
            <a:prstGeom prst="rect">
              <a:avLst/>
            </a:prstGeom>
            <a:noFill/>
          </p:spPr>
          <p:txBody>
            <a:bodyPr wrap="square" lIns="0" tIns="0" rIns="0" bIns="0" rtlCol="0">
              <a:spAutoFit/>
            </a:bodyPr>
            <a:lstStyle/>
            <a:p>
              <a:pPr>
                <a:spcAft>
                  <a:spcPts val="500"/>
                </a:spcAft>
                <a:buClr>
                  <a:srgbClr val="000000"/>
                </a:buClr>
                <a:buSzPct val="100000"/>
              </a:pPr>
              <a:r>
                <a:rPr lang="en-US" sz="1100" dirty="0" smtClean="0"/>
                <a:t>supporting partners in the countries</a:t>
              </a:r>
              <a:endParaRPr lang="en-US" sz="1100" dirty="0"/>
            </a:p>
          </p:txBody>
        </p:sp>
        <p:sp>
          <p:nvSpPr>
            <p:cNvPr id="56" name="Freeform 17"/>
            <p:cNvSpPr>
              <a:spLocks noEditPoints="1"/>
            </p:cNvSpPr>
            <p:nvPr/>
          </p:nvSpPr>
          <p:spPr bwMode="auto">
            <a:xfrm>
              <a:off x="4825975" y="4599755"/>
              <a:ext cx="327233" cy="329270"/>
            </a:xfrm>
            <a:custGeom>
              <a:avLst/>
              <a:gdLst>
                <a:gd name="T0" fmla="*/ 93 w 203"/>
                <a:gd name="T1" fmla="*/ 187 h 200"/>
                <a:gd name="T2" fmla="*/ 13 w 203"/>
                <a:gd name="T3" fmla="*/ 109 h 200"/>
                <a:gd name="T4" fmla="*/ 6 w 203"/>
                <a:gd name="T5" fmla="*/ 103 h 200"/>
                <a:gd name="T6" fmla="*/ 1 w 203"/>
                <a:gd name="T7" fmla="*/ 110 h 200"/>
                <a:gd name="T8" fmla="*/ 92 w 203"/>
                <a:gd name="T9" fmla="*/ 200 h 200"/>
                <a:gd name="T10" fmla="*/ 99 w 203"/>
                <a:gd name="T11" fmla="*/ 194 h 200"/>
                <a:gd name="T12" fmla="*/ 93 w 203"/>
                <a:gd name="T13" fmla="*/ 187 h 200"/>
                <a:gd name="T14" fmla="*/ 6 w 203"/>
                <a:gd name="T15" fmla="*/ 98 h 200"/>
                <a:gd name="T16" fmla="*/ 13 w 203"/>
                <a:gd name="T17" fmla="*/ 92 h 200"/>
                <a:gd name="T18" fmla="*/ 92 w 203"/>
                <a:gd name="T19" fmla="*/ 13 h 200"/>
                <a:gd name="T20" fmla="*/ 98 w 203"/>
                <a:gd name="T21" fmla="*/ 6 h 200"/>
                <a:gd name="T22" fmla="*/ 91 w 203"/>
                <a:gd name="T23" fmla="*/ 0 h 200"/>
                <a:gd name="T24" fmla="*/ 1 w 203"/>
                <a:gd name="T25" fmla="*/ 91 h 200"/>
                <a:gd name="T26" fmla="*/ 6 w 203"/>
                <a:gd name="T27" fmla="*/ 98 h 200"/>
                <a:gd name="T28" fmla="*/ 109 w 203"/>
                <a:gd name="T29" fmla="*/ 13 h 200"/>
                <a:gd name="T30" fmla="*/ 188 w 203"/>
                <a:gd name="T31" fmla="*/ 91 h 200"/>
                <a:gd name="T32" fmla="*/ 195 w 203"/>
                <a:gd name="T33" fmla="*/ 97 h 200"/>
                <a:gd name="T34" fmla="*/ 202 w 203"/>
                <a:gd name="T35" fmla="*/ 90 h 200"/>
                <a:gd name="T36" fmla="*/ 111 w 203"/>
                <a:gd name="T37" fmla="*/ 0 h 200"/>
                <a:gd name="T38" fmla="*/ 104 w 203"/>
                <a:gd name="T39" fmla="*/ 6 h 200"/>
                <a:gd name="T40" fmla="*/ 109 w 203"/>
                <a:gd name="T41" fmla="*/ 13 h 200"/>
                <a:gd name="T42" fmla="*/ 195 w 203"/>
                <a:gd name="T43" fmla="*/ 102 h 200"/>
                <a:gd name="T44" fmla="*/ 188 w 203"/>
                <a:gd name="T45" fmla="*/ 108 h 200"/>
                <a:gd name="T46" fmla="*/ 110 w 203"/>
                <a:gd name="T47" fmla="*/ 187 h 200"/>
                <a:gd name="T48" fmla="*/ 105 w 203"/>
                <a:gd name="T49" fmla="*/ 194 h 200"/>
                <a:gd name="T50" fmla="*/ 112 w 203"/>
                <a:gd name="T51" fmla="*/ 200 h 200"/>
                <a:gd name="T52" fmla="*/ 202 w 203"/>
                <a:gd name="T53" fmla="*/ 109 h 200"/>
                <a:gd name="T54" fmla="*/ 195 w 203"/>
                <a:gd name="T55" fmla="*/ 102 h 200"/>
                <a:gd name="T56" fmla="*/ 177 w 203"/>
                <a:gd name="T57" fmla="*/ 100 h 200"/>
                <a:gd name="T58" fmla="*/ 101 w 203"/>
                <a:gd name="T59" fmla="*/ 24 h 200"/>
                <a:gd name="T60" fmla="*/ 25 w 203"/>
                <a:gd name="T61" fmla="*/ 100 h 200"/>
                <a:gd name="T62" fmla="*/ 101 w 203"/>
                <a:gd name="T63" fmla="*/ 176 h 200"/>
                <a:gd name="T64" fmla="*/ 177 w 203"/>
                <a:gd name="T65" fmla="*/ 100 h 200"/>
                <a:gd name="T66" fmla="*/ 101 w 203"/>
                <a:gd name="T67" fmla="*/ 149 h 200"/>
                <a:gd name="T68" fmla="*/ 88 w 203"/>
                <a:gd name="T69" fmla="*/ 136 h 200"/>
                <a:gd name="T70" fmla="*/ 101 w 203"/>
                <a:gd name="T71" fmla="*/ 124 h 200"/>
                <a:gd name="T72" fmla="*/ 113 w 203"/>
                <a:gd name="T73" fmla="*/ 136 h 200"/>
                <a:gd name="T74" fmla="*/ 101 w 203"/>
                <a:gd name="T75" fmla="*/ 149 h 200"/>
                <a:gd name="T76" fmla="*/ 116 w 203"/>
                <a:gd name="T77" fmla="*/ 69 h 200"/>
                <a:gd name="T78" fmla="*/ 107 w 203"/>
                <a:gd name="T79" fmla="*/ 110 h 200"/>
                <a:gd name="T80" fmla="*/ 101 w 203"/>
                <a:gd name="T81" fmla="*/ 115 h 200"/>
                <a:gd name="T82" fmla="*/ 95 w 203"/>
                <a:gd name="T83" fmla="*/ 110 h 200"/>
                <a:gd name="T84" fmla="*/ 86 w 203"/>
                <a:gd name="T85" fmla="*/ 69 h 200"/>
                <a:gd name="T86" fmla="*/ 86 w 203"/>
                <a:gd name="T87" fmla="*/ 66 h 200"/>
                <a:gd name="T88" fmla="*/ 101 w 203"/>
                <a:gd name="T89" fmla="*/ 51 h 200"/>
                <a:gd name="T90" fmla="*/ 116 w 203"/>
                <a:gd name="T91" fmla="*/ 66 h 200"/>
                <a:gd name="T92" fmla="*/ 116 w 203"/>
                <a:gd name="T93" fmla="*/ 6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3" h="200">
                  <a:moveTo>
                    <a:pt x="93" y="187"/>
                  </a:moveTo>
                  <a:cubicBezTo>
                    <a:pt x="51" y="183"/>
                    <a:pt x="18" y="150"/>
                    <a:pt x="13" y="109"/>
                  </a:cubicBezTo>
                  <a:cubicBezTo>
                    <a:pt x="13" y="105"/>
                    <a:pt x="10" y="103"/>
                    <a:pt x="6" y="103"/>
                  </a:cubicBezTo>
                  <a:cubicBezTo>
                    <a:pt x="3" y="104"/>
                    <a:pt x="0" y="107"/>
                    <a:pt x="1" y="110"/>
                  </a:cubicBezTo>
                  <a:cubicBezTo>
                    <a:pt x="5" y="158"/>
                    <a:pt x="43" y="195"/>
                    <a:pt x="92" y="200"/>
                  </a:cubicBezTo>
                  <a:cubicBezTo>
                    <a:pt x="96" y="200"/>
                    <a:pt x="99" y="198"/>
                    <a:pt x="99" y="194"/>
                  </a:cubicBezTo>
                  <a:cubicBezTo>
                    <a:pt x="99" y="190"/>
                    <a:pt x="97" y="187"/>
                    <a:pt x="93" y="187"/>
                  </a:cubicBezTo>
                  <a:close/>
                  <a:moveTo>
                    <a:pt x="6" y="98"/>
                  </a:moveTo>
                  <a:cubicBezTo>
                    <a:pt x="10" y="98"/>
                    <a:pt x="13" y="95"/>
                    <a:pt x="13" y="92"/>
                  </a:cubicBezTo>
                  <a:cubicBezTo>
                    <a:pt x="17" y="50"/>
                    <a:pt x="50" y="17"/>
                    <a:pt x="92" y="13"/>
                  </a:cubicBezTo>
                  <a:cubicBezTo>
                    <a:pt x="96" y="13"/>
                    <a:pt x="98" y="9"/>
                    <a:pt x="98" y="6"/>
                  </a:cubicBezTo>
                  <a:cubicBezTo>
                    <a:pt x="98" y="2"/>
                    <a:pt x="95" y="0"/>
                    <a:pt x="91" y="0"/>
                  </a:cubicBezTo>
                  <a:cubicBezTo>
                    <a:pt x="43" y="5"/>
                    <a:pt x="5" y="43"/>
                    <a:pt x="1" y="91"/>
                  </a:cubicBezTo>
                  <a:cubicBezTo>
                    <a:pt x="0" y="94"/>
                    <a:pt x="3" y="97"/>
                    <a:pt x="6" y="98"/>
                  </a:cubicBezTo>
                  <a:close/>
                  <a:moveTo>
                    <a:pt x="109" y="13"/>
                  </a:moveTo>
                  <a:cubicBezTo>
                    <a:pt x="151" y="17"/>
                    <a:pt x="184" y="50"/>
                    <a:pt x="188" y="91"/>
                  </a:cubicBezTo>
                  <a:cubicBezTo>
                    <a:pt x="189" y="95"/>
                    <a:pt x="192" y="97"/>
                    <a:pt x="195" y="97"/>
                  </a:cubicBezTo>
                  <a:cubicBezTo>
                    <a:pt x="199" y="96"/>
                    <a:pt x="202" y="93"/>
                    <a:pt x="202" y="90"/>
                  </a:cubicBezTo>
                  <a:cubicBezTo>
                    <a:pt x="197" y="42"/>
                    <a:pt x="158" y="5"/>
                    <a:pt x="111" y="0"/>
                  </a:cubicBezTo>
                  <a:cubicBezTo>
                    <a:pt x="107" y="0"/>
                    <a:pt x="104" y="2"/>
                    <a:pt x="104" y="6"/>
                  </a:cubicBezTo>
                  <a:cubicBezTo>
                    <a:pt x="103" y="9"/>
                    <a:pt x="106" y="13"/>
                    <a:pt x="109" y="13"/>
                  </a:cubicBezTo>
                  <a:close/>
                  <a:moveTo>
                    <a:pt x="195" y="102"/>
                  </a:moveTo>
                  <a:cubicBezTo>
                    <a:pt x="192" y="102"/>
                    <a:pt x="189" y="105"/>
                    <a:pt x="188" y="108"/>
                  </a:cubicBezTo>
                  <a:cubicBezTo>
                    <a:pt x="185" y="150"/>
                    <a:pt x="152" y="183"/>
                    <a:pt x="110" y="187"/>
                  </a:cubicBezTo>
                  <a:cubicBezTo>
                    <a:pt x="107" y="187"/>
                    <a:pt x="104" y="190"/>
                    <a:pt x="105" y="194"/>
                  </a:cubicBezTo>
                  <a:cubicBezTo>
                    <a:pt x="105" y="197"/>
                    <a:pt x="108" y="200"/>
                    <a:pt x="112" y="200"/>
                  </a:cubicBezTo>
                  <a:cubicBezTo>
                    <a:pt x="159" y="195"/>
                    <a:pt x="198" y="157"/>
                    <a:pt x="202" y="109"/>
                  </a:cubicBezTo>
                  <a:cubicBezTo>
                    <a:pt x="203" y="106"/>
                    <a:pt x="199" y="103"/>
                    <a:pt x="195" y="102"/>
                  </a:cubicBezTo>
                  <a:close/>
                  <a:moveTo>
                    <a:pt x="177" y="100"/>
                  </a:moveTo>
                  <a:cubicBezTo>
                    <a:pt x="177" y="58"/>
                    <a:pt x="143" y="24"/>
                    <a:pt x="101" y="24"/>
                  </a:cubicBezTo>
                  <a:cubicBezTo>
                    <a:pt x="59" y="24"/>
                    <a:pt x="25" y="58"/>
                    <a:pt x="25" y="100"/>
                  </a:cubicBezTo>
                  <a:cubicBezTo>
                    <a:pt x="25" y="142"/>
                    <a:pt x="59" y="176"/>
                    <a:pt x="101" y="176"/>
                  </a:cubicBezTo>
                  <a:cubicBezTo>
                    <a:pt x="143" y="176"/>
                    <a:pt x="177" y="142"/>
                    <a:pt x="177" y="100"/>
                  </a:cubicBezTo>
                  <a:close/>
                  <a:moveTo>
                    <a:pt x="101" y="149"/>
                  </a:moveTo>
                  <a:cubicBezTo>
                    <a:pt x="94" y="149"/>
                    <a:pt x="88" y="143"/>
                    <a:pt x="88" y="136"/>
                  </a:cubicBezTo>
                  <a:cubicBezTo>
                    <a:pt x="88" y="130"/>
                    <a:pt x="94" y="124"/>
                    <a:pt x="101" y="124"/>
                  </a:cubicBezTo>
                  <a:cubicBezTo>
                    <a:pt x="107" y="124"/>
                    <a:pt x="113" y="130"/>
                    <a:pt x="113" y="136"/>
                  </a:cubicBezTo>
                  <a:cubicBezTo>
                    <a:pt x="113" y="143"/>
                    <a:pt x="107" y="149"/>
                    <a:pt x="101" y="149"/>
                  </a:cubicBezTo>
                  <a:close/>
                  <a:moveTo>
                    <a:pt x="116" y="69"/>
                  </a:moveTo>
                  <a:cubicBezTo>
                    <a:pt x="116" y="69"/>
                    <a:pt x="116" y="69"/>
                    <a:pt x="107" y="110"/>
                  </a:cubicBezTo>
                  <a:cubicBezTo>
                    <a:pt x="106" y="113"/>
                    <a:pt x="104" y="115"/>
                    <a:pt x="101" y="115"/>
                  </a:cubicBezTo>
                  <a:cubicBezTo>
                    <a:pt x="98" y="115"/>
                    <a:pt x="95" y="113"/>
                    <a:pt x="95" y="110"/>
                  </a:cubicBezTo>
                  <a:cubicBezTo>
                    <a:pt x="95" y="110"/>
                    <a:pt x="95" y="110"/>
                    <a:pt x="86" y="69"/>
                  </a:cubicBezTo>
                  <a:cubicBezTo>
                    <a:pt x="86" y="66"/>
                    <a:pt x="86" y="66"/>
                    <a:pt x="86" y="66"/>
                  </a:cubicBezTo>
                  <a:cubicBezTo>
                    <a:pt x="86" y="58"/>
                    <a:pt x="92" y="51"/>
                    <a:pt x="101" y="51"/>
                  </a:cubicBezTo>
                  <a:cubicBezTo>
                    <a:pt x="109" y="51"/>
                    <a:pt x="116" y="58"/>
                    <a:pt x="116" y="66"/>
                  </a:cubicBezTo>
                  <a:lnTo>
                    <a:pt x="116" y="69"/>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de-DE"/>
            </a:p>
          </p:txBody>
        </p:sp>
        <p:sp>
          <p:nvSpPr>
            <p:cNvPr id="57" name="Textfeld 56"/>
            <p:cNvSpPr txBox="1"/>
            <p:nvPr/>
          </p:nvSpPr>
          <p:spPr>
            <a:xfrm>
              <a:off x="5295009" y="4578185"/>
              <a:ext cx="506079" cy="372410"/>
            </a:xfrm>
            <a:prstGeom prst="rect">
              <a:avLst/>
            </a:prstGeom>
            <a:noFill/>
          </p:spPr>
          <p:txBody>
            <a:bodyPr wrap="square" lIns="0" tIns="0" rIns="0" bIns="0" rtlCol="0">
              <a:spAutoFit/>
            </a:bodyPr>
            <a:lstStyle/>
            <a:p>
              <a:pPr>
                <a:lnSpc>
                  <a:spcPct val="110000"/>
                </a:lnSpc>
                <a:spcAft>
                  <a:spcPts val="500"/>
                </a:spcAft>
              </a:pPr>
              <a:r>
                <a:rPr lang="de-DE" sz="1100" b="1" dirty="0" smtClean="0">
                  <a:latin typeface="Arial" charset="0"/>
                </a:rPr>
                <a:t>Main </a:t>
              </a:r>
              <a:r>
                <a:rPr lang="de-DE" sz="1100" b="1" dirty="0" err="1" smtClean="0">
                  <a:latin typeface="Arial" charset="0"/>
                </a:rPr>
                <a:t>lever</a:t>
              </a:r>
              <a:endParaRPr lang="de-DE" sz="1100" b="1" dirty="0">
                <a:latin typeface="Arial" charset="0"/>
              </a:endParaRPr>
            </a:p>
          </p:txBody>
        </p:sp>
        <p:sp>
          <p:nvSpPr>
            <p:cNvPr id="58" name="Textfeld 57"/>
            <p:cNvSpPr txBox="1"/>
            <p:nvPr/>
          </p:nvSpPr>
          <p:spPr>
            <a:xfrm>
              <a:off x="6046305" y="4499295"/>
              <a:ext cx="2668426" cy="530190"/>
            </a:xfrm>
            <a:prstGeom prst="rect">
              <a:avLst/>
            </a:prstGeom>
            <a:noFill/>
          </p:spPr>
          <p:txBody>
            <a:bodyPr wrap="square" lIns="0" tIns="0" rIns="0" bIns="0" rtlCol="0">
              <a:spAutoFit/>
            </a:bodyPr>
            <a:lstStyle/>
            <a:p>
              <a:pPr>
                <a:spcAft>
                  <a:spcPts val="500"/>
                </a:spcAft>
                <a:buClr>
                  <a:srgbClr val="000000"/>
                </a:buClr>
                <a:buSzPct val="100000"/>
              </a:pPr>
              <a:r>
                <a:rPr lang="en-GB" sz="1100" dirty="0" smtClean="0"/>
                <a:t>Local </a:t>
              </a:r>
              <a:r>
                <a:rPr lang="en-GB" sz="1100" dirty="0"/>
                <a:t>employees interact </a:t>
              </a:r>
              <a:r>
                <a:rPr lang="en-GB" sz="1100" dirty="0" smtClean="0"/>
                <a:t>with children and youth to bring the world of work to life by sharing their </a:t>
              </a:r>
              <a:r>
                <a:rPr lang="en-GB" sz="1100" dirty="0"/>
                <a:t>experience and </a:t>
              </a:r>
              <a:r>
                <a:rPr lang="en-GB" sz="1100" dirty="0" smtClean="0"/>
                <a:t>expertise</a:t>
              </a:r>
              <a:endParaRPr lang="en-GB" sz="1100" dirty="0"/>
            </a:p>
          </p:txBody>
        </p:sp>
        <p:grpSp>
          <p:nvGrpSpPr>
            <p:cNvPr id="61" name="Gruppieren 60"/>
            <p:cNvGrpSpPr/>
            <p:nvPr/>
          </p:nvGrpSpPr>
          <p:grpSpPr>
            <a:xfrm>
              <a:off x="4678363" y="2044377"/>
              <a:ext cx="3970357" cy="2206817"/>
              <a:chOff x="4759305" y="1682569"/>
              <a:chExt cx="3970357" cy="2206817"/>
            </a:xfrm>
          </p:grpSpPr>
          <p:sp>
            <p:nvSpPr>
              <p:cNvPr id="62" name="Rechteck 61"/>
              <p:cNvSpPr/>
              <p:nvPr>
                <p:custDataLst>
                  <p:tags r:id="rId7"/>
                </p:custDataLst>
              </p:nvPr>
            </p:nvSpPr>
            <p:spPr>
              <a:xfrm>
                <a:off x="4759305" y="1682569"/>
                <a:ext cx="3970357" cy="2206817"/>
              </a:xfrm>
              <a:prstGeom prst="rect">
                <a:avLst/>
              </a:prstGeom>
              <a:gradFill>
                <a:gsLst>
                  <a:gs pos="5000">
                    <a:schemeClr val="bg1">
                      <a:lumMod val="95000"/>
                    </a:schemeClr>
                  </a:gs>
                  <a:gs pos="80000">
                    <a:schemeClr val="accent1">
                      <a:lumMod val="30000"/>
                      <a:lumOff val="70000"/>
                    </a:schemeClr>
                  </a:gs>
                </a:gsLst>
                <a:lin ang="16200000" scaled="0"/>
              </a:gradFill>
            </p:spPr>
            <p:txBody>
              <a:bodyPr wrap="square" lIns="180000" tIns="108000" bIns="108000" anchor="ctr" anchorCtr="0">
                <a:noAutofit/>
              </a:bodyPr>
              <a:lstStyle/>
              <a:p>
                <a:pPr marL="285750" indent="-285750" defTabSz="863600">
                  <a:lnSpc>
                    <a:spcPct val="90000"/>
                  </a:lnSpc>
                  <a:spcAft>
                    <a:spcPct val="20000"/>
                  </a:spcAft>
                  <a:buClr>
                    <a:schemeClr val="tx1"/>
                  </a:buClr>
                  <a:buSzPct val="80000"/>
                  <a:buFont typeface="Wingdings" panose="05000000000000000000" pitchFamily="2" charset="2"/>
                  <a:buChar char="§"/>
                </a:pPr>
                <a:endParaRPr lang="de-DE" sz="1600" b="1" dirty="0"/>
              </a:p>
              <a:p>
                <a:pPr marL="180975" indent="-180975" defTabSz="863600">
                  <a:lnSpc>
                    <a:spcPct val="90000"/>
                  </a:lnSpc>
                  <a:spcAft>
                    <a:spcPct val="20000"/>
                  </a:spcAft>
                  <a:buClr>
                    <a:srgbClr val="000000"/>
                  </a:buClr>
                  <a:buSzPct val="80000"/>
                  <a:buFont typeface="Arial" pitchFamily="34" charset="0"/>
                  <a:buChar char="•"/>
                </a:pPr>
                <a:endParaRPr lang="de-DE" sz="1600" b="1" dirty="0"/>
              </a:p>
              <a:p>
                <a:pPr defTabSz="863600">
                  <a:lnSpc>
                    <a:spcPct val="90000"/>
                  </a:lnSpc>
                  <a:spcAft>
                    <a:spcPct val="20000"/>
                  </a:spcAft>
                  <a:buClr>
                    <a:schemeClr val="tx1"/>
                  </a:buClr>
                  <a:buSzPct val="80000"/>
                </a:pPr>
                <a:endParaRPr lang="de-DE" sz="1400" dirty="0"/>
              </a:p>
              <a:p>
                <a:pPr marL="180975" indent="-180975" defTabSz="863600">
                  <a:lnSpc>
                    <a:spcPct val="90000"/>
                  </a:lnSpc>
                  <a:spcAft>
                    <a:spcPct val="20000"/>
                  </a:spcAft>
                  <a:buClr>
                    <a:schemeClr val="tx1"/>
                  </a:buClr>
                  <a:buSzPct val="80000"/>
                  <a:buFont typeface="Arial" pitchFamily="34" charset="0"/>
                  <a:buChar char="•"/>
                </a:pPr>
                <a:endParaRPr lang="de-DE" sz="1400" dirty="0"/>
              </a:p>
            </p:txBody>
          </p:sp>
          <p:pic>
            <p:nvPicPr>
              <p:cNvPr id="63" name="Grafik 62"/>
              <p:cNvPicPr>
                <a:picLocks noChangeAspect="1"/>
              </p:cNvPicPr>
              <p:nvPr>
                <p:custDataLst>
                  <p:tags r:id="rId8"/>
                </p:custDataLst>
              </p:nvPr>
            </p:nvPicPr>
            <p:blipFill>
              <a:blip r:embed="rId16">
                <a:extLst>
                  <a:ext uri="{28A0092B-C50C-407E-A947-70E740481C1C}">
                    <a14:useLocalDpi xmlns:a14="http://schemas.microsoft.com/office/drawing/2010/main" val="0"/>
                  </a:ext>
                </a:extLst>
              </a:blip>
              <a:stretch>
                <a:fillRect/>
              </a:stretch>
            </p:blipFill>
            <p:spPr>
              <a:xfrm>
                <a:off x="5884333" y="2401011"/>
                <a:ext cx="567267" cy="546393"/>
              </a:xfrm>
              <a:prstGeom prst="rect">
                <a:avLst/>
              </a:prstGeom>
            </p:spPr>
          </p:pic>
          <p:pic>
            <p:nvPicPr>
              <p:cNvPr id="64" name="Grafik 63"/>
              <p:cNvPicPr>
                <a:picLocks noChangeAspect="1"/>
              </p:cNvPicPr>
              <p:nvPr>
                <p:custDataLst>
                  <p:tags r:id="rId9"/>
                </p:custDataLst>
              </p:nvPr>
            </p:nvPicPr>
            <p:blipFill>
              <a:blip r:embed="rId17" cstate="screen">
                <a:extLst>
                  <a:ext uri="{28A0092B-C50C-407E-A947-70E740481C1C}">
                    <a14:useLocalDpi xmlns:a14="http://schemas.microsoft.com/office/drawing/2010/main"/>
                  </a:ext>
                </a:extLst>
              </a:blip>
              <a:stretch>
                <a:fillRect/>
              </a:stretch>
            </p:blipFill>
            <p:spPr>
              <a:xfrm>
                <a:off x="5884331" y="3147786"/>
                <a:ext cx="567267" cy="546394"/>
              </a:xfrm>
              <a:prstGeom prst="rect">
                <a:avLst/>
              </a:prstGeom>
            </p:spPr>
          </p:pic>
          <p:pic>
            <p:nvPicPr>
              <p:cNvPr id="65" name="Picture 3"/>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884333" y="1822694"/>
                <a:ext cx="567267" cy="5431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8" descr="Bildergebnis für objectives icon">
                <a:hlinkClick r:id="rId19"/>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906917" y="1841171"/>
                <a:ext cx="315382" cy="295022"/>
              </a:xfrm>
              <a:prstGeom prst="rect">
                <a:avLst/>
              </a:prstGeom>
              <a:noFill/>
              <a:extLst>
                <a:ext uri="{909E8E84-426E-40DD-AFC4-6F175D3DCCD1}">
                  <a14:hiddenFill xmlns:a14="http://schemas.microsoft.com/office/drawing/2010/main">
                    <a:solidFill>
                      <a:srgbClr val="FFFFFF"/>
                    </a:solidFill>
                  </a14:hiddenFill>
                </a:ext>
              </a:extLst>
            </p:spPr>
          </p:pic>
          <p:sp>
            <p:nvSpPr>
              <p:cNvPr id="67" name="Textfeld 66"/>
              <p:cNvSpPr txBox="1"/>
              <p:nvPr/>
            </p:nvSpPr>
            <p:spPr>
              <a:xfrm>
                <a:off x="4909516" y="2313231"/>
                <a:ext cx="758402" cy="355482"/>
              </a:xfrm>
              <a:prstGeom prst="rect">
                <a:avLst/>
              </a:prstGeom>
              <a:noFill/>
            </p:spPr>
            <p:txBody>
              <a:bodyPr wrap="square" lIns="0" tIns="0" rIns="0" bIns="0" rtlCol="0">
                <a:spAutoFit/>
              </a:bodyPr>
              <a:lstStyle/>
              <a:p>
                <a:pPr>
                  <a:lnSpc>
                    <a:spcPct val="110000"/>
                  </a:lnSpc>
                  <a:spcAft>
                    <a:spcPts val="500"/>
                  </a:spcAft>
                </a:pPr>
                <a:r>
                  <a:rPr lang="de-DE" sz="1050" b="1" dirty="0" smtClean="0">
                    <a:solidFill>
                      <a:srgbClr val="000000"/>
                    </a:solidFill>
                    <a:latin typeface="Arial" charset="0"/>
                  </a:rPr>
                  <a:t>Key </a:t>
                </a:r>
                <a:r>
                  <a:rPr lang="de-DE" sz="1050" b="1" dirty="0" err="1" smtClean="0">
                    <a:solidFill>
                      <a:srgbClr val="000000"/>
                    </a:solidFill>
                    <a:latin typeface="Arial" charset="0"/>
                  </a:rPr>
                  <a:t>objectives</a:t>
                </a:r>
                <a:endParaRPr lang="de-DE" sz="1050" b="1" dirty="0" smtClean="0">
                  <a:solidFill>
                    <a:srgbClr val="000000"/>
                  </a:solidFill>
                  <a:latin typeface="Arial" charset="0"/>
                </a:endParaRPr>
              </a:p>
            </p:txBody>
          </p:sp>
        </p:grpSp>
        <p:sp>
          <p:nvSpPr>
            <p:cNvPr id="68" name="Textfeld 67"/>
            <p:cNvSpPr txBox="1"/>
            <p:nvPr/>
          </p:nvSpPr>
          <p:spPr>
            <a:xfrm>
              <a:off x="6587073" y="2163696"/>
              <a:ext cx="1971711" cy="2239074"/>
            </a:xfrm>
            <a:prstGeom prst="rect">
              <a:avLst/>
            </a:prstGeom>
            <a:noFill/>
          </p:spPr>
          <p:txBody>
            <a:bodyPr wrap="square" lIns="0" tIns="0" rIns="0" bIns="0" rtlCol="0">
              <a:spAutoFit/>
            </a:bodyPr>
            <a:lstStyle/>
            <a:p>
              <a:pPr>
                <a:spcAft>
                  <a:spcPts val="500"/>
                </a:spcAft>
                <a:buClr>
                  <a:srgbClr val="000000"/>
                </a:buClr>
                <a:buSzPct val="100000"/>
              </a:pPr>
              <a:r>
                <a:rPr lang="en-US" altLang="en-US" sz="1100" b="1" dirty="0" smtClean="0"/>
                <a:t>SDG 4 &amp; 8</a:t>
              </a:r>
              <a:r>
                <a:rPr lang="en-US" altLang="en-US" sz="1100" dirty="0" smtClean="0"/>
                <a:t>: Enable </a:t>
              </a:r>
              <a:r>
                <a:rPr lang="en-US" altLang="en-US" sz="1100" dirty="0"/>
                <a:t>children and </a:t>
              </a:r>
              <a:r>
                <a:rPr lang="en-US" altLang="en-US" sz="1100" dirty="0" smtClean="0"/>
                <a:t>youth to </a:t>
              </a:r>
              <a:r>
                <a:rPr lang="en-US" altLang="en-US" sz="1100" dirty="0"/>
                <a:t>fulfill their potential by developing their mindsets, </a:t>
              </a:r>
              <a:r>
                <a:rPr lang="en-US" altLang="en-US" sz="1100" dirty="0" smtClean="0"/>
                <a:t>life skills</a:t>
              </a:r>
              <a:r>
                <a:rPr lang="en-US" altLang="en-US" sz="1100" dirty="0"/>
                <a:t>, and capacity to reach their aspirations and </a:t>
              </a:r>
              <a:r>
                <a:rPr lang="en-US" altLang="en-US" sz="1100" dirty="0" smtClean="0"/>
                <a:t>connecting them to the world of work</a:t>
              </a:r>
            </a:p>
            <a:p>
              <a:pPr>
                <a:spcAft>
                  <a:spcPts val="500"/>
                </a:spcAft>
                <a:buClr>
                  <a:srgbClr val="000000"/>
                </a:buClr>
                <a:buSzPct val="100000"/>
              </a:pPr>
              <a:endParaRPr lang="en-GB" sz="1100" dirty="0" smtClean="0"/>
            </a:p>
            <a:p>
              <a:pPr>
                <a:spcAft>
                  <a:spcPts val="500"/>
                </a:spcAft>
                <a:buClr>
                  <a:srgbClr val="000000"/>
                </a:buClr>
                <a:buSzPct val="100000"/>
              </a:pPr>
              <a:r>
                <a:rPr lang="en-GB" sz="1100" b="1" dirty="0" smtClean="0"/>
                <a:t>SDG 17</a:t>
              </a:r>
              <a:r>
                <a:rPr lang="en-GB" sz="1100" dirty="0" smtClean="0"/>
                <a:t>: Offer best practices and multi-stakeholder partnerships to scale solutions (collective impact approach)</a:t>
              </a:r>
              <a:endParaRPr lang="en-GB" sz="1100" dirty="0"/>
            </a:p>
            <a:p>
              <a:pPr>
                <a:spcAft>
                  <a:spcPts val="500"/>
                </a:spcAft>
                <a:buClr>
                  <a:srgbClr val="000000"/>
                </a:buClr>
                <a:buSzPct val="100000"/>
              </a:pPr>
              <a:endParaRPr lang="en-GB" sz="1200" dirty="0"/>
            </a:p>
          </p:txBody>
        </p:sp>
        <p:pic>
          <p:nvPicPr>
            <p:cNvPr id="69" name="Picture 213"/>
            <p:cNvPicPr>
              <a:picLocks noChangeAspect="1" noChangeArrowheads="1"/>
            </p:cNvPicPr>
            <p:nvPr>
              <p:custDataLst>
                <p:tags r:id="rId6"/>
              </p:custDataLst>
            </p:nvPr>
          </p:nvPicPr>
          <p:blipFill>
            <a:blip r:embed="rId21">
              <a:extLst>
                <a:ext uri="{28A0092B-C50C-407E-A947-70E740481C1C}">
                  <a14:useLocalDpi xmlns:a14="http://schemas.microsoft.com/office/drawing/2010/main"/>
                </a:ext>
              </a:extLst>
            </a:blip>
            <a:srcRect/>
            <a:stretch>
              <a:fillRect/>
            </a:stretch>
          </p:blipFill>
          <p:spPr bwMode="auto">
            <a:xfrm>
              <a:off x="1817478" y="4483297"/>
              <a:ext cx="1271020" cy="328859"/>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 descr="Y:\GoTeach 3.0\07_SOS\07_08 Communication\05 Material Texte\Logos\SOS_Logo_Claim_BLUE_neg_English.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172580" y="4486946"/>
              <a:ext cx="1271021" cy="32156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066743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a:xfrm>
            <a:off x="1032946" y="1891149"/>
            <a:ext cx="7337054" cy="4035755"/>
            <a:chOff x="1032946" y="1891149"/>
            <a:chExt cx="7337054" cy="4035755"/>
          </a:xfrm>
        </p:grpSpPr>
        <p:sp>
          <p:nvSpPr>
            <p:cNvPr id="124" name="Rechteck 123"/>
            <p:cNvSpPr/>
            <p:nvPr/>
          </p:nvSpPr>
          <p:spPr bwMode="auto">
            <a:xfrm>
              <a:off x="4989765" y="2209317"/>
              <a:ext cx="3380235" cy="3717587"/>
            </a:xfrm>
            <a:prstGeom prst="rect">
              <a:avLst/>
            </a:prstGeom>
            <a:solidFill>
              <a:schemeClr val="accent3"/>
            </a:solidFill>
            <a:ln w="38100" cap="flat" cmpd="sng" algn="ctr">
              <a:solidFill>
                <a:schemeClr val="bg1"/>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defTabSz="995363" eaLnBrk="0" fontAlgn="base" hangingPunct="0">
                <a:spcBef>
                  <a:spcPct val="0"/>
                </a:spcBef>
                <a:spcAft>
                  <a:spcPct val="0"/>
                </a:spcAft>
              </a:pPr>
              <a:endParaRPr lang="de-DE" sz="1400" dirty="0" err="1">
                <a:latin typeface="Arial" charset="0"/>
              </a:endParaRPr>
            </a:p>
          </p:txBody>
        </p:sp>
        <p:sp>
          <p:nvSpPr>
            <p:cNvPr id="125" name="Textfeld 124"/>
            <p:cNvSpPr txBox="1"/>
            <p:nvPr/>
          </p:nvSpPr>
          <p:spPr>
            <a:xfrm>
              <a:off x="5096421" y="2301661"/>
              <a:ext cx="3207320" cy="2212913"/>
            </a:xfrm>
            <a:prstGeom prst="rect">
              <a:avLst/>
            </a:prstGeom>
            <a:noFill/>
          </p:spPr>
          <p:txBody>
            <a:bodyPr wrap="square" lIns="0" tIns="0" rIns="0" bIns="0" rtlCol="0">
              <a:spAutoFit/>
            </a:bodyPr>
            <a:lstStyle/>
            <a:p>
              <a:pPr>
                <a:lnSpc>
                  <a:spcPct val="110000"/>
                </a:lnSpc>
                <a:spcAft>
                  <a:spcPts val="500"/>
                </a:spcAft>
              </a:pPr>
              <a:r>
                <a:rPr lang="de-DE" sz="1200" b="1" dirty="0" smtClean="0">
                  <a:latin typeface="Calibri" panose="020F0502020204030204" pitchFamily="34" charset="0"/>
                </a:rPr>
                <a:t>LATIN AMERICA    </a:t>
              </a:r>
              <a:r>
                <a:rPr lang="en-US" sz="1200" b="1" dirty="0" smtClean="0">
                  <a:solidFill>
                    <a:schemeClr val="accent4"/>
                  </a:solidFill>
                  <a:latin typeface="+mj-lt"/>
                </a:rPr>
                <a:t>Argentina</a:t>
              </a:r>
              <a:r>
                <a:rPr lang="en-US" sz="1200" b="1" dirty="0" smtClean="0">
                  <a:solidFill>
                    <a:schemeClr val="accent4"/>
                  </a:solidFill>
                </a:rPr>
                <a:t>–</a:t>
              </a:r>
              <a:r>
                <a:rPr lang="en-US" sz="1200" b="1" dirty="0" smtClean="0">
                  <a:solidFill>
                    <a:schemeClr val="accent4"/>
                  </a:solidFill>
                  <a:latin typeface="+mj-lt"/>
                </a:rPr>
                <a:t>Chile – Colombia </a:t>
              </a:r>
              <a:r>
                <a:rPr lang="en-US" sz="1200" b="1" dirty="0" smtClean="0">
                  <a:solidFill>
                    <a:schemeClr val="accent4"/>
                  </a:solidFill>
                </a:rPr>
                <a:t>– </a:t>
              </a:r>
              <a:r>
                <a:rPr lang="en-US" sz="1200" b="1" dirty="0" smtClean="0">
                  <a:solidFill>
                    <a:schemeClr val="accent4"/>
                  </a:solidFill>
                  <a:latin typeface="+mj-lt"/>
                </a:rPr>
                <a:t>Ecuador – </a:t>
              </a:r>
              <a:r>
                <a:rPr lang="en-US" sz="1200" b="1" dirty="0" smtClean="0">
                  <a:solidFill>
                    <a:schemeClr val="accent4"/>
                  </a:solidFill>
                </a:rPr>
                <a:t>Paraguay – </a:t>
              </a:r>
              <a:r>
                <a:rPr lang="en-US" sz="1200" b="1" dirty="0" smtClean="0">
                  <a:solidFill>
                    <a:schemeClr val="accent4"/>
                  </a:solidFill>
                  <a:latin typeface="+mj-lt"/>
                </a:rPr>
                <a:t>Peru </a:t>
              </a:r>
              <a:r>
                <a:rPr lang="en-US" sz="1200" b="1" dirty="0" smtClean="0">
                  <a:solidFill>
                    <a:schemeClr val="accent4"/>
                  </a:solidFill>
                </a:rPr>
                <a:t>– Uruguay – Mexico</a:t>
              </a:r>
            </a:p>
            <a:p>
              <a:pPr>
                <a:lnSpc>
                  <a:spcPct val="110000"/>
                </a:lnSpc>
                <a:spcAft>
                  <a:spcPts val="500"/>
                </a:spcAft>
              </a:pPr>
              <a:r>
                <a:rPr lang="en-US" sz="1200" b="1" dirty="0" smtClean="0">
                  <a:latin typeface="Calibri" panose="020F0502020204030204" pitchFamily="34" charset="0"/>
                </a:rPr>
                <a:t>AFRICA</a:t>
              </a:r>
              <a:r>
                <a:rPr lang="en-US" sz="1200" b="1" dirty="0" smtClean="0">
                  <a:solidFill>
                    <a:schemeClr val="accent4"/>
                  </a:solidFill>
                  <a:latin typeface="+mj-lt"/>
                </a:rPr>
                <a:t>   </a:t>
              </a:r>
              <a:r>
                <a:rPr lang="en-US" sz="1200" b="1" dirty="0" smtClean="0">
                  <a:solidFill>
                    <a:schemeClr val="accent4"/>
                  </a:solidFill>
                </a:rPr>
                <a:t>Uganda</a:t>
              </a:r>
              <a:endParaRPr lang="en-US" sz="1200" b="1" dirty="0" smtClean="0">
                <a:solidFill>
                  <a:schemeClr val="accent4"/>
                </a:solidFill>
                <a:latin typeface="+mj-lt"/>
              </a:endParaRPr>
            </a:p>
            <a:p>
              <a:pPr>
                <a:lnSpc>
                  <a:spcPct val="110000"/>
                </a:lnSpc>
                <a:spcAft>
                  <a:spcPts val="500"/>
                </a:spcAft>
              </a:pPr>
              <a:r>
                <a:rPr lang="en-US" sz="1200" b="1" dirty="0" smtClean="0">
                  <a:latin typeface="Calibri" panose="020F0502020204030204" pitchFamily="34" charset="0"/>
                </a:rPr>
                <a:t>ASIA PACIFIC  </a:t>
              </a:r>
              <a:r>
                <a:rPr lang="en-US" sz="1200" b="1" dirty="0" smtClean="0">
                  <a:solidFill>
                    <a:schemeClr val="accent4"/>
                  </a:solidFill>
                </a:rPr>
                <a:t>Armenia</a:t>
              </a:r>
              <a:r>
                <a:rPr lang="en-US" sz="1200" b="1" dirty="0">
                  <a:solidFill>
                    <a:schemeClr val="accent4"/>
                  </a:solidFill>
                </a:rPr>
                <a:t> –</a:t>
              </a:r>
              <a:r>
                <a:rPr lang="en-US" sz="1200" b="1" dirty="0" smtClean="0">
                  <a:solidFill>
                    <a:schemeClr val="accent4"/>
                  </a:solidFill>
                </a:rPr>
                <a:t> </a:t>
              </a:r>
              <a:r>
                <a:rPr lang="en-US" sz="1200" b="1" dirty="0" smtClean="0">
                  <a:solidFill>
                    <a:schemeClr val="accent4"/>
                  </a:solidFill>
                  <a:latin typeface="+mj-lt"/>
                </a:rPr>
                <a:t>Bangladesh </a:t>
              </a:r>
              <a:r>
                <a:rPr lang="en-US" sz="1200" b="1" dirty="0" smtClean="0">
                  <a:solidFill>
                    <a:schemeClr val="accent4"/>
                  </a:solidFill>
                </a:rPr>
                <a:t>– Cambodia </a:t>
              </a:r>
              <a:r>
                <a:rPr lang="en-US" sz="1200" b="1" dirty="0">
                  <a:solidFill>
                    <a:schemeClr val="accent4"/>
                  </a:solidFill>
                </a:rPr>
                <a:t>– </a:t>
              </a:r>
              <a:r>
                <a:rPr lang="en-US" sz="1200" b="1" dirty="0" smtClean="0">
                  <a:solidFill>
                    <a:schemeClr val="accent4"/>
                  </a:solidFill>
                </a:rPr>
                <a:t> </a:t>
              </a:r>
              <a:r>
                <a:rPr lang="en-US" sz="1200" b="1" dirty="0" smtClean="0">
                  <a:solidFill>
                    <a:schemeClr val="accent4"/>
                  </a:solidFill>
                  <a:latin typeface="+mj-lt"/>
                </a:rPr>
                <a:t>India – Malaysia – Philippines </a:t>
              </a:r>
            </a:p>
            <a:p>
              <a:pPr>
                <a:lnSpc>
                  <a:spcPct val="110000"/>
                </a:lnSpc>
                <a:spcAft>
                  <a:spcPts val="500"/>
                </a:spcAft>
              </a:pPr>
              <a:r>
                <a:rPr lang="en-US" sz="1200" b="1" dirty="0" smtClean="0">
                  <a:latin typeface="Calibri" panose="020F0502020204030204" pitchFamily="34" charset="0"/>
                </a:rPr>
                <a:t>EUROPE  </a:t>
              </a:r>
              <a:r>
                <a:rPr lang="en-US" sz="1200" b="1" dirty="0" smtClean="0">
                  <a:solidFill>
                    <a:schemeClr val="accent4"/>
                  </a:solidFill>
                  <a:latin typeface="+mj-lt"/>
                </a:rPr>
                <a:t>Germany – Spain – UK*</a:t>
              </a:r>
            </a:p>
            <a:p>
              <a:pPr>
                <a:lnSpc>
                  <a:spcPct val="110000"/>
                </a:lnSpc>
                <a:spcAft>
                  <a:spcPts val="500"/>
                </a:spcAft>
              </a:pPr>
              <a:r>
                <a:rPr lang="en-US" sz="1200" b="1" dirty="0" smtClean="0">
                  <a:latin typeface="Calibri" panose="020F0502020204030204" pitchFamily="34" charset="0"/>
                </a:rPr>
                <a:t>MENA </a:t>
              </a:r>
              <a:r>
                <a:rPr lang="en-US" sz="1200" b="1" dirty="0" smtClean="0">
                  <a:solidFill>
                    <a:schemeClr val="accent4"/>
                  </a:solidFill>
                  <a:latin typeface="+mj-lt"/>
                </a:rPr>
                <a:t> </a:t>
              </a:r>
              <a:r>
                <a:rPr lang="en-US" sz="1200" b="1" dirty="0">
                  <a:solidFill>
                    <a:schemeClr val="accent4"/>
                  </a:solidFill>
                  <a:latin typeface="+mj-lt"/>
                </a:rPr>
                <a:t>Lebanon</a:t>
              </a:r>
            </a:p>
            <a:p>
              <a:pPr>
                <a:lnSpc>
                  <a:spcPct val="110000"/>
                </a:lnSpc>
                <a:spcAft>
                  <a:spcPts val="500"/>
                </a:spcAft>
              </a:pPr>
              <a:endParaRPr lang="de-DE" sz="1200" b="1" dirty="0">
                <a:latin typeface="Calibri" panose="020F0502020204030204" pitchFamily="34" charset="0"/>
              </a:endParaRPr>
            </a:p>
            <a:p>
              <a:pPr>
                <a:lnSpc>
                  <a:spcPct val="110000"/>
                </a:lnSpc>
                <a:spcAft>
                  <a:spcPts val="500"/>
                </a:spcAft>
              </a:pPr>
              <a:endParaRPr lang="de-DE" sz="1200" b="1" dirty="0">
                <a:latin typeface="Calibri" panose="020F0502020204030204" pitchFamily="34" charset="0"/>
              </a:endParaRPr>
            </a:p>
          </p:txBody>
        </p:sp>
        <p:sp>
          <p:nvSpPr>
            <p:cNvPr id="127" name="Textfeld 126"/>
            <p:cNvSpPr txBox="1"/>
            <p:nvPr/>
          </p:nvSpPr>
          <p:spPr>
            <a:xfrm>
              <a:off x="5460967" y="5106808"/>
              <a:ext cx="570669" cy="744819"/>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latin typeface="Calibri" panose="020F0502020204030204" pitchFamily="34" charset="0"/>
                </a:rPr>
                <a:t>19</a:t>
              </a:r>
            </a:p>
          </p:txBody>
        </p:sp>
        <p:sp>
          <p:nvSpPr>
            <p:cNvPr id="128" name="Textfeld 127"/>
            <p:cNvSpPr txBox="1"/>
            <p:nvPr/>
          </p:nvSpPr>
          <p:spPr>
            <a:xfrm>
              <a:off x="6082207" y="5202218"/>
              <a:ext cx="1880950" cy="553998"/>
            </a:xfrm>
            <a:prstGeom prst="rect">
              <a:avLst/>
            </a:prstGeom>
            <a:noFill/>
          </p:spPr>
          <p:txBody>
            <a:bodyPr wrap="square" lIns="0" tIns="0" rIns="0" bIns="0" rtlCol="0">
              <a:spAutoFit/>
            </a:bodyPr>
            <a:lstStyle/>
            <a:p>
              <a:pPr>
                <a:spcAft>
                  <a:spcPts val="500"/>
                </a:spcAft>
              </a:pPr>
              <a:r>
                <a:rPr lang="en-US" b="1" dirty="0">
                  <a:latin typeface="Calibri" panose="020F0502020204030204" pitchFamily="34" charset="0"/>
                </a:rPr>
                <a:t>n</a:t>
              </a:r>
              <a:r>
                <a:rPr lang="en-US" b="1" dirty="0" smtClean="0">
                  <a:latin typeface="Calibri" panose="020F0502020204030204" pitchFamily="34" charset="0"/>
                </a:rPr>
                <a:t>ational Teach For All partners</a:t>
              </a:r>
              <a:endParaRPr lang="en-US" sz="1100" b="1" dirty="0" smtClean="0">
                <a:latin typeface="Calibri" panose="020F0502020204030204" pitchFamily="34" charset="0"/>
              </a:endParaRPr>
            </a:p>
          </p:txBody>
        </p:sp>
        <p:pic>
          <p:nvPicPr>
            <p:cNvPr id="130" name="Picture 27" descr="Teach_for_all_logo"/>
            <p:cNvPicPr>
              <a:picLocks noChangeAspect="1" noChangeArrowheads="1"/>
            </p:cNvPicPr>
            <p:nvPr>
              <p:custDataLst>
                <p:tags r:id="rId5"/>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6568709" y="1891149"/>
              <a:ext cx="1309002" cy="374783"/>
            </a:xfrm>
            <a:prstGeom prst="rect">
              <a:avLst/>
            </a:prstGeom>
            <a:noFill/>
            <a:extLst>
              <a:ext uri="{909E8E84-426E-40DD-AFC4-6F175D3DCCD1}">
                <a14:hiddenFill xmlns:a14="http://schemas.microsoft.com/office/drawing/2010/main">
                  <a:solidFill>
                    <a:srgbClr val="FFFFFF"/>
                  </a:solidFill>
                </a14:hiddenFill>
              </a:ext>
            </a:extLst>
          </p:spPr>
        </p:pic>
        <p:sp>
          <p:nvSpPr>
            <p:cNvPr id="119" name="Rechteck 118"/>
            <p:cNvSpPr/>
            <p:nvPr/>
          </p:nvSpPr>
          <p:spPr bwMode="auto">
            <a:xfrm>
              <a:off x="1032946" y="2209317"/>
              <a:ext cx="3507148" cy="3717587"/>
            </a:xfrm>
            <a:prstGeom prst="rect">
              <a:avLst/>
            </a:prstGeom>
            <a:solidFill>
              <a:schemeClr val="accent3"/>
            </a:solidFill>
            <a:ln w="38100" cap="flat" cmpd="sng" algn="ctr">
              <a:solidFill>
                <a:schemeClr val="bg1"/>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defTabSz="995363" eaLnBrk="0" fontAlgn="base" hangingPunct="0">
                <a:spcBef>
                  <a:spcPct val="0"/>
                </a:spcBef>
                <a:spcAft>
                  <a:spcPct val="0"/>
                </a:spcAft>
              </a:pPr>
              <a:endParaRPr lang="de-DE" sz="1400" dirty="0" err="1">
                <a:latin typeface="Arial" charset="0"/>
              </a:endParaRPr>
            </a:p>
          </p:txBody>
        </p:sp>
        <p:sp>
          <p:nvSpPr>
            <p:cNvPr id="118" name="Textfeld 117"/>
            <p:cNvSpPr txBox="1"/>
            <p:nvPr/>
          </p:nvSpPr>
          <p:spPr>
            <a:xfrm>
              <a:off x="1100679" y="2301661"/>
              <a:ext cx="3355862" cy="3367589"/>
            </a:xfrm>
            <a:prstGeom prst="rect">
              <a:avLst/>
            </a:prstGeom>
            <a:noFill/>
          </p:spPr>
          <p:txBody>
            <a:bodyPr wrap="square" lIns="0" tIns="0" rIns="0" bIns="0" rtlCol="0">
              <a:spAutoFit/>
            </a:bodyPr>
            <a:lstStyle/>
            <a:p>
              <a:pPr>
                <a:lnSpc>
                  <a:spcPct val="110000"/>
                </a:lnSpc>
                <a:spcAft>
                  <a:spcPts val="500"/>
                </a:spcAft>
              </a:pPr>
              <a:r>
                <a:rPr lang="de-DE" sz="1200" b="1" dirty="0" smtClean="0">
                  <a:latin typeface="Calibri" panose="020F0502020204030204" pitchFamily="34" charset="0"/>
                </a:rPr>
                <a:t>LATIN AMERICA     </a:t>
              </a:r>
              <a:r>
                <a:rPr lang="en-US" sz="1200" b="1" dirty="0" smtClean="0">
                  <a:solidFill>
                    <a:schemeClr val="accent4"/>
                  </a:solidFill>
                </a:rPr>
                <a:t>Argentina – Bolivia – Brazil –Chile</a:t>
              </a:r>
              <a:r>
                <a:rPr lang="en-US" sz="1200" b="1" dirty="0">
                  <a:solidFill>
                    <a:schemeClr val="accent4"/>
                  </a:solidFill>
                </a:rPr>
                <a:t> –</a:t>
              </a:r>
              <a:r>
                <a:rPr lang="en-US" sz="1200" b="1" dirty="0" smtClean="0">
                  <a:solidFill>
                    <a:schemeClr val="accent4"/>
                  </a:solidFill>
                </a:rPr>
                <a:t> Colombia </a:t>
              </a:r>
              <a:r>
                <a:rPr lang="en-US" sz="1200" b="1" dirty="0">
                  <a:solidFill>
                    <a:schemeClr val="accent4"/>
                  </a:solidFill>
                </a:rPr>
                <a:t>–</a:t>
              </a:r>
              <a:r>
                <a:rPr lang="en-US" sz="1200" b="1" dirty="0" smtClean="0">
                  <a:solidFill>
                    <a:schemeClr val="accent4"/>
                  </a:solidFill>
                </a:rPr>
                <a:t> Costa </a:t>
              </a:r>
              <a:r>
                <a:rPr lang="en-US" sz="1200" b="1" dirty="0">
                  <a:solidFill>
                    <a:schemeClr val="accent4"/>
                  </a:solidFill>
                </a:rPr>
                <a:t>Rica – Dominican </a:t>
              </a:r>
              <a:r>
                <a:rPr lang="en-US" sz="1200" b="1" dirty="0" smtClean="0">
                  <a:solidFill>
                    <a:schemeClr val="accent4"/>
                  </a:solidFill>
                </a:rPr>
                <a:t>Republic – Ecuador – El </a:t>
              </a:r>
              <a:r>
                <a:rPr lang="en-US" sz="1200" b="1" dirty="0">
                  <a:solidFill>
                    <a:schemeClr val="accent4"/>
                  </a:solidFill>
                </a:rPr>
                <a:t>Salvador – </a:t>
              </a:r>
              <a:r>
                <a:rPr lang="en-US" sz="1200" b="1" dirty="0" smtClean="0">
                  <a:solidFill>
                    <a:schemeClr val="accent4"/>
                  </a:solidFill>
                </a:rPr>
                <a:t>Guatemala</a:t>
              </a:r>
              <a:r>
                <a:rPr lang="en-US" sz="1200" b="1" dirty="0">
                  <a:solidFill>
                    <a:schemeClr val="accent4"/>
                  </a:solidFill>
                </a:rPr>
                <a:t> </a:t>
              </a:r>
              <a:r>
                <a:rPr lang="en-US" sz="1200" b="1" dirty="0" smtClean="0">
                  <a:solidFill>
                    <a:schemeClr val="accent4"/>
                  </a:solidFill>
                </a:rPr>
                <a:t>–</a:t>
              </a:r>
              <a:r>
                <a:rPr lang="en-US" sz="1200" b="1" dirty="0">
                  <a:solidFill>
                    <a:schemeClr val="accent4"/>
                  </a:solidFill>
                </a:rPr>
                <a:t>Haiti – </a:t>
              </a:r>
              <a:r>
                <a:rPr lang="en-US" sz="1200" b="1" dirty="0" smtClean="0">
                  <a:solidFill>
                    <a:schemeClr val="accent4"/>
                  </a:solidFill>
                </a:rPr>
                <a:t> </a:t>
              </a:r>
              <a:r>
                <a:rPr lang="en-US" sz="1200" b="1" dirty="0">
                  <a:solidFill>
                    <a:schemeClr val="accent4"/>
                  </a:solidFill>
                </a:rPr>
                <a:t>Honduras </a:t>
              </a:r>
              <a:r>
                <a:rPr lang="en-US" sz="1200" b="1" dirty="0" smtClean="0">
                  <a:solidFill>
                    <a:schemeClr val="accent4"/>
                  </a:solidFill>
                </a:rPr>
                <a:t>– Jamaica – Mexico – Nicaragua – Panama – </a:t>
              </a:r>
              <a:r>
                <a:rPr lang="en-US" sz="1200" b="1" dirty="0">
                  <a:solidFill>
                    <a:schemeClr val="accent4"/>
                  </a:solidFill>
                </a:rPr>
                <a:t>Paraguay </a:t>
              </a:r>
              <a:r>
                <a:rPr lang="en-US" sz="1200" b="1" dirty="0" smtClean="0">
                  <a:solidFill>
                    <a:schemeClr val="accent4"/>
                  </a:solidFill>
                </a:rPr>
                <a:t> – Peru – Uruguay</a:t>
              </a:r>
            </a:p>
            <a:p>
              <a:pPr>
                <a:lnSpc>
                  <a:spcPct val="110000"/>
                </a:lnSpc>
                <a:spcAft>
                  <a:spcPts val="500"/>
                </a:spcAft>
              </a:pPr>
              <a:r>
                <a:rPr lang="en-US" sz="1200" b="1" dirty="0" smtClean="0">
                  <a:latin typeface="Calibri" panose="020F0502020204030204" pitchFamily="34" charset="0"/>
                </a:rPr>
                <a:t>AFRICA</a:t>
              </a:r>
              <a:r>
                <a:rPr lang="en-US" sz="1200" b="1" dirty="0">
                  <a:solidFill>
                    <a:srgbClr val="D40511"/>
                  </a:solidFill>
                </a:rPr>
                <a:t> </a:t>
              </a:r>
              <a:r>
                <a:rPr lang="en-US" sz="1200" b="1" dirty="0" smtClean="0">
                  <a:solidFill>
                    <a:srgbClr val="D40511"/>
                  </a:solidFill>
                </a:rPr>
                <a:t>   Benin </a:t>
              </a:r>
              <a:r>
                <a:rPr lang="en-US" sz="1200" b="1" dirty="0">
                  <a:solidFill>
                    <a:srgbClr val="D40511"/>
                  </a:solidFill>
                </a:rPr>
                <a:t>– Burundi – </a:t>
              </a:r>
              <a:r>
                <a:rPr lang="en-US" sz="1200" b="1" dirty="0" smtClean="0">
                  <a:solidFill>
                    <a:srgbClr val="D40511"/>
                  </a:solidFill>
                </a:rPr>
                <a:t>Cape </a:t>
              </a:r>
              <a:r>
                <a:rPr lang="en-US" sz="1200" b="1" dirty="0">
                  <a:solidFill>
                    <a:srgbClr val="D40511"/>
                  </a:solidFill>
                </a:rPr>
                <a:t>Verde – </a:t>
              </a:r>
              <a:r>
                <a:rPr lang="en-US" sz="1200" b="1" dirty="0" smtClean="0">
                  <a:solidFill>
                    <a:srgbClr val="D40511"/>
                  </a:solidFill>
                </a:rPr>
                <a:t>Ghana </a:t>
              </a:r>
              <a:r>
                <a:rPr lang="en-US" sz="1200" b="1" dirty="0">
                  <a:solidFill>
                    <a:srgbClr val="D40511"/>
                  </a:solidFill>
                </a:rPr>
                <a:t>– Ethiopia –</a:t>
              </a:r>
              <a:r>
                <a:rPr lang="en-US" sz="1200" b="1" dirty="0" smtClean="0">
                  <a:solidFill>
                    <a:srgbClr val="D40511"/>
                  </a:solidFill>
                </a:rPr>
                <a:t> </a:t>
              </a:r>
              <a:r>
                <a:rPr lang="en-US" sz="1200" b="1" dirty="0">
                  <a:solidFill>
                    <a:srgbClr val="D40511"/>
                  </a:solidFill>
                </a:rPr>
                <a:t>Ivory </a:t>
              </a:r>
              <a:r>
                <a:rPr lang="en-US" sz="1200" b="1" dirty="0" smtClean="0">
                  <a:solidFill>
                    <a:srgbClr val="D40511"/>
                  </a:solidFill>
                </a:rPr>
                <a:t>Coast </a:t>
              </a:r>
              <a:r>
                <a:rPr lang="en-US" sz="1200" b="1" dirty="0">
                  <a:solidFill>
                    <a:srgbClr val="D40511"/>
                  </a:solidFill>
                </a:rPr>
                <a:t>– </a:t>
              </a:r>
              <a:r>
                <a:rPr lang="en-US" sz="1200" b="1" dirty="0" smtClean="0">
                  <a:solidFill>
                    <a:srgbClr val="D40511"/>
                  </a:solidFill>
                </a:rPr>
                <a:t> Kenya </a:t>
              </a:r>
              <a:r>
                <a:rPr lang="en-US" sz="1200" b="1" dirty="0">
                  <a:solidFill>
                    <a:srgbClr val="D40511"/>
                  </a:solidFill>
                </a:rPr>
                <a:t>– </a:t>
              </a:r>
              <a:r>
                <a:rPr lang="en-US" sz="1200" b="1" dirty="0" smtClean="0">
                  <a:solidFill>
                    <a:srgbClr val="D40511"/>
                  </a:solidFill>
                </a:rPr>
                <a:t>Mali </a:t>
              </a:r>
              <a:r>
                <a:rPr lang="en-US" sz="1200" b="1" dirty="0">
                  <a:solidFill>
                    <a:srgbClr val="D40511"/>
                  </a:solidFill>
                </a:rPr>
                <a:t>– Mauritius – </a:t>
              </a:r>
              <a:r>
                <a:rPr lang="en-US" sz="1200" b="1" dirty="0" smtClean="0">
                  <a:solidFill>
                    <a:srgbClr val="D40511"/>
                  </a:solidFill>
                </a:rPr>
                <a:t>Madagascar – Nigeria – </a:t>
              </a:r>
              <a:r>
                <a:rPr lang="en-US" sz="1200" b="1" dirty="0">
                  <a:solidFill>
                    <a:srgbClr val="D40511"/>
                  </a:solidFill>
                </a:rPr>
                <a:t>South Africa </a:t>
              </a:r>
              <a:r>
                <a:rPr lang="en-US" sz="1200" b="1" dirty="0" smtClean="0">
                  <a:solidFill>
                    <a:srgbClr val="D40511"/>
                  </a:solidFill>
                </a:rPr>
                <a:t>– </a:t>
              </a:r>
              <a:r>
                <a:rPr lang="en-US" sz="1200" b="1" dirty="0">
                  <a:solidFill>
                    <a:srgbClr val="D40511"/>
                  </a:solidFill>
                </a:rPr>
                <a:t>Senegal – Swaziland </a:t>
              </a:r>
              <a:r>
                <a:rPr lang="en-US" sz="1200" b="1" dirty="0" smtClean="0">
                  <a:solidFill>
                    <a:srgbClr val="D40511"/>
                  </a:solidFill>
                </a:rPr>
                <a:t>– </a:t>
              </a:r>
              <a:r>
                <a:rPr lang="en-US" sz="1200" b="1" dirty="0">
                  <a:solidFill>
                    <a:srgbClr val="D40511"/>
                  </a:solidFill>
                </a:rPr>
                <a:t>Tanzania – Uganda</a:t>
              </a:r>
              <a:endParaRPr lang="en-US" sz="1200" b="1" dirty="0" smtClean="0">
                <a:solidFill>
                  <a:srgbClr val="D40511"/>
                </a:solidFill>
              </a:endParaRPr>
            </a:p>
            <a:p>
              <a:pPr>
                <a:lnSpc>
                  <a:spcPct val="110000"/>
                </a:lnSpc>
                <a:spcAft>
                  <a:spcPts val="500"/>
                </a:spcAft>
              </a:pPr>
              <a:r>
                <a:rPr lang="en-US" sz="1200" b="1" dirty="0" smtClean="0">
                  <a:latin typeface="Calibri" panose="020F0502020204030204" pitchFamily="34" charset="0"/>
                </a:rPr>
                <a:t>ASIA PACIFIC   </a:t>
              </a:r>
              <a:r>
                <a:rPr lang="en-US" sz="1200" b="1" dirty="0">
                  <a:solidFill>
                    <a:schemeClr val="accent4"/>
                  </a:solidFill>
                  <a:latin typeface="+mj-lt"/>
                </a:rPr>
                <a:t>India</a:t>
              </a:r>
              <a:r>
                <a:rPr lang="en-US" sz="1200" b="1" dirty="0" smtClean="0">
                  <a:latin typeface="Calibri" panose="020F0502020204030204" pitchFamily="34" charset="0"/>
                </a:rPr>
                <a:t> </a:t>
              </a:r>
              <a:r>
                <a:rPr lang="en-US" sz="1200" b="1" dirty="0">
                  <a:solidFill>
                    <a:schemeClr val="accent4"/>
                  </a:solidFill>
                </a:rPr>
                <a:t>– </a:t>
              </a:r>
              <a:r>
                <a:rPr lang="en-US" sz="1200" b="1" dirty="0" smtClean="0">
                  <a:solidFill>
                    <a:schemeClr val="accent4"/>
                  </a:solidFill>
                </a:rPr>
                <a:t>Indonesia – Sri Lanka </a:t>
              </a:r>
              <a:r>
                <a:rPr lang="en-US" sz="1200" b="1" dirty="0" smtClean="0">
                  <a:solidFill>
                    <a:schemeClr val="accent4"/>
                  </a:solidFill>
                  <a:latin typeface="+mj-lt"/>
                </a:rPr>
                <a:t>Thailand – Vietnam </a:t>
              </a:r>
            </a:p>
            <a:p>
              <a:pPr>
                <a:lnSpc>
                  <a:spcPct val="110000"/>
                </a:lnSpc>
              </a:pPr>
              <a:r>
                <a:rPr lang="en-US" sz="1200" b="1" dirty="0" smtClean="0">
                  <a:latin typeface="Calibri" panose="020F0502020204030204" pitchFamily="34" charset="0"/>
                </a:rPr>
                <a:t>EUROPE  </a:t>
              </a:r>
              <a:r>
                <a:rPr lang="en-US" sz="1200" b="1" dirty="0" smtClean="0">
                  <a:solidFill>
                    <a:schemeClr val="accent4"/>
                  </a:solidFill>
                  <a:latin typeface="+mj-lt"/>
                </a:rPr>
                <a:t>Lithuania </a:t>
              </a:r>
              <a:r>
                <a:rPr lang="en-US" sz="1200" b="1" dirty="0" smtClean="0">
                  <a:solidFill>
                    <a:schemeClr val="accent4"/>
                  </a:solidFill>
                </a:rPr>
                <a:t>– Serbia</a:t>
              </a:r>
              <a:r>
                <a:rPr lang="en-US" sz="1200" b="1" dirty="0">
                  <a:solidFill>
                    <a:schemeClr val="accent4"/>
                  </a:solidFill>
                </a:rPr>
                <a:t> – Sweden </a:t>
              </a:r>
              <a:endParaRPr lang="en-US" sz="1200" b="1" dirty="0" smtClean="0">
                <a:solidFill>
                  <a:schemeClr val="accent4"/>
                </a:solidFill>
                <a:latin typeface="+mj-lt"/>
              </a:endParaRPr>
            </a:p>
            <a:p>
              <a:pPr>
                <a:lnSpc>
                  <a:spcPct val="110000"/>
                </a:lnSpc>
                <a:spcAft>
                  <a:spcPts val="500"/>
                </a:spcAft>
              </a:pPr>
              <a:r>
                <a:rPr lang="en-US" sz="1200" b="1" dirty="0" smtClean="0">
                  <a:latin typeface="Calibri" panose="020F0502020204030204" pitchFamily="34" charset="0"/>
                </a:rPr>
                <a:t>MENA  </a:t>
              </a:r>
              <a:r>
                <a:rPr lang="en-US" sz="1200" b="1" dirty="0" smtClean="0">
                  <a:solidFill>
                    <a:schemeClr val="accent4"/>
                  </a:solidFill>
                  <a:latin typeface="+mj-lt"/>
                </a:rPr>
                <a:t>Jordan </a:t>
              </a:r>
              <a:r>
                <a:rPr lang="en-US" sz="1200" b="1" dirty="0">
                  <a:solidFill>
                    <a:schemeClr val="accent4"/>
                  </a:solidFill>
                </a:rPr>
                <a:t>– Lebanon </a:t>
              </a:r>
              <a:r>
                <a:rPr lang="en-US" sz="1200" b="1" dirty="0" smtClean="0">
                  <a:solidFill>
                    <a:schemeClr val="accent4"/>
                  </a:solidFill>
                  <a:latin typeface="+mj-lt"/>
                </a:rPr>
                <a:t>– Morocco </a:t>
              </a:r>
              <a:r>
                <a:rPr lang="en-US" sz="1200" b="1" dirty="0">
                  <a:solidFill>
                    <a:schemeClr val="accent4"/>
                  </a:solidFill>
                </a:rPr>
                <a:t>– </a:t>
              </a:r>
              <a:r>
                <a:rPr lang="en-US" sz="1200" b="1" dirty="0" smtClean="0">
                  <a:solidFill>
                    <a:schemeClr val="accent4"/>
                  </a:solidFill>
                  <a:latin typeface="+mj-lt"/>
                </a:rPr>
                <a:t>Syria</a:t>
              </a:r>
            </a:p>
            <a:p>
              <a:pPr>
                <a:lnSpc>
                  <a:spcPct val="110000"/>
                </a:lnSpc>
                <a:spcAft>
                  <a:spcPts val="500"/>
                </a:spcAft>
              </a:pPr>
              <a:endParaRPr lang="de-DE" sz="1200" b="1" dirty="0">
                <a:latin typeface="Calibri" panose="020F0502020204030204" pitchFamily="34" charset="0"/>
              </a:endParaRPr>
            </a:p>
            <a:p>
              <a:pPr>
                <a:lnSpc>
                  <a:spcPct val="110000"/>
                </a:lnSpc>
                <a:spcAft>
                  <a:spcPts val="500"/>
                </a:spcAft>
              </a:pPr>
              <a:endParaRPr lang="de-DE" sz="1200" b="1" dirty="0">
                <a:latin typeface="Calibri" panose="020F0502020204030204" pitchFamily="34" charset="0"/>
              </a:endParaRPr>
            </a:p>
          </p:txBody>
        </p:sp>
        <p:sp>
          <p:nvSpPr>
            <p:cNvPr id="121" name="Textfeld 120"/>
            <p:cNvSpPr txBox="1"/>
            <p:nvPr/>
          </p:nvSpPr>
          <p:spPr>
            <a:xfrm>
              <a:off x="1705785" y="5125434"/>
              <a:ext cx="570669" cy="707566"/>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latin typeface="Calibri" panose="020F0502020204030204" pitchFamily="34" charset="0"/>
                </a:rPr>
                <a:t>47</a:t>
              </a:r>
            </a:p>
          </p:txBody>
        </p:sp>
        <p:sp>
          <p:nvSpPr>
            <p:cNvPr id="129" name="Textfeld 128"/>
            <p:cNvSpPr txBox="1"/>
            <p:nvPr/>
          </p:nvSpPr>
          <p:spPr>
            <a:xfrm>
              <a:off x="2331457" y="5202218"/>
              <a:ext cx="1705364" cy="553998"/>
            </a:xfrm>
            <a:prstGeom prst="rect">
              <a:avLst/>
            </a:prstGeom>
            <a:noFill/>
          </p:spPr>
          <p:txBody>
            <a:bodyPr wrap="square" lIns="0" tIns="0" rIns="0" bIns="0" rtlCol="0">
              <a:spAutoFit/>
            </a:bodyPr>
            <a:lstStyle/>
            <a:p>
              <a:pPr>
                <a:spcAft>
                  <a:spcPts val="500"/>
                </a:spcAft>
              </a:pPr>
              <a:r>
                <a:rPr lang="en-US" b="1" dirty="0" smtClean="0">
                  <a:latin typeface="Calibri" panose="020F0502020204030204" pitchFamily="34" charset="0"/>
                </a:rPr>
                <a:t>national SOS CV organizations</a:t>
              </a:r>
              <a:endParaRPr lang="en-US" sz="1100" b="1" dirty="0" smtClean="0">
                <a:latin typeface="Calibri" panose="020F0502020204030204" pitchFamily="34" charset="0"/>
              </a:endParaRPr>
            </a:p>
          </p:txBody>
        </p:sp>
        <p:pic>
          <p:nvPicPr>
            <p:cNvPr id="39" name="Picture 2" descr="Y:\GoTeach 3.0\07_SOS\07_08 Communication\05 Material Texte\Logos\SOS_Logo_Claim_BLUE_neg_English.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957044" y="1891719"/>
              <a:ext cx="1499497" cy="374213"/>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157" name="Objekt 156" hidden="1"/>
          <p:cNvGraphicFramePr>
            <a:graphicFrameLocks noChangeAspect="1"/>
          </p:cNvGraphicFramePr>
          <p:nvPr>
            <p:custDataLst>
              <p:tags r:id="rId2"/>
            </p:custDataLst>
            <p:extLst>
              <p:ext uri="{D42A27DB-BD31-4B8C-83A1-F6EECF244321}">
                <p14:modId xmlns:p14="http://schemas.microsoft.com/office/powerpoint/2010/main" val="330913682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127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3" name="Fußzeilenplatzhalter 2"/>
          <p:cNvSpPr>
            <a:spLocks noGrp="1"/>
          </p:cNvSpPr>
          <p:nvPr>
            <p:ph type="ftr" sz="quarter" idx="31"/>
            <p:custDataLst>
              <p:tags r:id="rId3"/>
            </p:custDataLst>
          </p:nvPr>
        </p:nvSpPr>
        <p:spPr/>
        <p:txBody>
          <a:bodyPr/>
          <a:lstStyle/>
          <a:p>
            <a:r>
              <a:rPr lang="en-US" smtClean="0"/>
              <a:t>GoTeach | October 2019</a:t>
            </a:r>
            <a:endParaRPr lang="en-US" dirty="0" smtClean="0"/>
          </a:p>
        </p:txBody>
      </p:sp>
      <p:sp>
        <p:nvSpPr>
          <p:cNvPr id="32" name="Titel 2"/>
          <p:cNvSpPr>
            <a:spLocks noGrp="1"/>
          </p:cNvSpPr>
          <p:nvPr>
            <p:ph type="title"/>
            <p:custDataLst>
              <p:tags r:id="rId4"/>
            </p:custDataLst>
          </p:nvPr>
        </p:nvSpPr>
        <p:spPr>
          <a:xfrm>
            <a:off x="471600" y="241200"/>
            <a:ext cx="8316000" cy="712800"/>
          </a:xfrm>
        </p:spPr>
        <p:txBody>
          <a:bodyPr/>
          <a:lstStyle/>
          <a:p>
            <a:r>
              <a:rPr lang="de-DE" dirty="0" err="1" smtClean="0"/>
              <a:t>GoTeach</a:t>
            </a:r>
            <a:r>
              <a:rPr lang="de-DE" dirty="0" smtClean="0"/>
              <a:t> – </a:t>
            </a:r>
            <a:r>
              <a:rPr lang="de-DE" dirty="0" err="1" smtClean="0"/>
              <a:t>Footprint</a:t>
            </a:r>
            <a:endParaRPr lang="de-DE" dirty="0"/>
          </a:p>
        </p:txBody>
      </p:sp>
      <p:sp>
        <p:nvSpPr>
          <p:cNvPr id="131" name="Textfeld 130"/>
          <p:cNvSpPr txBox="1"/>
          <p:nvPr/>
        </p:nvSpPr>
        <p:spPr>
          <a:xfrm>
            <a:off x="208981" y="5963918"/>
            <a:ext cx="2266646" cy="147733"/>
          </a:xfrm>
          <a:prstGeom prst="rect">
            <a:avLst/>
          </a:prstGeom>
          <a:noFill/>
        </p:spPr>
        <p:txBody>
          <a:bodyPr wrap="none" lIns="0" tIns="0" rIns="0" bIns="0" rtlCol="0">
            <a:spAutoFit/>
          </a:bodyPr>
          <a:lstStyle/>
          <a:p>
            <a:pPr>
              <a:lnSpc>
                <a:spcPct val="110000"/>
              </a:lnSpc>
              <a:spcAft>
                <a:spcPts val="500"/>
              </a:spcAft>
            </a:pPr>
            <a:r>
              <a:rPr lang="de-DE" sz="900" dirty="0" smtClean="0"/>
              <a:t>*) in </a:t>
            </a:r>
            <a:r>
              <a:rPr lang="de-DE" sz="900" dirty="0" err="1" smtClean="0"/>
              <a:t>cooperation</a:t>
            </a:r>
            <a:r>
              <a:rPr lang="de-DE" sz="900" dirty="0" smtClean="0"/>
              <a:t> </a:t>
            </a:r>
            <a:r>
              <a:rPr lang="de-DE" sz="900" dirty="0" err="1" smtClean="0"/>
              <a:t>with</a:t>
            </a:r>
            <a:r>
              <a:rPr lang="de-DE" sz="900" dirty="0" smtClean="0"/>
              <a:t> </a:t>
            </a:r>
            <a:r>
              <a:rPr lang="de-DE" sz="900" dirty="0" err="1" smtClean="0"/>
              <a:t>the</a:t>
            </a:r>
            <a:r>
              <a:rPr lang="de-DE" sz="900" dirty="0" smtClean="0"/>
              <a:t> DHL UK </a:t>
            </a:r>
            <a:r>
              <a:rPr lang="de-DE" sz="900" dirty="0" err="1" smtClean="0"/>
              <a:t>Foundation</a:t>
            </a:r>
            <a:endParaRPr lang="de-DE" sz="900" dirty="0" smtClean="0"/>
          </a:p>
        </p:txBody>
      </p:sp>
      <p:sp>
        <p:nvSpPr>
          <p:cNvPr id="42" name="Text Placeholder 28"/>
          <p:cNvSpPr txBox="1">
            <a:spLocks/>
          </p:cNvSpPr>
          <p:nvPr/>
        </p:nvSpPr>
        <p:spPr>
          <a:xfrm>
            <a:off x="404812" y="1223514"/>
            <a:ext cx="8315325" cy="549267"/>
          </a:xfrm>
          <a:prstGeom prst="rect">
            <a:avLst/>
          </a:prstGeom>
        </p:spPr>
        <p:txBody>
          <a:bodyPr vert="horz" lIns="0" tIns="0" rIns="0" bIns="0" rtlCol="0">
            <a:no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4">
              <a:lnSpc>
                <a:spcPct val="110000"/>
              </a:lnSpc>
              <a:spcAft>
                <a:spcPts val="500"/>
              </a:spcAft>
            </a:pPr>
            <a:r>
              <a:rPr lang="en-US" sz="1600" dirty="0">
                <a:latin typeface="+mj-lt"/>
              </a:rPr>
              <a:t>The global </a:t>
            </a:r>
            <a:r>
              <a:rPr lang="en-US" sz="1600" dirty="0" err="1">
                <a:latin typeface="+mj-lt"/>
              </a:rPr>
              <a:t>GoTeach</a:t>
            </a:r>
            <a:r>
              <a:rPr lang="en-US" sz="1600" dirty="0">
                <a:latin typeface="+mj-lt"/>
              </a:rPr>
              <a:t> program for employability was launched in 2009 and has by now established 66 national partnerships in </a:t>
            </a:r>
            <a:r>
              <a:rPr lang="en-GB" sz="1600" dirty="0">
                <a:latin typeface="+mj-lt"/>
              </a:rPr>
              <a:t>55 countries worldwide </a:t>
            </a:r>
            <a:endParaRPr lang="en-US" sz="1600" dirty="0">
              <a:latin typeface="+mj-lt"/>
            </a:endParaRPr>
          </a:p>
        </p:txBody>
      </p:sp>
    </p:spTree>
    <p:extLst>
      <p:ext uri="{BB962C8B-B14F-4D97-AF65-F5344CB8AC3E}">
        <p14:creationId xmlns:p14="http://schemas.microsoft.com/office/powerpoint/2010/main" val="38503580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GoTeach</a:t>
            </a:r>
            <a:r>
              <a:rPr lang="de-DE" dirty="0" smtClean="0"/>
              <a:t> – </a:t>
            </a:r>
            <a:r>
              <a:rPr lang="de-DE" dirty="0" err="1" smtClean="0"/>
              <a:t>Partnership</a:t>
            </a:r>
            <a:r>
              <a:rPr lang="de-DE" dirty="0" smtClean="0"/>
              <a:t> </a:t>
            </a:r>
            <a:r>
              <a:rPr lang="de-DE" dirty="0" err="1" smtClean="0"/>
              <a:t>Activities</a:t>
            </a:r>
            <a:endParaRPr lang="de-DE" dirty="0"/>
          </a:p>
        </p:txBody>
      </p:sp>
      <p:sp>
        <p:nvSpPr>
          <p:cNvPr id="17" name="Text Placeholder 28"/>
          <p:cNvSpPr txBox="1">
            <a:spLocks/>
          </p:cNvSpPr>
          <p:nvPr/>
        </p:nvSpPr>
        <p:spPr>
          <a:xfrm>
            <a:off x="414000" y="1250048"/>
            <a:ext cx="8315325" cy="549267"/>
          </a:xfrm>
          <a:prstGeom prst="rect">
            <a:avLst/>
          </a:prstGeom>
        </p:spPr>
        <p:txBody>
          <a:bodyPr vert="horz" lIns="0" tIns="0" rIns="0" bIns="0" rtlCol="0">
            <a:no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4">
              <a:lnSpc>
                <a:spcPct val="110000"/>
              </a:lnSpc>
              <a:spcAft>
                <a:spcPts val="500"/>
              </a:spcAft>
            </a:pPr>
            <a:r>
              <a:rPr lang="en-US" sz="1600" dirty="0" err="1">
                <a:latin typeface="+mj-lt"/>
              </a:rPr>
              <a:t>GoTeach</a:t>
            </a:r>
            <a:r>
              <a:rPr lang="en-US" sz="1600" dirty="0">
                <a:latin typeface="+mj-lt"/>
              </a:rPr>
              <a:t> offers a range of activities, including trainings, access to role models as well as mentors and hands-on experience in a real working environment</a:t>
            </a:r>
          </a:p>
        </p:txBody>
      </p:sp>
      <p:sp>
        <p:nvSpPr>
          <p:cNvPr id="23" name="Rechteck 22"/>
          <p:cNvSpPr/>
          <p:nvPr/>
        </p:nvSpPr>
        <p:spPr bwMode="auto">
          <a:xfrm>
            <a:off x="4715954" y="2059929"/>
            <a:ext cx="4025228" cy="1692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36000" tIns="0" rIns="0" bIns="0" numCol="1" spcCol="0" rtlCol="0" fromWordArt="0" anchor="b" anchorCtr="0" forceAA="0" compatLnSpc="1">
            <a:prstTxWarp prst="textNoShape">
              <a:avLst/>
            </a:prstTxWarp>
            <a:noAutofit/>
          </a:bodyPr>
          <a:lstStyle/>
          <a:p>
            <a:r>
              <a:rPr lang="de-DE" sz="1200" dirty="0" smtClean="0">
                <a:solidFill>
                  <a:srgbClr val="000000"/>
                </a:solidFill>
              </a:rPr>
              <a:t>Chile</a:t>
            </a:r>
            <a:endParaRPr lang="de-DE" sz="1200" dirty="0">
              <a:solidFill>
                <a:srgbClr val="000000"/>
              </a:solidFill>
            </a:endParaRPr>
          </a:p>
        </p:txBody>
      </p:sp>
      <p:sp>
        <p:nvSpPr>
          <p:cNvPr id="24" name="Rechteck 23"/>
          <p:cNvSpPr/>
          <p:nvPr/>
        </p:nvSpPr>
        <p:spPr bwMode="auto">
          <a:xfrm>
            <a:off x="431539" y="4135204"/>
            <a:ext cx="4025228" cy="1692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36000" tIns="0" rIns="0" bIns="0" numCol="1" spcCol="0" rtlCol="0" fromWordArt="0" anchor="b" anchorCtr="0" forceAA="0" compatLnSpc="1">
            <a:prstTxWarp prst="textNoShape">
              <a:avLst/>
            </a:prstTxWarp>
            <a:noAutofit/>
          </a:bodyPr>
          <a:lstStyle/>
          <a:p>
            <a:pPr lvl="0"/>
            <a:r>
              <a:rPr lang="en-US" sz="1200" dirty="0" smtClean="0"/>
              <a:t>Brazil</a:t>
            </a:r>
            <a:endParaRPr lang="de-DE" sz="1200" dirty="0"/>
          </a:p>
        </p:txBody>
      </p:sp>
      <p:sp>
        <p:nvSpPr>
          <p:cNvPr id="25" name="Rechteck 24"/>
          <p:cNvSpPr/>
          <p:nvPr/>
        </p:nvSpPr>
        <p:spPr bwMode="auto">
          <a:xfrm>
            <a:off x="4715954" y="4135204"/>
            <a:ext cx="4025228" cy="1692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36000" tIns="0" rIns="0" bIns="0" numCol="1" spcCol="0" rtlCol="0" fromWordArt="0" anchor="b" anchorCtr="0" forceAA="0" compatLnSpc="1">
            <a:prstTxWarp prst="textNoShape">
              <a:avLst/>
            </a:prstTxWarp>
            <a:noAutofit/>
          </a:bodyPr>
          <a:lstStyle/>
          <a:p>
            <a:r>
              <a:rPr lang="en-US" altLang="en-US" sz="1200" dirty="0" smtClean="0"/>
              <a:t>Germany</a:t>
            </a:r>
            <a:endParaRPr lang="en-US" altLang="en-US" sz="1200" dirty="0"/>
          </a:p>
        </p:txBody>
      </p:sp>
      <p:pic>
        <p:nvPicPr>
          <p:cNvPr id="26" name="Picture 3" descr="Y:\GoTeach 3.0\05_Teach For All\9 - Communication TFAll Partnership\4_Images\01_Images_Teach For All\Teach For All 2013\Chile.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4715954" y="2063564"/>
            <a:ext cx="4017946" cy="151246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15" descr="130909 GVD Lebenslaufcheck 1"/>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715954" y="4140511"/>
            <a:ext cx="4024800" cy="1505122"/>
          </a:xfrm>
          <a:prstGeom prst="rect">
            <a:avLst/>
          </a:prstGeom>
          <a:noFill/>
          <a:ln>
            <a:noFill/>
          </a:ln>
        </p:spPr>
      </p:pic>
      <p:pic>
        <p:nvPicPr>
          <p:cNvPr id="28"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289"/>
          <a:stretch/>
        </p:blipFill>
        <p:spPr bwMode="auto">
          <a:xfrm flipH="1">
            <a:off x="431539" y="4140511"/>
            <a:ext cx="4024800" cy="15051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Rechteck 28"/>
          <p:cNvSpPr/>
          <p:nvPr/>
        </p:nvSpPr>
        <p:spPr bwMode="auto">
          <a:xfrm>
            <a:off x="427237" y="2059929"/>
            <a:ext cx="4025228" cy="1692000"/>
          </a:xfrm>
          <a:prstGeom prst="rect">
            <a:avLst/>
          </a:prstGeom>
          <a:solidFill>
            <a:schemeClr val="accent5"/>
          </a:solidFill>
          <a:ln w="12700" cap="flat" cmpd="sng" algn="ctr">
            <a:noFill/>
            <a:prstDash val="solid"/>
            <a:round/>
            <a:headEnd type="none" w="med" len="med"/>
            <a:tailEnd type="none" w="med" len="med"/>
          </a:ln>
          <a:effectLst/>
        </p:spPr>
        <p:txBody>
          <a:bodyPr rot="0" spcFirstLastPara="0" vertOverflow="overflow" horzOverflow="overflow" vert="horz" wrap="square" lIns="36000" tIns="0" rIns="0" bIns="0" numCol="1" spcCol="0" rtlCol="0" fromWordArt="0" anchor="b" anchorCtr="0" forceAA="0" compatLnSpc="1">
            <a:prstTxWarp prst="textNoShape">
              <a:avLst/>
            </a:prstTxWarp>
            <a:noAutofit/>
          </a:bodyPr>
          <a:lstStyle/>
          <a:p>
            <a:pPr lvl="0"/>
            <a:r>
              <a:rPr lang="en-US" sz="1200" dirty="0">
                <a:solidFill>
                  <a:srgbClr val="000000"/>
                </a:solidFill>
              </a:rPr>
              <a:t>Kenya</a:t>
            </a:r>
            <a:endParaRPr lang="de-DE" dirty="0">
              <a:solidFill>
                <a:srgbClr val="000000"/>
              </a:solidFill>
            </a:endParaRPr>
          </a:p>
        </p:txBody>
      </p:sp>
      <p:sp>
        <p:nvSpPr>
          <p:cNvPr id="30" name="Rechteck 29"/>
          <p:cNvSpPr/>
          <p:nvPr/>
        </p:nvSpPr>
        <p:spPr bwMode="auto">
          <a:xfrm>
            <a:off x="427237" y="3729083"/>
            <a:ext cx="4025228" cy="108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5225" eaLnBrk="0" fontAlgn="base" hangingPunct="0">
              <a:spcBef>
                <a:spcPct val="0"/>
              </a:spcBef>
              <a:spcAft>
                <a:spcPct val="0"/>
              </a:spcAft>
            </a:pPr>
            <a:endParaRPr lang="de-DE" sz="1400">
              <a:latin typeface="Arial" charset="0"/>
            </a:endParaRPr>
          </a:p>
        </p:txBody>
      </p:sp>
      <p:sp>
        <p:nvSpPr>
          <p:cNvPr id="31" name="Rechteck 30"/>
          <p:cNvSpPr/>
          <p:nvPr/>
        </p:nvSpPr>
        <p:spPr bwMode="auto">
          <a:xfrm>
            <a:off x="4715954" y="3729083"/>
            <a:ext cx="4025228" cy="108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5225" eaLnBrk="0" fontAlgn="base" hangingPunct="0">
              <a:spcBef>
                <a:spcPct val="0"/>
              </a:spcBef>
              <a:spcAft>
                <a:spcPct val="0"/>
              </a:spcAft>
            </a:pPr>
            <a:endParaRPr lang="de-DE" sz="1400">
              <a:latin typeface="Arial" charset="0"/>
            </a:endParaRPr>
          </a:p>
        </p:txBody>
      </p:sp>
      <p:sp>
        <p:nvSpPr>
          <p:cNvPr id="32" name="Rechteck 31"/>
          <p:cNvSpPr/>
          <p:nvPr/>
        </p:nvSpPr>
        <p:spPr bwMode="auto">
          <a:xfrm>
            <a:off x="4715954" y="2181007"/>
            <a:ext cx="2052000" cy="360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431940" tIns="35996" rIns="0" bIns="0" numCol="1" spcCol="0" rtlCol="0" fromWordArt="0" anchor="t" anchorCtr="0" forceAA="0" compatLnSpc="1">
            <a:prstTxWarp prst="textNoShape">
              <a:avLst/>
            </a:prstTxWarp>
            <a:noAutofit/>
          </a:bodyPr>
          <a:lstStyle/>
          <a:p>
            <a:pPr defTabSz="995225" eaLnBrk="0" fontAlgn="base" hangingPunct="0">
              <a:lnSpc>
                <a:spcPct val="90000"/>
              </a:lnSpc>
              <a:spcBef>
                <a:spcPct val="0"/>
              </a:spcBef>
              <a:spcAft>
                <a:spcPct val="0"/>
              </a:spcAft>
            </a:pPr>
            <a:r>
              <a:rPr lang="en-US" sz="1600" b="1" dirty="0">
                <a:solidFill>
                  <a:schemeClr val="tx2">
                    <a:lumMod val="75000"/>
                  </a:schemeClr>
                </a:solidFill>
              </a:rPr>
              <a:t>Facility visits</a:t>
            </a:r>
          </a:p>
        </p:txBody>
      </p:sp>
      <p:sp>
        <p:nvSpPr>
          <p:cNvPr id="33" name="Rechteck 32"/>
          <p:cNvSpPr/>
          <p:nvPr/>
        </p:nvSpPr>
        <p:spPr bwMode="auto">
          <a:xfrm>
            <a:off x="431539" y="5804358"/>
            <a:ext cx="4025228" cy="108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5225" eaLnBrk="0" fontAlgn="base" hangingPunct="0">
              <a:spcBef>
                <a:spcPct val="0"/>
              </a:spcBef>
              <a:spcAft>
                <a:spcPct val="0"/>
              </a:spcAft>
            </a:pPr>
            <a:endParaRPr lang="de-DE" sz="1400">
              <a:latin typeface="Arial" charset="0"/>
            </a:endParaRPr>
          </a:p>
        </p:txBody>
      </p:sp>
      <p:sp>
        <p:nvSpPr>
          <p:cNvPr id="34" name="Rechteck 33"/>
          <p:cNvSpPr/>
          <p:nvPr/>
        </p:nvSpPr>
        <p:spPr bwMode="auto">
          <a:xfrm>
            <a:off x="431539" y="4256282"/>
            <a:ext cx="2052000" cy="360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431940" tIns="35996" rIns="0" bIns="0" numCol="1" spcCol="0" rtlCol="0" fromWordArt="0" anchor="t" anchorCtr="0" forceAA="0" compatLnSpc="1">
            <a:prstTxWarp prst="textNoShape">
              <a:avLst/>
            </a:prstTxWarp>
            <a:noAutofit/>
          </a:bodyPr>
          <a:lstStyle/>
          <a:p>
            <a:pPr defTabSz="995225" eaLnBrk="0" fontAlgn="base" hangingPunct="0">
              <a:lnSpc>
                <a:spcPct val="90000"/>
              </a:lnSpc>
              <a:spcBef>
                <a:spcPct val="0"/>
              </a:spcBef>
              <a:spcAft>
                <a:spcPct val="0"/>
              </a:spcAft>
            </a:pPr>
            <a:r>
              <a:rPr lang="en-US" sz="1600" b="1" dirty="0">
                <a:solidFill>
                  <a:schemeClr val="tx2">
                    <a:lumMod val="75000"/>
                  </a:schemeClr>
                </a:solidFill>
              </a:rPr>
              <a:t>Work experience</a:t>
            </a:r>
          </a:p>
        </p:txBody>
      </p:sp>
      <p:sp>
        <p:nvSpPr>
          <p:cNvPr id="35" name="Rechteck 34"/>
          <p:cNvSpPr/>
          <p:nvPr/>
        </p:nvSpPr>
        <p:spPr bwMode="auto">
          <a:xfrm>
            <a:off x="4715954" y="4256282"/>
            <a:ext cx="2052000" cy="360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431940" tIns="35996" rIns="0" bIns="0" numCol="1" spcCol="0" rtlCol="0" fromWordArt="0" anchor="t" anchorCtr="0" forceAA="0" compatLnSpc="1">
            <a:prstTxWarp prst="textNoShape">
              <a:avLst/>
            </a:prstTxWarp>
            <a:noAutofit/>
          </a:bodyPr>
          <a:lstStyle/>
          <a:p>
            <a:pPr defTabSz="995225" eaLnBrk="0" fontAlgn="base" hangingPunct="0">
              <a:lnSpc>
                <a:spcPct val="90000"/>
              </a:lnSpc>
              <a:spcBef>
                <a:spcPct val="0"/>
              </a:spcBef>
              <a:spcAft>
                <a:spcPct val="0"/>
              </a:spcAft>
            </a:pPr>
            <a:r>
              <a:rPr lang="en-US" sz="1600" b="1" dirty="0">
                <a:solidFill>
                  <a:schemeClr val="tx2">
                    <a:lumMod val="75000"/>
                  </a:schemeClr>
                </a:solidFill>
              </a:rPr>
              <a:t>Skills training</a:t>
            </a:r>
          </a:p>
        </p:txBody>
      </p:sp>
      <p:sp>
        <p:nvSpPr>
          <p:cNvPr id="36" name="Rechteck 35"/>
          <p:cNvSpPr/>
          <p:nvPr/>
        </p:nvSpPr>
        <p:spPr bwMode="auto">
          <a:xfrm>
            <a:off x="4715954" y="5804358"/>
            <a:ext cx="4025228" cy="108000"/>
          </a:xfrm>
          <a:prstGeom prst="rect">
            <a:avLst/>
          </a:prstGeom>
          <a:solidFill>
            <a:schemeClr val="accent3"/>
          </a:solid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5225" eaLnBrk="0" fontAlgn="base" hangingPunct="0">
              <a:spcBef>
                <a:spcPct val="0"/>
              </a:spcBef>
              <a:spcAft>
                <a:spcPct val="0"/>
              </a:spcAft>
            </a:pPr>
            <a:endParaRPr lang="de-DE" sz="1400">
              <a:latin typeface="Arial" charset="0"/>
            </a:endParaRPr>
          </a:p>
        </p:txBody>
      </p:sp>
      <p:sp>
        <p:nvSpPr>
          <p:cNvPr id="37" name="Rechteck 36"/>
          <p:cNvSpPr/>
          <p:nvPr/>
        </p:nvSpPr>
        <p:spPr bwMode="auto">
          <a:xfrm>
            <a:off x="4715954" y="2063564"/>
            <a:ext cx="359779" cy="396044"/>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225" eaLnBrk="0" fontAlgn="base" hangingPunct="0">
              <a:spcBef>
                <a:spcPct val="0"/>
              </a:spcBef>
              <a:spcAft>
                <a:spcPct val="0"/>
              </a:spcAft>
            </a:pPr>
            <a:r>
              <a:rPr lang="de-DE" sz="1400" dirty="0"/>
              <a:t>2</a:t>
            </a:r>
          </a:p>
        </p:txBody>
      </p:sp>
      <p:sp>
        <p:nvSpPr>
          <p:cNvPr id="38" name="Rechteck 37"/>
          <p:cNvSpPr/>
          <p:nvPr/>
        </p:nvSpPr>
        <p:spPr bwMode="auto">
          <a:xfrm>
            <a:off x="431539" y="4135206"/>
            <a:ext cx="359779" cy="396044"/>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225" eaLnBrk="0" fontAlgn="base" hangingPunct="0">
              <a:spcBef>
                <a:spcPct val="0"/>
              </a:spcBef>
              <a:spcAft>
                <a:spcPct val="0"/>
              </a:spcAft>
            </a:pPr>
            <a:r>
              <a:rPr lang="de-DE" sz="1400" dirty="0"/>
              <a:t>3</a:t>
            </a:r>
          </a:p>
        </p:txBody>
      </p:sp>
      <p:sp>
        <p:nvSpPr>
          <p:cNvPr id="39" name="Rechteck 38"/>
          <p:cNvSpPr/>
          <p:nvPr/>
        </p:nvSpPr>
        <p:spPr bwMode="auto">
          <a:xfrm>
            <a:off x="4715954" y="4138839"/>
            <a:ext cx="359779" cy="396044"/>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225" eaLnBrk="0" fontAlgn="base" hangingPunct="0">
              <a:spcBef>
                <a:spcPct val="0"/>
              </a:spcBef>
              <a:spcAft>
                <a:spcPct val="0"/>
              </a:spcAft>
            </a:pPr>
            <a:r>
              <a:rPr lang="de-DE" sz="1400" dirty="0"/>
              <a:t>4</a:t>
            </a:r>
          </a:p>
        </p:txBody>
      </p:sp>
      <p:pic>
        <p:nvPicPr>
          <p:cNvPr id="40"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27237" y="2059720"/>
            <a:ext cx="4036814" cy="1516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hteck 40"/>
          <p:cNvSpPr/>
          <p:nvPr/>
        </p:nvSpPr>
        <p:spPr bwMode="auto">
          <a:xfrm>
            <a:off x="427237" y="2181007"/>
            <a:ext cx="2052000" cy="360000"/>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431940" tIns="35996" rIns="0" bIns="0" numCol="1" spcCol="0" rtlCol="0" fromWordArt="0" anchor="t" anchorCtr="0" forceAA="0" compatLnSpc="1">
            <a:prstTxWarp prst="textNoShape">
              <a:avLst/>
            </a:prstTxWarp>
            <a:noAutofit/>
          </a:bodyPr>
          <a:lstStyle/>
          <a:p>
            <a:pPr defTabSz="995225" eaLnBrk="0" fontAlgn="base" hangingPunct="0">
              <a:lnSpc>
                <a:spcPct val="90000"/>
              </a:lnSpc>
              <a:spcBef>
                <a:spcPct val="0"/>
              </a:spcBef>
              <a:spcAft>
                <a:spcPct val="0"/>
              </a:spcAft>
            </a:pPr>
            <a:r>
              <a:rPr lang="en-US" sz="1600" b="1" dirty="0">
                <a:solidFill>
                  <a:schemeClr val="tx2">
                    <a:lumMod val="75000"/>
                  </a:schemeClr>
                </a:solidFill>
              </a:rPr>
              <a:t>Mentoring</a:t>
            </a:r>
          </a:p>
        </p:txBody>
      </p:sp>
      <p:sp>
        <p:nvSpPr>
          <p:cNvPr id="42" name="Rechteck 41"/>
          <p:cNvSpPr/>
          <p:nvPr/>
        </p:nvSpPr>
        <p:spPr bwMode="auto">
          <a:xfrm>
            <a:off x="427237" y="2059930"/>
            <a:ext cx="359779" cy="396044"/>
          </a:xfrm>
          <a:prstGeom prst="rect">
            <a:avLst/>
          </a:prstGeom>
          <a:solidFill>
            <a:schemeClr val="accent3"/>
          </a:solidFill>
          <a:ln w="12700" cap="flat" cmpd="sng" algn="ctr">
            <a:solidFill>
              <a:schemeClr val="bg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5225" eaLnBrk="0" fontAlgn="base" hangingPunct="0">
              <a:spcBef>
                <a:spcPct val="0"/>
              </a:spcBef>
              <a:spcAft>
                <a:spcPct val="0"/>
              </a:spcAft>
            </a:pPr>
            <a:r>
              <a:rPr lang="de-DE" sz="1400" dirty="0"/>
              <a:t>1</a:t>
            </a:r>
          </a:p>
        </p:txBody>
      </p:sp>
      <p:sp>
        <p:nvSpPr>
          <p:cNvPr id="44" name="Footer Placeholder 3"/>
          <p:cNvSpPr>
            <a:spLocks noGrp="1"/>
          </p:cNvSpPr>
          <p:nvPr>
            <p:ph type="ftr" sz="quarter" idx="31"/>
          </p:nvPr>
        </p:nvSpPr>
        <p:spPr bwMode="gray">
          <a:xfrm>
            <a:off x="2142000" y="6296400"/>
            <a:ext cx="6228000" cy="252000"/>
          </a:xfrm>
        </p:spPr>
        <p:txBody>
          <a:bodyPr/>
          <a:lstStyle/>
          <a:p>
            <a:r>
              <a:rPr lang="de-DE" smtClean="0"/>
              <a:t>GoTeach | October 2019</a:t>
            </a:r>
            <a:endParaRPr lang="de-DE" dirty="0"/>
          </a:p>
        </p:txBody>
      </p:sp>
    </p:spTree>
    <p:extLst>
      <p:ext uri="{BB962C8B-B14F-4D97-AF65-F5344CB8AC3E}">
        <p14:creationId xmlns:p14="http://schemas.microsoft.com/office/powerpoint/2010/main" val="26828957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1005017" y="2064925"/>
            <a:ext cx="7109254" cy="3091961"/>
            <a:chOff x="414000" y="2199704"/>
            <a:chExt cx="8142429" cy="3705686"/>
          </a:xfrm>
        </p:grpSpPr>
        <p:pic>
          <p:nvPicPr>
            <p:cNvPr id="4" name="Picture 2" descr="C:\Users\sw5kcs\AppData\Local\Microsoft\Windows\Temporary Internet Files\Content.Outlook\22DNQB52\SA_DHL-SOS  419.jpg"/>
            <p:cNvPicPr>
              <a:picLocks noChangeAspect="1" noChangeArrowheads="1"/>
            </p:cNvPicPr>
            <p:nvPr>
              <p:custDataLst>
                <p:tags r:id="rId1"/>
              </p:custDataLst>
            </p:nvPr>
          </p:nvPicPr>
          <p:blipFill rotWithShape="1">
            <a:blip r:embed="rId3" cstate="email">
              <a:extLst>
                <a:ext uri="{28A0092B-C50C-407E-A947-70E740481C1C}">
                  <a14:useLocalDpi xmlns:a14="http://schemas.microsoft.com/office/drawing/2010/main"/>
                </a:ext>
              </a:extLst>
            </a:blip>
            <a:srcRect b="4862"/>
            <a:stretch/>
          </p:blipFill>
          <p:spPr bwMode="auto">
            <a:xfrm>
              <a:off x="414000" y="2901728"/>
              <a:ext cx="2576335" cy="152199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4000" y="4423719"/>
              <a:ext cx="8142429" cy="14816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descr="Y:\GoTeach 3.0\05_Teach For All\9 - Communication TFAll Partnership\4_Images\02_Images_Partnerships_Country-level\08_Images_country partnerships_2018\TFD 2018\GVD Kochshow\IMG_20180927_102209.JPG"/>
            <p:cNvPicPr>
              <a:picLocks noChangeAspect="1" noChangeArrowheads="1"/>
            </p:cNvPicPr>
            <p:nvPr/>
          </p:nvPicPr>
          <p:blipFill>
            <a:blip r:embed="rId5">
              <a:extLst>
                <a:ext uri="{28A0092B-C50C-407E-A947-70E740481C1C}">
                  <a14:useLocalDpi xmlns:a14="http://schemas.microsoft.com/office/drawing/2010/main" val="0"/>
                </a:ext>
              </a:extLst>
            </a:blip>
            <a:srcRect l="4641" r="4641"/>
            <a:stretch>
              <a:fillRect/>
            </a:stretch>
          </p:blipFill>
          <p:spPr bwMode="auto">
            <a:xfrm>
              <a:off x="2990335" y="2901728"/>
              <a:ext cx="2209928" cy="152199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ieren 8"/>
            <p:cNvGrpSpPr/>
            <p:nvPr/>
          </p:nvGrpSpPr>
          <p:grpSpPr>
            <a:xfrm>
              <a:off x="470813" y="2199704"/>
              <a:ext cx="8085616" cy="702024"/>
              <a:chOff x="414000" y="5062774"/>
              <a:chExt cx="8150860" cy="702024"/>
            </a:xfrm>
          </p:grpSpPr>
          <p:pic>
            <p:nvPicPr>
              <p:cNvPr id="10" name="Picture 2"/>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l="-289"/>
              <a:stretch/>
            </p:blipFill>
            <p:spPr bwMode="auto">
              <a:xfrm flipH="1">
                <a:off x="4491320" y="5062775"/>
                <a:ext cx="2034029" cy="6999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515630" y="5062774"/>
                <a:ext cx="2049230" cy="7020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4000" y="5062775"/>
                <a:ext cx="2049230" cy="7020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63230" y="5062774"/>
                <a:ext cx="2034029" cy="7020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4" name="Grafik 1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25142" y="2901727"/>
              <a:ext cx="2331287" cy="1538091"/>
            </a:xfrm>
            <a:prstGeom prst="rect">
              <a:avLst/>
            </a:prstGeom>
            <a:effectLst/>
          </p:spPr>
        </p:pic>
        <p:pic>
          <p:nvPicPr>
            <p:cNvPr id="16" name="Grafik 1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00263" y="2901728"/>
              <a:ext cx="1024879" cy="1521991"/>
            </a:xfrm>
            <a:prstGeom prst="rect">
              <a:avLst/>
            </a:prstGeom>
            <a:effectLst/>
          </p:spPr>
        </p:pic>
      </p:grpSp>
      <p:sp>
        <p:nvSpPr>
          <p:cNvPr id="2" name="Fußzeilenplatzhalter 1"/>
          <p:cNvSpPr>
            <a:spLocks noGrp="1"/>
          </p:cNvSpPr>
          <p:nvPr>
            <p:ph type="ftr" sz="quarter" idx="31"/>
          </p:nvPr>
        </p:nvSpPr>
        <p:spPr/>
        <p:txBody>
          <a:bodyPr/>
          <a:lstStyle/>
          <a:p>
            <a:r>
              <a:rPr lang="en-US" dirty="0" err="1" smtClean="0"/>
              <a:t>GoTeach</a:t>
            </a:r>
            <a:r>
              <a:rPr lang="en-US" dirty="0" smtClean="0"/>
              <a:t> | October 2019</a:t>
            </a:r>
            <a:endParaRPr lang="en-US" dirty="0"/>
          </a:p>
        </p:txBody>
      </p:sp>
      <p:sp>
        <p:nvSpPr>
          <p:cNvPr id="3" name="Titel 2"/>
          <p:cNvSpPr>
            <a:spLocks noGrp="1"/>
          </p:cNvSpPr>
          <p:nvPr>
            <p:ph type="title"/>
          </p:nvPr>
        </p:nvSpPr>
        <p:spPr/>
        <p:txBody>
          <a:bodyPr/>
          <a:lstStyle/>
          <a:p>
            <a:r>
              <a:rPr lang="de-DE" dirty="0" smtClean="0"/>
              <a:t>Encounters </a:t>
            </a:r>
            <a:r>
              <a:rPr lang="de-DE" dirty="0" err="1" smtClean="0"/>
              <a:t>with</a:t>
            </a:r>
            <a:r>
              <a:rPr lang="de-DE" dirty="0" smtClean="0"/>
              <a:t> </a:t>
            </a:r>
            <a:r>
              <a:rPr lang="de-DE" dirty="0" err="1" smtClean="0"/>
              <a:t>the</a:t>
            </a:r>
            <a:r>
              <a:rPr lang="de-DE" dirty="0" smtClean="0"/>
              <a:t> </a:t>
            </a:r>
            <a:r>
              <a:rPr lang="de-DE" dirty="0" err="1" smtClean="0"/>
              <a:t>world</a:t>
            </a:r>
            <a:r>
              <a:rPr lang="de-DE" dirty="0" smtClean="0"/>
              <a:t> </a:t>
            </a:r>
            <a:r>
              <a:rPr lang="de-DE" dirty="0" err="1" smtClean="0"/>
              <a:t>of</a:t>
            </a:r>
            <a:r>
              <a:rPr lang="de-DE" dirty="0" smtClean="0"/>
              <a:t> </a:t>
            </a:r>
            <a:r>
              <a:rPr lang="de-DE" dirty="0" err="1" smtClean="0"/>
              <a:t>work</a:t>
            </a:r>
            <a:r>
              <a:rPr lang="de-DE" dirty="0" smtClean="0"/>
              <a:t> </a:t>
            </a:r>
            <a:r>
              <a:rPr lang="de-DE" dirty="0" err="1" smtClean="0"/>
              <a:t>are</a:t>
            </a:r>
            <a:r>
              <a:rPr lang="de-DE" dirty="0" smtClean="0"/>
              <a:t> a powerful </a:t>
            </a:r>
            <a:r>
              <a:rPr lang="de-DE" dirty="0" err="1" smtClean="0"/>
              <a:t>motivator</a:t>
            </a:r>
            <a:endParaRPr lang="de-DE" dirty="0"/>
          </a:p>
        </p:txBody>
      </p:sp>
      <p:sp>
        <p:nvSpPr>
          <p:cNvPr id="17" name="Text Placeholder 28"/>
          <p:cNvSpPr txBox="1">
            <a:spLocks/>
          </p:cNvSpPr>
          <p:nvPr/>
        </p:nvSpPr>
        <p:spPr>
          <a:xfrm>
            <a:off x="414000" y="1250048"/>
            <a:ext cx="8315325" cy="549267"/>
          </a:xfrm>
          <a:prstGeom prst="rect">
            <a:avLst/>
          </a:prstGeom>
        </p:spPr>
        <p:txBody>
          <a:bodyPr vert="horz" lIns="0" tIns="0" rIns="0" bIns="0" rtlCol="0">
            <a:no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4">
              <a:lnSpc>
                <a:spcPct val="110000"/>
              </a:lnSpc>
              <a:spcAft>
                <a:spcPts val="500"/>
              </a:spcAft>
            </a:pPr>
            <a:r>
              <a:rPr lang="en-US" sz="1600" dirty="0" smtClean="0">
                <a:latin typeface="+mj-lt"/>
              </a:rPr>
              <a:t>Research found that encounters with volunteers from the world of work make a real difference to young people</a:t>
            </a:r>
            <a:endParaRPr lang="en-US" sz="1600" dirty="0">
              <a:latin typeface="+mj-lt"/>
            </a:endParaRPr>
          </a:p>
        </p:txBody>
      </p:sp>
      <p:sp>
        <p:nvSpPr>
          <p:cNvPr id="18" name="Textfeld 17"/>
          <p:cNvSpPr txBox="1"/>
          <p:nvPr/>
        </p:nvSpPr>
        <p:spPr>
          <a:xfrm>
            <a:off x="1246561" y="5362732"/>
            <a:ext cx="7482763" cy="473976"/>
          </a:xfrm>
          <a:prstGeom prst="rect">
            <a:avLst/>
          </a:prstGeom>
          <a:noFill/>
        </p:spPr>
        <p:txBody>
          <a:bodyPr wrap="square" lIns="0" tIns="0" rIns="0" bIns="0" rtlCol="0">
            <a:spAutoFit/>
          </a:bodyPr>
          <a:lstStyle/>
          <a:p>
            <a:pPr>
              <a:lnSpc>
                <a:spcPct val="110000"/>
              </a:lnSpc>
              <a:spcAft>
                <a:spcPts val="500"/>
              </a:spcAft>
            </a:pPr>
            <a:r>
              <a:rPr lang="en-US" sz="1400" i="1" dirty="0" smtClean="0">
                <a:solidFill>
                  <a:schemeClr val="accent2"/>
                </a:solidFill>
              </a:rPr>
              <a:t>Students with four or more positive interactions with companies, such as site visits or career talks, are </a:t>
            </a:r>
            <a:r>
              <a:rPr lang="en-US" sz="1400" b="1" i="1" dirty="0" smtClean="0">
                <a:solidFill>
                  <a:schemeClr val="accent2"/>
                </a:solidFill>
              </a:rPr>
              <a:t>78% less likely to be unemployed </a:t>
            </a:r>
            <a:r>
              <a:rPr lang="en-US" sz="1400" i="1" dirty="0" smtClean="0">
                <a:solidFill>
                  <a:schemeClr val="accent2"/>
                </a:solidFill>
              </a:rPr>
              <a:t>when they leave school and </a:t>
            </a:r>
            <a:r>
              <a:rPr lang="en-US" sz="1400" b="1" i="1" dirty="0" smtClean="0">
                <a:solidFill>
                  <a:schemeClr val="accent2"/>
                </a:solidFill>
              </a:rPr>
              <a:t>earn on average 18% more</a:t>
            </a:r>
            <a:r>
              <a:rPr lang="en-US" sz="1400" i="1" dirty="0" smtClean="0">
                <a:solidFill>
                  <a:schemeClr val="accent2"/>
                </a:solidFill>
              </a:rPr>
              <a:t>. </a:t>
            </a:r>
          </a:p>
        </p:txBody>
      </p:sp>
      <p:sp>
        <p:nvSpPr>
          <p:cNvPr id="19" name="Freeform 35"/>
          <p:cNvSpPr>
            <a:spLocks noEditPoints="1"/>
          </p:cNvSpPr>
          <p:nvPr/>
        </p:nvSpPr>
        <p:spPr bwMode="auto">
          <a:xfrm>
            <a:off x="485131" y="5272032"/>
            <a:ext cx="659929" cy="614000"/>
          </a:xfrm>
          <a:custGeom>
            <a:avLst/>
            <a:gdLst>
              <a:gd name="T0" fmla="*/ 115 w 1773"/>
              <a:gd name="T1" fmla="*/ 811 h 1764"/>
              <a:gd name="T2" fmla="*/ 855 w 1773"/>
              <a:gd name="T3" fmla="*/ 53 h 1764"/>
              <a:gd name="T4" fmla="*/ 9 w 1773"/>
              <a:gd name="T5" fmla="*/ 803 h 1764"/>
              <a:gd name="T6" fmla="*/ 811 w 1773"/>
              <a:gd name="T7" fmla="*/ 1649 h 1764"/>
              <a:gd name="T8" fmla="*/ 115 w 1773"/>
              <a:gd name="T9" fmla="*/ 961 h 1764"/>
              <a:gd name="T10" fmla="*/ 9 w 1773"/>
              <a:gd name="T11" fmla="*/ 970 h 1764"/>
              <a:gd name="T12" fmla="*/ 864 w 1773"/>
              <a:gd name="T13" fmla="*/ 1711 h 1764"/>
              <a:gd name="T14" fmla="*/ 1711 w 1773"/>
              <a:gd name="T15" fmla="*/ 900 h 1764"/>
              <a:gd name="T16" fmla="*/ 1649 w 1773"/>
              <a:gd name="T17" fmla="*/ 953 h 1764"/>
              <a:gd name="T18" fmla="*/ 917 w 1773"/>
              <a:gd name="T19" fmla="*/ 1711 h 1764"/>
              <a:gd name="T20" fmla="*/ 1764 w 1773"/>
              <a:gd name="T21" fmla="*/ 961 h 1764"/>
              <a:gd name="T22" fmla="*/ 952 w 1773"/>
              <a:gd name="T23" fmla="*/ 115 h 1764"/>
              <a:gd name="T24" fmla="*/ 1649 w 1773"/>
              <a:gd name="T25" fmla="*/ 803 h 1764"/>
              <a:gd name="T26" fmla="*/ 1764 w 1773"/>
              <a:gd name="T27" fmla="*/ 794 h 1764"/>
              <a:gd name="T28" fmla="*/ 908 w 1773"/>
              <a:gd name="T29" fmla="*/ 53 h 1764"/>
              <a:gd name="T30" fmla="*/ 1552 w 1773"/>
              <a:gd name="T31" fmla="*/ 882 h 1764"/>
              <a:gd name="T32" fmla="*/ 882 w 1773"/>
              <a:gd name="T33" fmla="*/ 212 h 1764"/>
              <a:gd name="T34" fmla="*/ 882 w 1773"/>
              <a:gd name="T35" fmla="*/ 1552 h 1764"/>
              <a:gd name="T36" fmla="*/ 939 w 1773"/>
              <a:gd name="T37" fmla="*/ 1293 h 1764"/>
              <a:gd name="T38" fmla="*/ 879 w 1773"/>
              <a:gd name="T39" fmla="*/ 1316 h 1764"/>
              <a:gd name="T40" fmla="*/ 792 w 1773"/>
              <a:gd name="T41" fmla="*/ 1230 h 1764"/>
              <a:gd name="T42" fmla="*/ 879 w 1773"/>
              <a:gd name="T43" fmla="*/ 1144 h 1764"/>
              <a:gd name="T44" fmla="*/ 965 w 1773"/>
              <a:gd name="T45" fmla="*/ 1230 h 1764"/>
              <a:gd name="T46" fmla="*/ 1153 w 1773"/>
              <a:gd name="T47" fmla="*/ 762 h 1764"/>
              <a:gd name="T48" fmla="*/ 1106 w 1773"/>
              <a:gd name="T49" fmla="*/ 825 h 1764"/>
              <a:gd name="T50" fmla="*/ 977 w 1773"/>
              <a:gd name="T51" fmla="*/ 946 h 1764"/>
              <a:gd name="T52" fmla="*/ 951 w 1773"/>
              <a:gd name="T53" fmla="*/ 993 h 1764"/>
              <a:gd name="T54" fmla="*/ 873 w 1773"/>
              <a:gd name="T55" fmla="*/ 1092 h 1764"/>
              <a:gd name="T56" fmla="*/ 803 w 1773"/>
              <a:gd name="T57" fmla="*/ 1015 h 1764"/>
              <a:gd name="T58" fmla="*/ 857 w 1773"/>
              <a:gd name="T59" fmla="*/ 870 h 1764"/>
              <a:gd name="T60" fmla="*/ 977 w 1773"/>
              <a:gd name="T61" fmla="*/ 758 h 1764"/>
              <a:gd name="T62" fmla="*/ 1015 w 1773"/>
              <a:gd name="T63" fmla="*/ 678 h 1764"/>
              <a:gd name="T64" fmla="*/ 893 w 1773"/>
              <a:gd name="T65" fmla="*/ 569 h 1764"/>
              <a:gd name="T66" fmla="*/ 750 w 1773"/>
              <a:gd name="T67" fmla="*/ 695 h 1764"/>
              <a:gd name="T68" fmla="*/ 622 w 1773"/>
              <a:gd name="T69" fmla="*/ 737 h 1764"/>
              <a:gd name="T70" fmla="*/ 635 w 1773"/>
              <a:gd name="T71" fmla="*/ 577 h 1764"/>
              <a:gd name="T72" fmla="*/ 893 w 1773"/>
              <a:gd name="T73" fmla="*/ 448 h 1764"/>
              <a:gd name="T74" fmla="*/ 1138 w 1773"/>
              <a:gd name="T75" fmla="*/ 562 h 1764"/>
              <a:gd name="T76" fmla="*/ 1153 w 1773"/>
              <a:gd name="T77" fmla="*/ 76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73" h="1764">
                <a:moveTo>
                  <a:pt x="53" y="864"/>
                </a:moveTo>
                <a:cubicBezTo>
                  <a:pt x="88" y="864"/>
                  <a:pt x="115" y="838"/>
                  <a:pt x="115" y="811"/>
                </a:cubicBezTo>
                <a:cubicBezTo>
                  <a:pt x="150" y="441"/>
                  <a:pt x="441" y="150"/>
                  <a:pt x="802" y="115"/>
                </a:cubicBezTo>
                <a:cubicBezTo>
                  <a:pt x="838" y="115"/>
                  <a:pt x="855" y="79"/>
                  <a:pt x="855" y="53"/>
                </a:cubicBezTo>
                <a:cubicBezTo>
                  <a:pt x="855" y="18"/>
                  <a:pt x="829" y="0"/>
                  <a:pt x="794" y="0"/>
                </a:cubicBezTo>
                <a:cubicBezTo>
                  <a:pt x="379" y="44"/>
                  <a:pt x="44" y="379"/>
                  <a:pt x="9" y="803"/>
                </a:cubicBezTo>
                <a:cubicBezTo>
                  <a:pt x="0" y="829"/>
                  <a:pt x="26" y="855"/>
                  <a:pt x="53" y="864"/>
                </a:cubicBezTo>
                <a:close/>
                <a:moveTo>
                  <a:pt x="811" y="1649"/>
                </a:moveTo>
                <a:lnTo>
                  <a:pt x="811" y="1649"/>
                </a:lnTo>
                <a:cubicBezTo>
                  <a:pt x="450" y="1614"/>
                  <a:pt x="159" y="1323"/>
                  <a:pt x="115" y="961"/>
                </a:cubicBezTo>
                <a:cubicBezTo>
                  <a:pt x="115" y="926"/>
                  <a:pt x="88" y="908"/>
                  <a:pt x="53" y="908"/>
                </a:cubicBezTo>
                <a:cubicBezTo>
                  <a:pt x="26" y="917"/>
                  <a:pt x="0" y="944"/>
                  <a:pt x="9" y="970"/>
                </a:cubicBezTo>
                <a:cubicBezTo>
                  <a:pt x="44" y="1393"/>
                  <a:pt x="379" y="1720"/>
                  <a:pt x="802" y="1764"/>
                </a:cubicBezTo>
                <a:cubicBezTo>
                  <a:pt x="838" y="1764"/>
                  <a:pt x="864" y="1746"/>
                  <a:pt x="864" y="1711"/>
                </a:cubicBezTo>
                <a:cubicBezTo>
                  <a:pt x="864" y="1676"/>
                  <a:pt x="847" y="1649"/>
                  <a:pt x="811" y="1649"/>
                </a:cubicBezTo>
                <a:close/>
                <a:moveTo>
                  <a:pt x="1711" y="900"/>
                </a:moveTo>
                <a:lnTo>
                  <a:pt x="1711" y="900"/>
                </a:lnTo>
                <a:cubicBezTo>
                  <a:pt x="1684" y="900"/>
                  <a:pt x="1658" y="926"/>
                  <a:pt x="1649" y="953"/>
                </a:cubicBezTo>
                <a:cubicBezTo>
                  <a:pt x="1623" y="1323"/>
                  <a:pt x="1332" y="1614"/>
                  <a:pt x="961" y="1649"/>
                </a:cubicBezTo>
                <a:cubicBezTo>
                  <a:pt x="935" y="1649"/>
                  <a:pt x="908" y="1676"/>
                  <a:pt x="917" y="1711"/>
                </a:cubicBezTo>
                <a:cubicBezTo>
                  <a:pt x="917" y="1737"/>
                  <a:pt x="944" y="1764"/>
                  <a:pt x="979" y="1764"/>
                </a:cubicBezTo>
                <a:cubicBezTo>
                  <a:pt x="1393" y="1720"/>
                  <a:pt x="1729" y="1385"/>
                  <a:pt x="1764" y="961"/>
                </a:cubicBezTo>
                <a:cubicBezTo>
                  <a:pt x="1773" y="935"/>
                  <a:pt x="1746" y="908"/>
                  <a:pt x="1711" y="900"/>
                </a:cubicBezTo>
                <a:close/>
                <a:moveTo>
                  <a:pt x="952" y="115"/>
                </a:moveTo>
                <a:lnTo>
                  <a:pt x="952" y="115"/>
                </a:lnTo>
                <a:cubicBezTo>
                  <a:pt x="1323" y="150"/>
                  <a:pt x="1614" y="441"/>
                  <a:pt x="1649" y="803"/>
                </a:cubicBezTo>
                <a:cubicBezTo>
                  <a:pt x="1658" y="838"/>
                  <a:pt x="1684" y="855"/>
                  <a:pt x="1711" y="855"/>
                </a:cubicBezTo>
                <a:cubicBezTo>
                  <a:pt x="1746" y="847"/>
                  <a:pt x="1764" y="820"/>
                  <a:pt x="1764" y="794"/>
                </a:cubicBezTo>
                <a:cubicBezTo>
                  <a:pt x="1720" y="370"/>
                  <a:pt x="1385" y="44"/>
                  <a:pt x="970" y="0"/>
                </a:cubicBezTo>
                <a:cubicBezTo>
                  <a:pt x="935" y="0"/>
                  <a:pt x="908" y="18"/>
                  <a:pt x="908" y="53"/>
                </a:cubicBezTo>
                <a:cubicBezTo>
                  <a:pt x="900" y="79"/>
                  <a:pt x="926" y="115"/>
                  <a:pt x="952" y="115"/>
                </a:cubicBezTo>
                <a:close/>
                <a:moveTo>
                  <a:pt x="1552" y="882"/>
                </a:moveTo>
                <a:lnTo>
                  <a:pt x="1552" y="882"/>
                </a:lnTo>
                <a:cubicBezTo>
                  <a:pt x="1552" y="512"/>
                  <a:pt x="1252" y="212"/>
                  <a:pt x="882" y="212"/>
                </a:cubicBezTo>
                <a:cubicBezTo>
                  <a:pt x="520" y="212"/>
                  <a:pt x="220" y="512"/>
                  <a:pt x="220" y="882"/>
                </a:cubicBezTo>
                <a:cubicBezTo>
                  <a:pt x="220" y="1252"/>
                  <a:pt x="520" y="1552"/>
                  <a:pt x="882" y="1552"/>
                </a:cubicBezTo>
                <a:cubicBezTo>
                  <a:pt x="1252" y="1552"/>
                  <a:pt x="1552" y="1252"/>
                  <a:pt x="1552" y="882"/>
                </a:cubicBezTo>
                <a:close/>
                <a:moveTo>
                  <a:pt x="939" y="1293"/>
                </a:moveTo>
                <a:lnTo>
                  <a:pt x="939" y="1293"/>
                </a:lnTo>
                <a:cubicBezTo>
                  <a:pt x="922" y="1308"/>
                  <a:pt x="902" y="1316"/>
                  <a:pt x="879" y="1316"/>
                </a:cubicBezTo>
                <a:cubicBezTo>
                  <a:pt x="856" y="1316"/>
                  <a:pt x="836" y="1308"/>
                  <a:pt x="818" y="1293"/>
                </a:cubicBezTo>
                <a:cubicBezTo>
                  <a:pt x="801" y="1278"/>
                  <a:pt x="792" y="1257"/>
                  <a:pt x="792" y="1230"/>
                </a:cubicBezTo>
                <a:cubicBezTo>
                  <a:pt x="792" y="1206"/>
                  <a:pt x="801" y="1185"/>
                  <a:pt x="817" y="1169"/>
                </a:cubicBezTo>
                <a:cubicBezTo>
                  <a:pt x="834" y="1153"/>
                  <a:pt x="855" y="1144"/>
                  <a:pt x="879" y="1144"/>
                </a:cubicBezTo>
                <a:cubicBezTo>
                  <a:pt x="903" y="1144"/>
                  <a:pt x="924" y="1153"/>
                  <a:pt x="940" y="1169"/>
                </a:cubicBezTo>
                <a:cubicBezTo>
                  <a:pt x="957" y="1185"/>
                  <a:pt x="965" y="1206"/>
                  <a:pt x="965" y="1230"/>
                </a:cubicBezTo>
                <a:cubicBezTo>
                  <a:pt x="965" y="1257"/>
                  <a:pt x="956" y="1278"/>
                  <a:pt x="939" y="1293"/>
                </a:cubicBezTo>
                <a:close/>
                <a:moveTo>
                  <a:pt x="1153" y="762"/>
                </a:moveTo>
                <a:lnTo>
                  <a:pt x="1153" y="762"/>
                </a:lnTo>
                <a:cubicBezTo>
                  <a:pt x="1140" y="787"/>
                  <a:pt x="1124" y="808"/>
                  <a:pt x="1106" y="825"/>
                </a:cubicBezTo>
                <a:cubicBezTo>
                  <a:pt x="1088" y="843"/>
                  <a:pt x="1055" y="873"/>
                  <a:pt x="1008" y="915"/>
                </a:cubicBezTo>
                <a:cubicBezTo>
                  <a:pt x="995" y="927"/>
                  <a:pt x="985" y="937"/>
                  <a:pt x="977" y="946"/>
                </a:cubicBezTo>
                <a:cubicBezTo>
                  <a:pt x="969" y="955"/>
                  <a:pt x="963" y="964"/>
                  <a:pt x="960" y="971"/>
                </a:cubicBezTo>
                <a:cubicBezTo>
                  <a:pt x="956" y="978"/>
                  <a:pt x="953" y="986"/>
                  <a:pt x="951" y="993"/>
                </a:cubicBezTo>
                <a:cubicBezTo>
                  <a:pt x="949" y="1001"/>
                  <a:pt x="945" y="1014"/>
                  <a:pt x="941" y="1033"/>
                </a:cubicBezTo>
                <a:cubicBezTo>
                  <a:pt x="934" y="1072"/>
                  <a:pt x="911" y="1092"/>
                  <a:pt x="873" y="1092"/>
                </a:cubicBezTo>
                <a:cubicBezTo>
                  <a:pt x="853" y="1092"/>
                  <a:pt x="836" y="1086"/>
                  <a:pt x="823" y="1073"/>
                </a:cubicBezTo>
                <a:cubicBezTo>
                  <a:pt x="809" y="1060"/>
                  <a:pt x="803" y="1041"/>
                  <a:pt x="803" y="1015"/>
                </a:cubicBezTo>
                <a:cubicBezTo>
                  <a:pt x="803" y="983"/>
                  <a:pt x="808" y="955"/>
                  <a:pt x="817" y="931"/>
                </a:cubicBezTo>
                <a:cubicBezTo>
                  <a:pt x="827" y="908"/>
                  <a:pt x="841" y="887"/>
                  <a:pt x="857" y="870"/>
                </a:cubicBezTo>
                <a:cubicBezTo>
                  <a:pt x="873" y="852"/>
                  <a:pt x="896" y="831"/>
                  <a:pt x="924" y="806"/>
                </a:cubicBezTo>
                <a:cubicBezTo>
                  <a:pt x="948" y="785"/>
                  <a:pt x="966" y="769"/>
                  <a:pt x="977" y="758"/>
                </a:cubicBezTo>
                <a:cubicBezTo>
                  <a:pt x="987" y="747"/>
                  <a:pt x="997" y="735"/>
                  <a:pt x="1004" y="721"/>
                </a:cubicBezTo>
                <a:cubicBezTo>
                  <a:pt x="1011" y="708"/>
                  <a:pt x="1015" y="694"/>
                  <a:pt x="1015" y="678"/>
                </a:cubicBezTo>
                <a:cubicBezTo>
                  <a:pt x="1015" y="647"/>
                  <a:pt x="1004" y="622"/>
                  <a:pt x="981" y="601"/>
                </a:cubicBezTo>
                <a:cubicBezTo>
                  <a:pt x="958" y="580"/>
                  <a:pt x="929" y="569"/>
                  <a:pt x="893" y="569"/>
                </a:cubicBezTo>
                <a:cubicBezTo>
                  <a:pt x="851" y="569"/>
                  <a:pt x="820" y="580"/>
                  <a:pt x="800" y="601"/>
                </a:cubicBezTo>
                <a:cubicBezTo>
                  <a:pt x="780" y="622"/>
                  <a:pt x="764" y="653"/>
                  <a:pt x="750" y="695"/>
                </a:cubicBezTo>
                <a:cubicBezTo>
                  <a:pt x="737" y="738"/>
                  <a:pt x="712" y="759"/>
                  <a:pt x="676" y="759"/>
                </a:cubicBezTo>
                <a:cubicBezTo>
                  <a:pt x="655" y="759"/>
                  <a:pt x="636" y="752"/>
                  <a:pt x="622" y="737"/>
                </a:cubicBezTo>
                <a:cubicBezTo>
                  <a:pt x="607" y="722"/>
                  <a:pt x="600" y="705"/>
                  <a:pt x="600" y="688"/>
                </a:cubicBezTo>
                <a:cubicBezTo>
                  <a:pt x="600" y="651"/>
                  <a:pt x="611" y="615"/>
                  <a:pt x="635" y="577"/>
                </a:cubicBezTo>
                <a:cubicBezTo>
                  <a:pt x="658" y="540"/>
                  <a:pt x="692" y="509"/>
                  <a:pt x="737" y="485"/>
                </a:cubicBezTo>
                <a:cubicBezTo>
                  <a:pt x="781" y="460"/>
                  <a:pt x="834" y="448"/>
                  <a:pt x="893" y="448"/>
                </a:cubicBezTo>
                <a:cubicBezTo>
                  <a:pt x="949" y="448"/>
                  <a:pt x="997" y="458"/>
                  <a:pt x="1040" y="479"/>
                </a:cubicBezTo>
                <a:cubicBezTo>
                  <a:pt x="1082" y="499"/>
                  <a:pt x="1115" y="527"/>
                  <a:pt x="1138" y="562"/>
                </a:cubicBezTo>
                <a:cubicBezTo>
                  <a:pt x="1161" y="597"/>
                  <a:pt x="1173" y="635"/>
                  <a:pt x="1173" y="677"/>
                </a:cubicBezTo>
                <a:cubicBezTo>
                  <a:pt x="1173" y="709"/>
                  <a:pt x="1166" y="738"/>
                  <a:pt x="1153" y="76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Rectangle 6"/>
          <p:cNvSpPr/>
          <p:nvPr/>
        </p:nvSpPr>
        <p:spPr>
          <a:xfrm>
            <a:off x="414000" y="5935356"/>
            <a:ext cx="6515100" cy="215444"/>
          </a:xfrm>
          <a:prstGeom prst="rect">
            <a:avLst/>
          </a:prstGeom>
        </p:spPr>
        <p:txBody>
          <a:bodyPr wrap="square">
            <a:spAutoFit/>
          </a:bodyPr>
          <a:lstStyle/>
          <a:p>
            <a:pPr lvl="0"/>
            <a:r>
              <a:rPr lang="en-GB" sz="800" dirty="0" smtClean="0"/>
              <a:t>Source: Dr Anthony Mann Education </a:t>
            </a:r>
            <a:r>
              <a:rPr lang="en-GB" sz="800" dirty="0"/>
              <a:t>and </a:t>
            </a:r>
            <a:r>
              <a:rPr lang="en-GB" sz="800" dirty="0" smtClean="0"/>
              <a:t>Employers Task Force </a:t>
            </a:r>
            <a:endParaRPr lang="en-GB" sz="1400" dirty="0"/>
          </a:p>
        </p:txBody>
      </p:sp>
    </p:spTree>
    <p:extLst>
      <p:ext uri="{BB962C8B-B14F-4D97-AF65-F5344CB8AC3E}">
        <p14:creationId xmlns:p14="http://schemas.microsoft.com/office/powerpoint/2010/main" val="40465174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eck 27"/>
          <p:cNvSpPr/>
          <p:nvPr/>
        </p:nvSpPr>
        <p:spPr bwMode="auto">
          <a:xfrm>
            <a:off x="4551082" y="2027588"/>
            <a:ext cx="3046707" cy="3968323"/>
          </a:xfrm>
          <a:prstGeom prst="rect">
            <a:avLst/>
          </a:prstGeom>
          <a:solidFill>
            <a:srgbClr val="FFCC00"/>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sp>
        <p:nvSpPr>
          <p:cNvPr id="2" name="Fußzeilenplatzhalter 1"/>
          <p:cNvSpPr>
            <a:spLocks noGrp="1"/>
          </p:cNvSpPr>
          <p:nvPr>
            <p:ph type="ftr" sz="quarter" idx="31"/>
          </p:nvPr>
        </p:nvSpPr>
        <p:spPr/>
        <p:txBody>
          <a:bodyPr/>
          <a:lstStyle/>
          <a:p>
            <a:r>
              <a:rPr lang="en-US" smtClean="0"/>
              <a:t>GoTeach | October 2019</a:t>
            </a:r>
            <a:endParaRPr lang="en-US" dirty="0" smtClean="0"/>
          </a:p>
        </p:txBody>
      </p:sp>
      <p:sp>
        <p:nvSpPr>
          <p:cNvPr id="3" name="Titel 2"/>
          <p:cNvSpPr>
            <a:spLocks noGrp="1"/>
          </p:cNvSpPr>
          <p:nvPr>
            <p:ph type="title"/>
          </p:nvPr>
        </p:nvSpPr>
        <p:spPr/>
        <p:txBody>
          <a:bodyPr/>
          <a:lstStyle/>
          <a:p>
            <a:r>
              <a:rPr lang="de-DE" dirty="0" smtClean="0"/>
              <a:t>SOS </a:t>
            </a:r>
            <a:r>
              <a:rPr lang="de-DE" dirty="0" err="1" smtClean="0"/>
              <a:t>and</a:t>
            </a:r>
            <a:r>
              <a:rPr lang="de-DE" dirty="0" smtClean="0"/>
              <a:t> </a:t>
            </a:r>
            <a:r>
              <a:rPr lang="de-DE" dirty="0" err="1" smtClean="0"/>
              <a:t>TFAll</a:t>
            </a:r>
            <a:r>
              <a:rPr lang="de-DE" dirty="0" smtClean="0"/>
              <a:t> </a:t>
            </a:r>
            <a:r>
              <a:rPr lang="de-DE" dirty="0" err="1"/>
              <a:t>P</a:t>
            </a:r>
            <a:r>
              <a:rPr lang="de-DE" dirty="0" err="1" smtClean="0"/>
              <a:t>artnerships</a:t>
            </a:r>
            <a:r>
              <a:rPr lang="de-DE" dirty="0" smtClean="0"/>
              <a:t> in </a:t>
            </a:r>
            <a:r>
              <a:rPr lang="de-DE" dirty="0" err="1" smtClean="0"/>
              <a:t>figures</a:t>
            </a:r>
            <a:endParaRPr lang="de-DE" dirty="0"/>
          </a:p>
        </p:txBody>
      </p:sp>
      <p:sp>
        <p:nvSpPr>
          <p:cNvPr id="4" name="Rechteck 3"/>
          <p:cNvSpPr/>
          <p:nvPr/>
        </p:nvSpPr>
        <p:spPr bwMode="auto">
          <a:xfrm>
            <a:off x="1160390" y="2027588"/>
            <a:ext cx="3048799" cy="3968323"/>
          </a:xfrm>
          <a:prstGeom prst="rect">
            <a:avLst/>
          </a:prstGeom>
          <a:solidFill>
            <a:srgbClr val="FFCC00"/>
          </a:soli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smtClean="0">
              <a:ln>
                <a:noFill/>
              </a:ln>
              <a:solidFill>
                <a:schemeClr val="tx1"/>
              </a:solidFill>
              <a:effectLst/>
            </a:endParaRPr>
          </a:p>
        </p:txBody>
      </p:sp>
      <p:cxnSp>
        <p:nvCxnSpPr>
          <p:cNvPr id="13" name="Gerade Verbindung 12"/>
          <p:cNvCxnSpPr/>
          <p:nvPr/>
        </p:nvCxnSpPr>
        <p:spPr bwMode="auto">
          <a:xfrm flipV="1">
            <a:off x="1214169" y="3856993"/>
            <a:ext cx="2857487" cy="1"/>
          </a:xfrm>
          <a:prstGeom prst="line">
            <a:avLst/>
          </a:prstGeom>
          <a:solidFill>
            <a:schemeClr val="bg1"/>
          </a:solidFill>
          <a:ln w="9525" cap="flat" cmpd="sng" algn="ctr">
            <a:solidFill>
              <a:schemeClr val="bg1"/>
            </a:solidFill>
            <a:prstDash val="solid"/>
            <a:round/>
            <a:headEnd type="none" w="med" len="med"/>
            <a:tailEnd type="none"/>
          </a:ln>
          <a:effectLst/>
        </p:spPr>
      </p:cxnSp>
      <p:pic>
        <p:nvPicPr>
          <p:cNvPr id="58675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9172" y="4895326"/>
            <a:ext cx="1579721" cy="1095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feld 14"/>
          <p:cNvSpPr txBox="1"/>
          <p:nvPr/>
        </p:nvSpPr>
        <p:spPr>
          <a:xfrm>
            <a:off x="1269172" y="3933226"/>
            <a:ext cx="1287212" cy="744819"/>
          </a:xfrm>
          <a:prstGeom prst="rect">
            <a:avLst/>
          </a:prstGeom>
          <a:noFill/>
        </p:spPr>
        <p:txBody>
          <a:bodyPr wrap="none" lIns="0" tIns="0" rIns="0" bIns="0" rtlCol="0">
            <a:spAutoFit/>
          </a:bodyPr>
          <a:lstStyle/>
          <a:p>
            <a:pPr>
              <a:lnSpc>
                <a:spcPct val="110000"/>
              </a:lnSpc>
              <a:spcAft>
                <a:spcPts val="500"/>
              </a:spcAft>
            </a:pPr>
            <a:r>
              <a:rPr lang="de-DE" sz="4400" b="1" dirty="0">
                <a:solidFill>
                  <a:schemeClr val="accent4"/>
                </a:solidFill>
                <a:latin typeface="Calibri" panose="020F0502020204030204" pitchFamily="34" charset="0"/>
              </a:rPr>
              <a:t>3</a:t>
            </a:r>
            <a:r>
              <a:rPr lang="de-DE" sz="4400" b="1" dirty="0" smtClean="0">
                <a:solidFill>
                  <a:schemeClr val="accent4"/>
                </a:solidFill>
                <a:latin typeface="Calibri" panose="020F0502020204030204" pitchFamily="34" charset="0"/>
              </a:rPr>
              <a:t>,000</a:t>
            </a:r>
          </a:p>
        </p:txBody>
      </p:sp>
      <p:sp>
        <p:nvSpPr>
          <p:cNvPr id="17" name="Textfeld 16"/>
          <p:cNvSpPr txBox="1"/>
          <p:nvPr/>
        </p:nvSpPr>
        <p:spPr>
          <a:xfrm>
            <a:off x="1269172" y="4537481"/>
            <a:ext cx="842590" cy="372410"/>
          </a:xfrm>
          <a:prstGeom prst="rect">
            <a:avLst/>
          </a:prstGeom>
          <a:noFill/>
        </p:spPr>
        <p:txBody>
          <a:bodyPr wrap="square" lIns="0" tIns="0" rIns="0" bIns="0" rtlCol="0">
            <a:spAutoFit/>
          </a:bodyPr>
          <a:lstStyle/>
          <a:p>
            <a:pPr>
              <a:lnSpc>
                <a:spcPct val="110000"/>
              </a:lnSpc>
              <a:spcAft>
                <a:spcPts val="500"/>
              </a:spcAft>
            </a:pPr>
            <a:r>
              <a:rPr lang="de-DE" sz="1100" b="1" dirty="0" err="1" smtClean="0">
                <a:latin typeface="Calibri" panose="020F0502020204030204" pitchFamily="34" charset="0"/>
              </a:rPr>
              <a:t>Beneficiaries</a:t>
            </a:r>
            <a:r>
              <a:rPr lang="de-DE" sz="1100" b="1" dirty="0" smtClean="0">
                <a:latin typeface="Calibri" panose="020F0502020204030204" pitchFamily="34" charset="0"/>
              </a:rPr>
              <a:t> </a:t>
            </a:r>
            <a:r>
              <a:rPr lang="de-DE" sz="1100" b="1" dirty="0" err="1" smtClean="0">
                <a:latin typeface="Calibri" panose="020F0502020204030204" pitchFamily="34" charset="0"/>
              </a:rPr>
              <a:t>reached</a:t>
            </a:r>
            <a:endParaRPr lang="de-DE" sz="1100" b="1" dirty="0" smtClean="0">
              <a:latin typeface="Calibri" panose="020F0502020204030204" pitchFamily="34" charset="0"/>
            </a:endParaRPr>
          </a:p>
        </p:txBody>
      </p:sp>
      <p:pic>
        <p:nvPicPr>
          <p:cNvPr id="58675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9627" y="4718097"/>
            <a:ext cx="1676400" cy="1085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6757"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22740" y="2176924"/>
            <a:ext cx="1076325" cy="1571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69172" y="2233728"/>
            <a:ext cx="1076325" cy="1571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Textfeld 32"/>
          <p:cNvSpPr txBox="1"/>
          <p:nvPr/>
        </p:nvSpPr>
        <p:spPr>
          <a:xfrm>
            <a:off x="2750856" y="2172958"/>
            <a:ext cx="1287212" cy="744819"/>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latin typeface="Calibri" panose="020F0502020204030204" pitchFamily="34" charset="0"/>
              </a:rPr>
              <a:t>1,500</a:t>
            </a:r>
          </a:p>
        </p:txBody>
      </p:sp>
      <p:sp>
        <p:nvSpPr>
          <p:cNvPr id="34" name="Textfeld 33"/>
          <p:cNvSpPr txBox="1"/>
          <p:nvPr/>
        </p:nvSpPr>
        <p:spPr>
          <a:xfrm>
            <a:off x="2725335" y="2774682"/>
            <a:ext cx="842590" cy="363113"/>
          </a:xfrm>
          <a:prstGeom prst="rect">
            <a:avLst/>
          </a:prstGeom>
          <a:noFill/>
        </p:spPr>
        <p:txBody>
          <a:bodyPr wrap="square" lIns="0" tIns="0" rIns="0" bIns="0" rtlCol="0">
            <a:spAutoFit/>
          </a:bodyPr>
          <a:lstStyle/>
          <a:p>
            <a:pPr>
              <a:lnSpc>
                <a:spcPct val="110000"/>
              </a:lnSpc>
              <a:spcAft>
                <a:spcPts val="500"/>
              </a:spcAft>
            </a:pPr>
            <a:r>
              <a:rPr lang="de-DE" sz="1100" b="1" dirty="0" err="1" smtClean="0">
                <a:latin typeface="Calibri" panose="020F0502020204030204" pitchFamily="34" charset="0"/>
              </a:rPr>
              <a:t>Employee</a:t>
            </a:r>
            <a:r>
              <a:rPr lang="de-DE" sz="1100" b="1" dirty="0" smtClean="0">
                <a:latin typeface="Calibri" panose="020F0502020204030204" pitchFamily="34" charset="0"/>
              </a:rPr>
              <a:t> </a:t>
            </a:r>
            <a:r>
              <a:rPr lang="de-DE" sz="1100" b="1" dirty="0" err="1" smtClean="0">
                <a:latin typeface="Calibri" panose="020F0502020204030204" pitchFamily="34" charset="0"/>
              </a:rPr>
              <a:t>volunteers</a:t>
            </a:r>
            <a:endParaRPr lang="de-DE" sz="1100" b="1" dirty="0" smtClean="0">
              <a:latin typeface="Calibri" panose="020F0502020204030204" pitchFamily="34" charset="0"/>
            </a:endParaRPr>
          </a:p>
        </p:txBody>
      </p:sp>
      <p:sp>
        <p:nvSpPr>
          <p:cNvPr id="35" name="Textfeld 34"/>
          <p:cNvSpPr txBox="1"/>
          <p:nvPr/>
        </p:nvSpPr>
        <p:spPr>
          <a:xfrm>
            <a:off x="4999305" y="2182055"/>
            <a:ext cx="1287212" cy="744819"/>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latin typeface="Calibri" panose="020F0502020204030204" pitchFamily="34" charset="0"/>
              </a:rPr>
              <a:t>1,000</a:t>
            </a:r>
          </a:p>
        </p:txBody>
      </p:sp>
      <p:sp>
        <p:nvSpPr>
          <p:cNvPr id="36" name="Textfeld 35"/>
          <p:cNvSpPr txBox="1"/>
          <p:nvPr/>
        </p:nvSpPr>
        <p:spPr>
          <a:xfrm>
            <a:off x="4999305" y="2761528"/>
            <a:ext cx="842590" cy="363113"/>
          </a:xfrm>
          <a:prstGeom prst="rect">
            <a:avLst/>
          </a:prstGeom>
          <a:noFill/>
        </p:spPr>
        <p:txBody>
          <a:bodyPr wrap="square" lIns="0" tIns="0" rIns="0" bIns="0" rtlCol="0">
            <a:spAutoFit/>
          </a:bodyPr>
          <a:lstStyle/>
          <a:p>
            <a:pPr>
              <a:lnSpc>
                <a:spcPct val="110000"/>
              </a:lnSpc>
              <a:spcAft>
                <a:spcPts val="500"/>
              </a:spcAft>
            </a:pPr>
            <a:r>
              <a:rPr lang="de-DE" sz="1100" b="1" dirty="0" err="1" smtClean="0">
                <a:latin typeface="Calibri" panose="020F0502020204030204" pitchFamily="34" charset="0"/>
              </a:rPr>
              <a:t>Employee</a:t>
            </a:r>
            <a:r>
              <a:rPr lang="de-DE" sz="1100" b="1" dirty="0" smtClean="0">
                <a:latin typeface="Calibri" panose="020F0502020204030204" pitchFamily="34" charset="0"/>
              </a:rPr>
              <a:t> </a:t>
            </a:r>
            <a:r>
              <a:rPr lang="de-DE" sz="1100" b="1" dirty="0" err="1" smtClean="0">
                <a:latin typeface="Calibri" panose="020F0502020204030204" pitchFamily="34" charset="0"/>
              </a:rPr>
              <a:t>volunteers</a:t>
            </a:r>
            <a:endParaRPr lang="de-DE" sz="1100" b="1" dirty="0" smtClean="0">
              <a:latin typeface="Calibri" panose="020F0502020204030204" pitchFamily="34" charset="0"/>
            </a:endParaRPr>
          </a:p>
        </p:txBody>
      </p:sp>
      <p:cxnSp>
        <p:nvCxnSpPr>
          <p:cNvPr id="37" name="Gerade Verbindung 36"/>
          <p:cNvCxnSpPr/>
          <p:nvPr/>
        </p:nvCxnSpPr>
        <p:spPr bwMode="auto">
          <a:xfrm flipV="1">
            <a:off x="4630592" y="3848646"/>
            <a:ext cx="2857487" cy="1"/>
          </a:xfrm>
          <a:prstGeom prst="line">
            <a:avLst/>
          </a:prstGeom>
          <a:solidFill>
            <a:schemeClr val="bg1"/>
          </a:solidFill>
          <a:ln w="9525" cap="flat" cmpd="sng" algn="ctr">
            <a:solidFill>
              <a:schemeClr val="bg1"/>
            </a:solidFill>
            <a:prstDash val="solid"/>
            <a:round/>
            <a:headEnd type="none" w="med" len="med"/>
            <a:tailEnd type="none"/>
          </a:ln>
          <a:effectLst/>
        </p:spPr>
      </p:cxnSp>
      <p:sp>
        <p:nvSpPr>
          <p:cNvPr id="38" name="Textfeld 37"/>
          <p:cNvSpPr txBox="1"/>
          <p:nvPr/>
        </p:nvSpPr>
        <p:spPr>
          <a:xfrm>
            <a:off x="2465522" y="3038700"/>
            <a:ext cx="1572546" cy="744819"/>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latin typeface="Calibri" panose="020F0502020204030204" pitchFamily="34" charset="0"/>
              </a:rPr>
              <a:t>15,400</a:t>
            </a:r>
          </a:p>
        </p:txBody>
      </p:sp>
      <p:sp>
        <p:nvSpPr>
          <p:cNvPr id="39" name="Textfeld 38"/>
          <p:cNvSpPr txBox="1"/>
          <p:nvPr/>
        </p:nvSpPr>
        <p:spPr>
          <a:xfrm>
            <a:off x="2413063" y="3624880"/>
            <a:ext cx="1301747" cy="186205"/>
          </a:xfrm>
          <a:prstGeom prst="rect">
            <a:avLst/>
          </a:prstGeom>
          <a:noFill/>
        </p:spPr>
        <p:txBody>
          <a:bodyPr wrap="square" lIns="0" tIns="0" rIns="0" bIns="0" rtlCol="0">
            <a:spAutoFit/>
          </a:bodyPr>
          <a:lstStyle/>
          <a:p>
            <a:pPr>
              <a:lnSpc>
                <a:spcPct val="110000"/>
              </a:lnSpc>
              <a:spcAft>
                <a:spcPts val="500"/>
              </a:spcAft>
            </a:pPr>
            <a:r>
              <a:rPr lang="de-DE" sz="1100" b="1" dirty="0" err="1" smtClean="0">
                <a:latin typeface="Calibri" panose="020F0502020204030204" pitchFamily="34" charset="0"/>
              </a:rPr>
              <a:t>Volunteer</a:t>
            </a:r>
            <a:r>
              <a:rPr lang="de-DE" sz="1100" b="1" dirty="0" smtClean="0">
                <a:latin typeface="Calibri" panose="020F0502020204030204" pitchFamily="34" charset="0"/>
              </a:rPr>
              <a:t> </a:t>
            </a:r>
            <a:r>
              <a:rPr lang="de-DE" sz="1100" b="1" dirty="0" err="1" smtClean="0">
                <a:latin typeface="Calibri" panose="020F0502020204030204" pitchFamily="34" charset="0"/>
              </a:rPr>
              <a:t>hours</a:t>
            </a:r>
            <a:endParaRPr lang="de-DE" sz="1100" b="1" dirty="0" smtClean="0">
              <a:latin typeface="Calibri" panose="020F0502020204030204" pitchFamily="34" charset="0"/>
            </a:endParaRPr>
          </a:p>
        </p:txBody>
      </p:sp>
      <p:sp>
        <p:nvSpPr>
          <p:cNvPr id="45" name="Textfeld 44"/>
          <p:cNvSpPr txBox="1"/>
          <p:nvPr/>
        </p:nvSpPr>
        <p:spPr>
          <a:xfrm>
            <a:off x="6426191" y="4442348"/>
            <a:ext cx="856004" cy="707566"/>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latin typeface="Calibri" panose="020F0502020204030204" pitchFamily="34" charset="0"/>
              </a:rPr>
              <a:t>305</a:t>
            </a:r>
          </a:p>
        </p:txBody>
      </p:sp>
      <p:sp>
        <p:nvSpPr>
          <p:cNvPr id="46" name="Textfeld 45"/>
          <p:cNvSpPr txBox="1"/>
          <p:nvPr/>
        </p:nvSpPr>
        <p:spPr>
          <a:xfrm>
            <a:off x="6426191" y="5014799"/>
            <a:ext cx="842590" cy="363113"/>
          </a:xfrm>
          <a:prstGeom prst="rect">
            <a:avLst/>
          </a:prstGeom>
          <a:noFill/>
        </p:spPr>
        <p:txBody>
          <a:bodyPr wrap="square" lIns="0" tIns="0" rIns="0" bIns="0" rtlCol="0">
            <a:spAutoFit/>
          </a:bodyPr>
          <a:lstStyle/>
          <a:p>
            <a:pPr>
              <a:lnSpc>
                <a:spcPct val="110000"/>
              </a:lnSpc>
              <a:spcAft>
                <a:spcPts val="500"/>
              </a:spcAft>
            </a:pPr>
            <a:r>
              <a:rPr lang="de-DE" sz="1100" b="1" dirty="0" err="1" smtClean="0">
                <a:latin typeface="Calibri" panose="020F0502020204030204" pitchFamily="34" charset="0"/>
              </a:rPr>
              <a:t>Partnership</a:t>
            </a:r>
            <a:r>
              <a:rPr lang="de-DE" sz="1100" b="1" dirty="0" smtClean="0">
                <a:latin typeface="Calibri" panose="020F0502020204030204" pitchFamily="34" charset="0"/>
              </a:rPr>
              <a:t> </a:t>
            </a:r>
            <a:r>
              <a:rPr lang="de-DE" sz="1100" b="1" dirty="0" err="1" smtClean="0">
                <a:latin typeface="Calibri" panose="020F0502020204030204" pitchFamily="34" charset="0"/>
              </a:rPr>
              <a:t>activities</a:t>
            </a:r>
            <a:endParaRPr lang="de-DE" sz="1100" b="1" dirty="0" smtClean="0">
              <a:latin typeface="Calibri" panose="020F0502020204030204" pitchFamily="34" charset="0"/>
            </a:endParaRPr>
          </a:p>
        </p:txBody>
      </p:sp>
      <p:sp>
        <p:nvSpPr>
          <p:cNvPr id="47" name="Textfeld 46"/>
          <p:cNvSpPr txBox="1"/>
          <p:nvPr/>
        </p:nvSpPr>
        <p:spPr>
          <a:xfrm>
            <a:off x="6426191" y="5220815"/>
            <a:ext cx="856004" cy="744819"/>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latin typeface="Calibri" panose="020F0502020204030204" pitchFamily="34" charset="0"/>
              </a:rPr>
              <a:t>273</a:t>
            </a:r>
          </a:p>
        </p:txBody>
      </p:sp>
      <p:sp>
        <p:nvSpPr>
          <p:cNvPr id="48" name="Textfeld 47"/>
          <p:cNvSpPr txBox="1"/>
          <p:nvPr/>
        </p:nvSpPr>
        <p:spPr>
          <a:xfrm>
            <a:off x="6426191" y="5769413"/>
            <a:ext cx="842590" cy="176908"/>
          </a:xfrm>
          <a:prstGeom prst="rect">
            <a:avLst/>
          </a:prstGeom>
          <a:noFill/>
        </p:spPr>
        <p:txBody>
          <a:bodyPr wrap="square" lIns="0" tIns="0" rIns="0" bIns="0" rtlCol="0">
            <a:spAutoFit/>
          </a:bodyPr>
          <a:lstStyle/>
          <a:p>
            <a:pPr>
              <a:lnSpc>
                <a:spcPct val="110000"/>
              </a:lnSpc>
              <a:spcAft>
                <a:spcPts val="500"/>
              </a:spcAft>
            </a:pPr>
            <a:r>
              <a:rPr lang="de-DE" sz="1100" b="1" dirty="0" err="1" smtClean="0">
                <a:latin typeface="Calibri" panose="020F0502020204030204" pitchFamily="34" charset="0"/>
              </a:rPr>
              <a:t>Activity</a:t>
            </a:r>
            <a:r>
              <a:rPr lang="de-DE" sz="1100" b="1" dirty="0" smtClean="0">
                <a:latin typeface="Calibri" panose="020F0502020204030204" pitchFamily="34" charset="0"/>
              </a:rPr>
              <a:t> </a:t>
            </a:r>
            <a:r>
              <a:rPr lang="de-DE" sz="1100" b="1" dirty="0" err="1" smtClean="0">
                <a:latin typeface="Calibri" panose="020F0502020204030204" pitchFamily="34" charset="0"/>
              </a:rPr>
              <a:t>days</a:t>
            </a:r>
            <a:endParaRPr lang="de-DE" sz="1100" b="1" dirty="0" smtClean="0">
              <a:latin typeface="Calibri" panose="020F0502020204030204" pitchFamily="34" charset="0"/>
            </a:endParaRPr>
          </a:p>
        </p:txBody>
      </p:sp>
      <p:sp>
        <p:nvSpPr>
          <p:cNvPr id="49" name="Textfeld 48"/>
          <p:cNvSpPr txBox="1"/>
          <p:nvPr/>
        </p:nvSpPr>
        <p:spPr>
          <a:xfrm>
            <a:off x="4713971" y="3038700"/>
            <a:ext cx="1287212" cy="707566"/>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latin typeface="Calibri" panose="020F0502020204030204" pitchFamily="34" charset="0"/>
              </a:rPr>
              <a:t>4,300</a:t>
            </a:r>
          </a:p>
        </p:txBody>
      </p:sp>
      <p:sp>
        <p:nvSpPr>
          <p:cNvPr id="50" name="Textfeld 49"/>
          <p:cNvSpPr txBox="1"/>
          <p:nvPr/>
        </p:nvSpPr>
        <p:spPr>
          <a:xfrm>
            <a:off x="4731243" y="3624880"/>
            <a:ext cx="1301747" cy="186205"/>
          </a:xfrm>
          <a:prstGeom prst="rect">
            <a:avLst/>
          </a:prstGeom>
          <a:noFill/>
        </p:spPr>
        <p:txBody>
          <a:bodyPr wrap="square" lIns="0" tIns="0" rIns="0" bIns="0" rtlCol="0">
            <a:spAutoFit/>
          </a:bodyPr>
          <a:lstStyle/>
          <a:p>
            <a:pPr>
              <a:lnSpc>
                <a:spcPct val="110000"/>
              </a:lnSpc>
              <a:spcAft>
                <a:spcPts val="500"/>
              </a:spcAft>
            </a:pPr>
            <a:r>
              <a:rPr lang="de-DE" sz="1100" b="1" dirty="0" err="1" smtClean="0">
                <a:latin typeface="Calibri" panose="020F0502020204030204" pitchFamily="34" charset="0"/>
              </a:rPr>
              <a:t>Volunteer</a:t>
            </a:r>
            <a:r>
              <a:rPr lang="de-DE" sz="1100" b="1" dirty="0" smtClean="0">
                <a:latin typeface="Calibri" panose="020F0502020204030204" pitchFamily="34" charset="0"/>
              </a:rPr>
              <a:t> </a:t>
            </a:r>
            <a:r>
              <a:rPr lang="de-DE" sz="1100" b="1" dirty="0" err="1" smtClean="0">
                <a:latin typeface="Calibri" panose="020F0502020204030204" pitchFamily="34" charset="0"/>
              </a:rPr>
              <a:t>hours</a:t>
            </a:r>
            <a:endParaRPr lang="de-DE" sz="1100" b="1" dirty="0" smtClean="0">
              <a:latin typeface="Calibri" panose="020F0502020204030204" pitchFamily="34" charset="0"/>
            </a:endParaRPr>
          </a:p>
        </p:txBody>
      </p:sp>
      <p:cxnSp>
        <p:nvCxnSpPr>
          <p:cNvPr id="52" name="Gerade Verbindung 51"/>
          <p:cNvCxnSpPr/>
          <p:nvPr/>
        </p:nvCxnSpPr>
        <p:spPr bwMode="auto">
          <a:xfrm flipV="1">
            <a:off x="4630592" y="4531726"/>
            <a:ext cx="2857487" cy="1"/>
          </a:xfrm>
          <a:prstGeom prst="line">
            <a:avLst/>
          </a:prstGeom>
          <a:solidFill>
            <a:schemeClr val="bg1"/>
          </a:solidFill>
          <a:ln w="9525" cap="flat" cmpd="sng" algn="ctr">
            <a:solidFill>
              <a:schemeClr val="bg1"/>
            </a:solidFill>
            <a:prstDash val="solid"/>
            <a:round/>
            <a:headEnd type="none" w="med" len="med"/>
            <a:tailEnd type="none"/>
          </a:ln>
          <a:effectLst/>
        </p:spPr>
      </p:cxnSp>
      <p:sp>
        <p:nvSpPr>
          <p:cNvPr id="53" name="Textfeld 52"/>
          <p:cNvSpPr txBox="1"/>
          <p:nvPr/>
        </p:nvSpPr>
        <p:spPr>
          <a:xfrm>
            <a:off x="4674690" y="3818055"/>
            <a:ext cx="1287212" cy="707566"/>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latin typeface="Calibri" panose="020F0502020204030204" pitchFamily="34" charset="0"/>
              </a:rPr>
              <a:t>7,900</a:t>
            </a:r>
          </a:p>
        </p:txBody>
      </p:sp>
      <p:sp>
        <p:nvSpPr>
          <p:cNvPr id="54" name="Textfeld 53"/>
          <p:cNvSpPr txBox="1"/>
          <p:nvPr/>
        </p:nvSpPr>
        <p:spPr>
          <a:xfrm>
            <a:off x="6011045" y="4031808"/>
            <a:ext cx="1053579" cy="363113"/>
          </a:xfrm>
          <a:prstGeom prst="rect">
            <a:avLst/>
          </a:prstGeom>
          <a:noFill/>
        </p:spPr>
        <p:txBody>
          <a:bodyPr wrap="square" lIns="0" tIns="0" rIns="0" bIns="0" rtlCol="0">
            <a:spAutoFit/>
          </a:bodyPr>
          <a:lstStyle/>
          <a:p>
            <a:pPr>
              <a:lnSpc>
                <a:spcPct val="110000"/>
              </a:lnSpc>
              <a:spcAft>
                <a:spcPts val="500"/>
              </a:spcAft>
            </a:pPr>
            <a:r>
              <a:rPr lang="de-DE" sz="1100" b="1" dirty="0" err="1" smtClean="0">
                <a:latin typeface="Calibri" panose="020F0502020204030204" pitchFamily="34" charset="0"/>
              </a:rPr>
              <a:t>Beneficiaries</a:t>
            </a:r>
            <a:r>
              <a:rPr lang="de-DE" sz="1100" b="1" dirty="0" smtClean="0">
                <a:latin typeface="Calibri" panose="020F0502020204030204" pitchFamily="34" charset="0"/>
              </a:rPr>
              <a:t> </a:t>
            </a:r>
            <a:r>
              <a:rPr lang="de-DE" sz="1100" b="1" dirty="0" err="1" smtClean="0">
                <a:latin typeface="Calibri" panose="020F0502020204030204" pitchFamily="34" charset="0"/>
              </a:rPr>
              <a:t>reached</a:t>
            </a:r>
            <a:endParaRPr lang="de-DE" sz="1100" b="1" dirty="0" smtClean="0">
              <a:latin typeface="Calibri" panose="020F0502020204030204" pitchFamily="34" charset="0"/>
            </a:endParaRPr>
          </a:p>
        </p:txBody>
      </p:sp>
      <p:sp>
        <p:nvSpPr>
          <p:cNvPr id="56" name="Text Placeholder 28"/>
          <p:cNvSpPr txBox="1">
            <a:spLocks/>
          </p:cNvSpPr>
          <p:nvPr/>
        </p:nvSpPr>
        <p:spPr>
          <a:xfrm>
            <a:off x="414675" y="1242851"/>
            <a:ext cx="8315325" cy="549267"/>
          </a:xfrm>
          <a:prstGeom prst="rect">
            <a:avLst/>
          </a:prstGeom>
        </p:spPr>
        <p:txBody>
          <a:bodyPr vert="horz" lIns="0" tIns="0" rIns="0" bIns="0" rtlCol="0">
            <a:noAutofit/>
          </a:bodyPr>
          <a:lstStyle>
            <a:lvl1pPr marL="0" marR="0" indent="0" algn="l" defTabSz="914400" rtl="0" eaLnBrk="1" fontAlgn="auto" latinLnBrk="0" hangingPunct="1">
              <a:lnSpc>
                <a:spcPct val="110000"/>
              </a:lnSpc>
              <a:spcBef>
                <a:spcPts val="0"/>
              </a:spcBef>
              <a:spcAft>
                <a:spcPts val="500"/>
              </a:spcAft>
              <a:buClrTx/>
              <a:buSzTx/>
              <a:buFont typeface="Arial" pitchFamily="34" charset="0"/>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vl2pPr marL="180000" marR="0" indent="-180000" algn="l" defTabSz="914400" rtl="0" eaLnBrk="1" fontAlgn="auto" latinLnBrk="0" hangingPunct="1">
              <a:lnSpc>
                <a:spcPct val="110000"/>
              </a:lnSpc>
              <a:spcBef>
                <a:spcPts val="0"/>
              </a:spcBef>
              <a:spcAft>
                <a:spcPts val="500"/>
              </a:spcAft>
              <a:buClrTx/>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2pPr>
            <a:lvl3pPr marL="36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3pPr>
            <a:lvl4pPr marL="540000" marR="0" indent="-180000" algn="l" defTabSz="914400" rtl="0" eaLnBrk="1" fontAlgn="auto" latinLnBrk="0" hangingPunct="1">
              <a:lnSpc>
                <a:spcPct val="110000"/>
              </a:lnSpc>
              <a:spcBef>
                <a:spcPts val="0"/>
              </a:spcBef>
              <a:spcAft>
                <a:spcPts val="500"/>
              </a:spcAft>
              <a:buClr>
                <a:schemeClr val="tx1"/>
              </a:buClr>
              <a:buSzTx/>
              <a:buFont typeface="Arial" pitchFamily="34" charset="0"/>
              <a:buChar char="–"/>
              <a:tabLst/>
              <a:defRPr kumimoji="0" lang="de-DE" sz="1400" b="0" i="0" u="none" strike="noStrike" kern="1200" cap="none" spc="0" normalizeH="0" baseline="0" noProof="0">
                <a:ln>
                  <a:noFill/>
                </a:ln>
                <a:solidFill>
                  <a:schemeClr val="tx1"/>
                </a:solidFill>
                <a:effectLst/>
                <a:uLnTx/>
                <a:uFillTx/>
                <a:latin typeface="+mn-lt"/>
                <a:ea typeface="+mn-ea"/>
                <a:cs typeface="+mn-cs"/>
              </a:defRPr>
            </a:lvl4pPr>
            <a:lvl5pPr marL="0" marR="0" indent="0" algn="l" defTabSz="914400" rtl="0" eaLnBrk="1" fontAlgn="auto" latinLnBrk="0" hangingPunct="1">
              <a:lnSpc>
                <a:spcPct val="100000"/>
              </a:lnSpc>
              <a:spcBef>
                <a:spcPts val="0"/>
              </a:spcBef>
              <a:spcAft>
                <a:spcPts val="1400"/>
              </a:spcAft>
              <a:buClr>
                <a:schemeClr val="tx1"/>
              </a:buClr>
              <a:buSzTx/>
              <a:buFontTx/>
              <a:buNone/>
              <a:tabLst/>
              <a:defRPr kumimoji="0" lang="en-US" sz="1800" b="1" i="0" u="none" strike="noStrike" kern="1200" cap="none" spc="0" normalizeH="0" baseline="0" noProof="0">
                <a:ln>
                  <a:noFill/>
                </a:ln>
                <a:solidFill>
                  <a:schemeClr val="tx1"/>
                </a:solidFill>
                <a:effectLst/>
                <a:uLnTx/>
                <a:uFillTx/>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4">
              <a:lnSpc>
                <a:spcPct val="110000"/>
              </a:lnSpc>
              <a:spcAft>
                <a:spcPts val="500"/>
              </a:spcAft>
            </a:pPr>
            <a:r>
              <a:rPr lang="en-US" sz="1600" dirty="0">
                <a:latin typeface="+mj-lt"/>
              </a:rPr>
              <a:t>During 2018 the program reached out </a:t>
            </a:r>
            <a:r>
              <a:rPr lang="en-US" sz="1600" dirty="0" smtClean="0">
                <a:latin typeface="+mj-lt"/>
              </a:rPr>
              <a:t>to around </a:t>
            </a:r>
            <a:r>
              <a:rPr lang="en-US" sz="1600" dirty="0">
                <a:latin typeface="+mj-lt"/>
              </a:rPr>
              <a:t>10,000 participants </a:t>
            </a:r>
            <a:r>
              <a:rPr lang="en-US" sz="1600" dirty="0" smtClean="0">
                <a:latin typeface="+mj-lt"/>
              </a:rPr>
              <a:t>supported </a:t>
            </a:r>
            <a:r>
              <a:rPr lang="en-US" sz="1600" dirty="0">
                <a:latin typeface="+mj-lt"/>
              </a:rPr>
              <a:t>by 2,500 volunteers</a:t>
            </a:r>
          </a:p>
        </p:txBody>
      </p:sp>
      <p:sp>
        <p:nvSpPr>
          <p:cNvPr id="57" name="Textfeld 56"/>
          <p:cNvSpPr txBox="1"/>
          <p:nvPr/>
        </p:nvSpPr>
        <p:spPr>
          <a:xfrm>
            <a:off x="3039802" y="5594574"/>
            <a:ext cx="1021411" cy="176908"/>
          </a:xfrm>
          <a:prstGeom prst="rect">
            <a:avLst/>
          </a:prstGeom>
          <a:noFill/>
        </p:spPr>
        <p:txBody>
          <a:bodyPr wrap="square" lIns="0" tIns="0" rIns="0" bIns="0" rtlCol="0">
            <a:spAutoFit/>
          </a:bodyPr>
          <a:lstStyle/>
          <a:p>
            <a:pPr>
              <a:lnSpc>
                <a:spcPct val="110000"/>
              </a:lnSpc>
              <a:spcAft>
                <a:spcPts val="500"/>
              </a:spcAft>
            </a:pPr>
            <a:r>
              <a:rPr lang="de-DE" sz="1100" b="1" dirty="0" smtClean="0">
                <a:latin typeface="Calibri" panose="020F0502020204030204" pitchFamily="34" charset="0"/>
              </a:rPr>
              <a:t>Global </a:t>
            </a:r>
            <a:r>
              <a:rPr lang="de-DE" sz="1100" b="1" dirty="0" err="1" smtClean="0">
                <a:latin typeface="Calibri" panose="020F0502020204030204" pitchFamily="34" charset="0"/>
              </a:rPr>
              <a:t>platform</a:t>
            </a:r>
            <a:endParaRPr lang="de-DE" sz="1100" b="1" dirty="0" smtClean="0">
              <a:latin typeface="Calibri" panose="020F0502020204030204" pitchFamily="34" charset="0"/>
            </a:endParaRPr>
          </a:p>
        </p:txBody>
      </p:sp>
      <p:sp>
        <p:nvSpPr>
          <p:cNvPr id="44" name="Textfeld 43"/>
          <p:cNvSpPr txBox="1"/>
          <p:nvPr/>
        </p:nvSpPr>
        <p:spPr>
          <a:xfrm>
            <a:off x="3182064" y="3933226"/>
            <a:ext cx="856004" cy="707566"/>
          </a:xfrm>
          <a:prstGeom prst="rect">
            <a:avLst/>
          </a:prstGeom>
          <a:noFill/>
        </p:spPr>
        <p:txBody>
          <a:bodyPr wrap="none" lIns="0" tIns="0" rIns="0" bIns="0" rtlCol="0">
            <a:spAutoFit/>
          </a:bodyPr>
          <a:lstStyle/>
          <a:p>
            <a:pPr>
              <a:lnSpc>
                <a:spcPct val="110000"/>
              </a:lnSpc>
              <a:spcAft>
                <a:spcPts val="500"/>
              </a:spcAft>
            </a:pPr>
            <a:r>
              <a:rPr lang="de-DE" sz="4400" b="1" dirty="0" smtClean="0">
                <a:solidFill>
                  <a:schemeClr val="accent4"/>
                </a:solidFill>
                <a:latin typeface="Calibri" panose="020F0502020204030204" pitchFamily="34" charset="0"/>
              </a:rPr>
              <a:t>118</a:t>
            </a:r>
          </a:p>
        </p:txBody>
      </p:sp>
      <p:sp>
        <p:nvSpPr>
          <p:cNvPr id="51" name="Textfeld 50"/>
          <p:cNvSpPr txBox="1"/>
          <p:nvPr/>
        </p:nvSpPr>
        <p:spPr>
          <a:xfrm>
            <a:off x="2787325" y="4537481"/>
            <a:ext cx="1421864" cy="186205"/>
          </a:xfrm>
          <a:prstGeom prst="rect">
            <a:avLst/>
          </a:prstGeom>
          <a:noFill/>
        </p:spPr>
        <p:txBody>
          <a:bodyPr wrap="square" lIns="0" tIns="0" rIns="0" bIns="0" rtlCol="0">
            <a:spAutoFit/>
          </a:bodyPr>
          <a:lstStyle/>
          <a:p>
            <a:pPr>
              <a:lnSpc>
                <a:spcPct val="110000"/>
              </a:lnSpc>
              <a:spcAft>
                <a:spcPts val="500"/>
              </a:spcAft>
            </a:pPr>
            <a:r>
              <a:rPr lang="de-DE" sz="1100" b="1" dirty="0" err="1" smtClean="0">
                <a:latin typeface="Calibri" panose="020F0502020204030204" pitchFamily="34" charset="0"/>
              </a:rPr>
              <a:t>Internships</a:t>
            </a:r>
            <a:r>
              <a:rPr lang="de-DE" sz="1100" b="1" dirty="0" smtClean="0">
                <a:latin typeface="Calibri" panose="020F0502020204030204" pitchFamily="34" charset="0"/>
              </a:rPr>
              <a:t> </a:t>
            </a:r>
            <a:r>
              <a:rPr lang="de-DE" sz="1100" b="1" dirty="0" err="1" smtClean="0">
                <a:latin typeface="Calibri" panose="020F0502020204030204" pitchFamily="34" charset="0"/>
              </a:rPr>
              <a:t>completed</a:t>
            </a:r>
            <a:endParaRPr lang="de-DE" sz="1100" b="1" dirty="0" smtClean="0">
              <a:latin typeface="Calibri" panose="020F0502020204030204" pitchFamily="34" charset="0"/>
            </a:endParaRPr>
          </a:p>
        </p:txBody>
      </p:sp>
      <p:sp>
        <p:nvSpPr>
          <p:cNvPr id="9" name="Textfeld 8"/>
          <p:cNvSpPr txBox="1"/>
          <p:nvPr>
            <p:custDataLst>
              <p:tags r:id="rId1"/>
            </p:custDataLst>
          </p:nvPr>
        </p:nvSpPr>
        <p:spPr>
          <a:xfrm>
            <a:off x="1189460" y="1900175"/>
            <a:ext cx="2282504" cy="518646"/>
          </a:xfrm>
          <a:prstGeom prst="rect">
            <a:avLst/>
          </a:prstGeom>
          <a:noFill/>
          <a:ln w="38100">
            <a:noFill/>
            <a:prstDash val="solid"/>
          </a:ln>
          <a:effectLst/>
        </p:spPr>
        <p:txBody>
          <a:bodyPr wrap="square" lIns="0" tIns="0" rIns="0" bIns="0" anchor="ctr" anchorCtr="0">
            <a:noAutofit/>
          </a:bodyPr>
          <a:lstStyle>
            <a:defPPr>
              <a:defRPr lang="de-DE"/>
            </a:defPPr>
            <a:lvl1pPr>
              <a:lnSpc>
                <a:spcPct val="110000"/>
              </a:lnSpc>
              <a:spcAft>
                <a:spcPts val="300"/>
              </a:spcAft>
              <a:defRPr sz="1600" b="1"/>
            </a:lvl1pPr>
          </a:lstStyle>
          <a:p>
            <a:r>
              <a:rPr lang="de-DE" sz="1200" dirty="0" smtClean="0"/>
              <a:t>SOS </a:t>
            </a:r>
            <a:r>
              <a:rPr lang="de-DE" sz="1200" dirty="0" err="1" smtClean="0"/>
              <a:t>Children‘s</a:t>
            </a:r>
            <a:r>
              <a:rPr lang="de-DE" sz="1200" dirty="0" smtClean="0"/>
              <a:t> </a:t>
            </a:r>
            <a:r>
              <a:rPr lang="de-DE" sz="1200" dirty="0" err="1" smtClean="0"/>
              <a:t>Villages</a:t>
            </a:r>
            <a:endParaRPr lang="de-DE" sz="1200" dirty="0">
              <a:solidFill>
                <a:srgbClr val="000000"/>
              </a:solidFill>
            </a:endParaRPr>
          </a:p>
        </p:txBody>
      </p:sp>
      <p:sp>
        <p:nvSpPr>
          <p:cNvPr id="10" name="Textfeld 9"/>
          <p:cNvSpPr txBox="1"/>
          <p:nvPr/>
        </p:nvSpPr>
        <p:spPr>
          <a:xfrm>
            <a:off x="4583738" y="2042598"/>
            <a:ext cx="3543317" cy="219429"/>
          </a:xfrm>
          <a:prstGeom prst="rect">
            <a:avLst/>
          </a:prstGeom>
          <a:noFill/>
          <a:ln w="38100">
            <a:noFill/>
            <a:prstDash val="solid"/>
          </a:ln>
          <a:effectLst/>
        </p:spPr>
        <p:txBody>
          <a:bodyPr wrap="square" lIns="0" tIns="0" rIns="0" bIns="0" anchor="ctr" anchorCtr="0">
            <a:noAutofit/>
          </a:bodyPr>
          <a:lstStyle>
            <a:defPPr>
              <a:defRPr lang="de-DE"/>
            </a:defPPr>
            <a:lvl1pPr>
              <a:lnSpc>
                <a:spcPct val="110000"/>
              </a:lnSpc>
              <a:spcAft>
                <a:spcPts val="300"/>
              </a:spcAft>
              <a:defRPr sz="1600" b="1"/>
            </a:lvl1pPr>
          </a:lstStyle>
          <a:p>
            <a:pPr lvl="0">
              <a:spcAft>
                <a:spcPts val="500"/>
              </a:spcAft>
            </a:pPr>
            <a:r>
              <a:rPr lang="de-DE" sz="1200" dirty="0" err="1" smtClean="0"/>
              <a:t>Teach</a:t>
            </a:r>
            <a:r>
              <a:rPr lang="de-DE" sz="1200" dirty="0" smtClean="0"/>
              <a:t> </a:t>
            </a:r>
            <a:r>
              <a:rPr lang="de-DE" sz="1200" dirty="0" err="1" smtClean="0"/>
              <a:t>For</a:t>
            </a:r>
            <a:r>
              <a:rPr lang="de-DE" sz="1200" dirty="0" smtClean="0"/>
              <a:t> All</a:t>
            </a:r>
            <a:endParaRPr lang="de-DE" sz="1200" dirty="0">
              <a:solidFill>
                <a:srgbClr val="000000"/>
              </a:solidFill>
            </a:endParaRPr>
          </a:p>
        </p:txBody>
      </p:sp>
      <p:pic>
        <p:nvPicPr>
          <p:cNvPr id="7" name="Grafik 6"/>
          <p:cNvPicPr>
            <a:picLocks noChangeAspect="1"/>
          </p:cNvPicPr>
          <p:nvPr/>
        </p:nvPicPr>
        <p:blipFill>
          <a:blip r:embed="rId7"/>
          <a:stretch>
            <a:fillRect/>
          </a:stretch>
        </p:blipFill>
        <p:spPr>
          <a:xfrm>
            <a:off x="3030665" y="5106022"/>
            <a:ext cx="882597" cy="378256"/>
          </a:xfrm>
          <a:prstGeom prst="rect">
            <a:avLst/>
          </a:prstGeom>
        </p:spPr>
      </p:pic>
    </p:spTree>
    <p:extLst>
      <p:ext uri="{BB962C8B-B14F-4D97-AF65-F5344CB8AC3E}">
        <p14:creationId xmlns:p14="http://schemas.microsoft.com/office/powerpoint/2010/main" val="12402354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platzhalter 7"/>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5639" r="5639"/>
          <a:stretch>
            <a:fillRect/>
          </a:stretch>
        </p:blipFill>
        <p:spPr bwMode="hidden">
          <a:prstGeom prst="rect">
            <a:avLst/>
          </a:prstGeom>
          <a:solidFill>
            <a:schemeClr val="tx2"/>
          </a:solidFill>
        </p:spPr>
      </p:pic>
      <p:sp>
        <p:nvSpPr>
          <p:cNvPr id="3" name="Textplatzhalter 2"/>
          <p:cNvSpPr>
            <a:spLocks noGrp="1"/>
          </p:cNvSpPr>
          <p:nvPr>
            <p:ph type="body" sz="quarter" idx="11"/>
          </p:nvPr>
        </p:nvSpPr>
        <p:spPr>
          <a:xfrm>
            <a:off x="414000" y="3955913"/>
            <a:ext cx="5443103" cy="2300425"/>
          </a:xfrm>
        </p:spPr>
        <p:txBody>
          <a:bodyPr/>
          <a:lstStyle/>
          <a:p>
            <a:r>
              <a:rPr lang="en-US" sz="2000" dirty="0" smtClean="0"/>
              <a:t>“Get involved</a:t>
            </a:r>
            <a:r>
              <a:rPr lang="en-US" sz="2000" dirty="0"/>
              <a:t>. You can help us to reach more children and young people. You can start today, by joining existing activities or developing new ones</a:t>
            </a:r>
            <a:r>
              <a:rPr lang="en-US" sz="2000" dirty="0" smtClean="0"/>
              <a:t>.”</a:t>
            </a:r>
            <a:r>
              <a:rPr lang="en-US" sz="2000" dirty="0"/>
              <a:t> – </a:t>
            </a:r>
            <a:r>
              <a:rPr lang="en-US" sz="2000" dirty="0" smtClean="0"/>
              <a:t>Ralf Dürrwang, Bonn</a:t>
            </a:r>
            <a:endParaRPr lang="en-US" sz="2000" dirty="0"/>
          </a:p>
        </p:txBody>
      </p:sp>
      <p:sp>
        <p:nvSpPr>
          <p:cNvPr id="4" name="Textplatzhalter 3"/>
          <p:cNvSpPr>
            <a:spLocks noGrp="1"/>
          </p:cNvSpPr>
          <p:nvPr>
            <p:ph type="body" sz="quarter" idx="19"/>
          </p:nvPr>
        </p:nvSpPr>
        <p:spPr/>
        <p:txBody>
          <a:bodyPr/>
          <a:lstStyle/>
          <a:p>
            <a:endParaRPr lang="de-DE"/>
          </a:p>
        </p:txBody>
      </p:sp>
      <p:sp>
        <p:nvSpPr>
          <p:cNvPr id="6" name="Titel 2"/>
          <p:cNvSpPr txBox="1">
            <a:spLocks/>
          </p:cNvSpPr>
          <p:nvPr/>
        </p:nvSpPr>
        <p:spPr>
          <a:xfrm>
            <a:off x="479902" y="419039"/>
            <a:ext cx="8316000" cy="617538"/>
          </a:xfrm>
          <a:prstGeom prst="rect">
            <a:avLst/>
          </a:prstGeom>
        </p:spPr>
        <p:txBody>
          <a:bodyPr/>
          <a:lstStyle>
            <a:lvl1pPr algn="l" defTabSz="914400" rtl="0" eaLnBrk="1" latinLnBrk="0" hangingPunct="1">
              <a:lnSpc>
                <a:spcPct val="100000"/>
              </a:lnSpc>
              <a:spcBef>
                <a:spcPct val="0"/>
              </a:spcBef>
              <a:buNone/>
              <a:defRPr sz="2000" kern="1200" cap="none" normalizeH="0" baseline="0">
                <a:solidFill>
                  <a:schemeClr val="tx1"/>
                </a:solidFill>
                <a:latin typeface="+mj-lt"/>
                <a:ea typeface="+mj-ea"/>
                <a:cs typeface="+mj-cs"/>
                <a:sym typeface="Delivery" panose="020F0503020204020204" pitchFamily="34" charset="0"/>
              </a:defRPr>
            </a:lvl1pPr>
          </a:lstStyle>
          <a:p>
            <a:r>
              <a:rPr lang="de-DE" sz="3600" dirty="0" err="1" smtClean="0"/>
              <a:t>Thank</a:t>
            </a:r>
            <a:r>
              <a:rPr lang="de-DE" sz="3600" dirty="0" smtClean="0"/>
              <a:t> </a:t>
            </a:r>
            <a:r>
              <a:rPr lang="de-DE" sz="3600" dirty="0" err="1" smtClean="0"/>
              <a:t>you</a:t>
            </a:r>
            <a:r>
              <a:rPr lang="de-DE" sz="3600" dirty="0" smtClean="0"/>
              <a:t> for </a:t>
            </a:r>
            <a:r>
              <a:rPr lang="de-DE" sz="3600" dirty="0" err="1" smtClean="0"/>
              <a:t>your</a:t>
            </a:r>
            <a:r>
              <a:rPr lang="de-DE" sz="3600" dirty="0" smtClean="0"/>
              <a:t> </a:t>
            </a:r>
            <a:r>
              <a:rPr lang="de-DE" sz="3600" dirty="0" err="1" smtClean="0"/>
              <a:t>contribution</a:t>
            </a:r>
            <a:endParaRPr lang="de-DE" sz="3600" dirty="0"/>
          </a:p>
        </p:txBody>
      </p:sp>
    </p:spTree>
    <p:extLst>
      <p:ext uri="{BB962C8B-B14F-4D97-AF65-F5344CB8AC3E}">
        <p14:creationId xmlns:p14="http://schemas.microsoft.com/office/powerpoint/2010/main" val="12134689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A0xBe_PQMNSW22emsHr4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kHWuaPjaV.gQ9Nt28Te_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5FXVbsY1Y6vGdyTFCgof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ToA.4Kpj1roTX_Pawhp3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3IYIy7f1ZleBsV0muH9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V1aKp.vpM7D9Sz93bTL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YT59_MBBNXHr.Z06YSRT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Dq0QIy50f0fpBzVgnhKz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gBOq1FdCtnAgcFG9pMd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6Ad_sIpMZB2MPj2Zguv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jXxF4ZoUBlC7vHIifkR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EFR8tiHlSuBGwWBaaF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JsuQBnVV2u3fKmD4P7r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action_title"/>
</p:tagLst>
</file>

<file path=ppt/tags/tag42.xml><?xml version="1.0" encoding="utf-8"?>
<p:tagLst xmlns:a="http://schemas.openxmlformats.org/drawingml/2006/main" xmlns:r="http://schemas.openxmlformats.org/officeDocument/2006/relationships" xmlns:p="http://schemas.openxmlformats.org/presentationml/2006/main">
  <p:tag name="NAME" val="action_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FPSF56so0SOrimF_t740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FPSF56so0SOrimF_t740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FPSF56so0SOrimF_t740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FPSF56so0SOrimF_t740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5yeIjGpP0mwy3mbvSv7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FPSF56so0SOrimF_t740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KztP6.KP0SdsjLbQsu9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zlZFHrcDiEMB6EsNA_uR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vjLaJQehkixA8HIRRXlp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00b8uJDnkqKMRH8QUkr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6fOtmgzJUioHJ3Hxgkw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w63wBszvEuVHlLMnAa_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f0HAK4GukGuVlijIyRE3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vtucA2E30aJFj4IIN6_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55yeIjGpP0mwy3mbvSv7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h41lFnABBn57yg7gh1h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LsrwX1ApJrCkiHGboBgUA"/>
</p:tagLst>
</file>

<file path=ppt/theme/theme1.xml><?xml version="1.0" encoding="utf-8"?>
<a:theme xmlns:a="http://schemas.openxmlformats.org/drawingml/2006/main" name="DPDHL-Group_PPT_4x3_ADDITIONAL_LOGO">
  <a:themeElements>
    <a:clrScheme name="hyperlinks">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Larissa Klassisch 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cap="flat" cmpd="sng" algn="ctr">
          <a:noFill/>
          <a:prstDash val="solid"/>
          <a:round/>
          <a:headEnd type="none" w="med" len="med"/>
          <a:tailEnd type="none" w="med" len="med"/>
        </a:ln>
        <a:effectLst/>
      </a:spPr>
      <a:bodyPr vert="horz" wrap="square" lIns="72000" tIns="36000" rIns="36000" bIns="36000" numCol="1" rtlCol="0" anchor="t" anchorCtr="0" compatLnSpc="1">
        <a:prstTxWarp prst="textNoShape">
          <a:avLst/>
        </a:prstTxWarp>
      </a:bodyPr>
      <a:lstStyle>
        <a:defPPr marL="0" marR="0" indent="0" algn="l" defTabSz="995363"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defRPr>
        </a:defPPr>
      </a:lstStyle>
    </a:spDef>
    <a:lnDef>
      <a:spPr bwMode="auto">
        <a:solidFill>
          <a:schemeClr val="bg1"/>
        </a:solidFill>
        <a:ln w="12700" cap="flat" cmpd="sng" algn="ctr">
          <a:solidFill>
            <a:schemeClr val="accent2"/>
          </a:solidFill>
          <a:prstDash val="solid"/>
          <a:round/>
          <a:headEnd type="none" w="med" len="med"/>
          <a:tailEnd type="none"/>
        </a:ln>
        <a:effectLst/>
      </a:spPr>
      <a:bodyPr/>
      <a:lstStyle/>
    </a:lnDef>
    <a:txDef>
      <a:spPr>
        <a:noFill/>
      </a:spPr>
      <a:bodyPr wrap="square" lIns="0" tIns="0" rIns="0" bIns="0" rtlCol="0">
        <a:spAutoFit/>
      </a:bodyPr>
      <a:lstStyle>
        <a:defPPr>
          <a:lnSpc>
            <a:spcPct val="110000"/>
          </a:lnSpc>
          <a:spcAft>
            <a:spcPts val="500"/>
          </a:spcAft>
          <a:defRPr sz="1400" dirty="0" err="1" smtClean="0"/>
        </a:defPPr>
      </a:lstStyle>
    </a:txDef>
  </a:objectDefaults>
  <a:extraClrSchemeLst>
    <a:extraClrScheme>
      <a:clrScheme name="DPDHL_2010_color_schem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custClrLst>
    <a:custClr name="100% Postyellow">
      <a:srgbClr val="FFCC00"/>
    </a:custClr>
    <a:custClr name="70% Postyellow">
      <a:srgbClr val="FFDB4C"/>
    </a:custClr>
    <a:custClr name="45% Postyellow">
      <a:srgbClr val="FFE88C"/>
    </a:custClr>
    <a:custClr name="20% Postyellow">
      <a:srgbClr val="FFF5CC"/>
    </a:custClr>
    <a:custClr name="None">
      <a:srgbClr val="FFFFFF"/>
    </a:custClr>
    <a:custClr name="DHL Red">
      <a:srgbClr val="D40511"/>
    </a:custClr>
    <a:custClr name="None">
      <a:srgbClr val="FFFFFF"/>
    </a:custClr>
    <a:custClr name="None">
      <a:srgbClr val="FFFFFF"/>
    </a:custClr>
    <a:custClr name="None">
      <a:srgbClr val="FFFFFF"/>
    </a:custClr>
    <a:custClr name="None">
      <a:srgbClr val="FFFFFF"/>
    </a:custClr>
    <a:custClr name="Black">
      <a:srgbClr val="000000"/>
    </a:custClr>
    <a:custClr name="60% Black">
      <a:srgbClr val="666666"/>
    </a:custClr>
    <a:custClr name="40% Black">
      <a:srgbClr val="999999"/>
    </a:custClr>
    <a:custClr name="25% Black">
      <a:srgbClr val="BFBFBF"/>
    </a:custClr>
    <a:custClr name="8% Black">
      <a:srgbClr val="E4E4E4"/>
    </a:custClr>
    <a:custClr name="None">
      <a:srgbClr val="FFFFFF"/>
    </a:custClr>
    <a:custClr name="None">
      <a:srgbClr val="FFFFFF"/>
    </a:custClr>
    <a:custClr name="None">
      <a:srgbClr val="FFFFFF"/>
    </a:custClr>
    <a:custClr name="None">
      <a:srgbClr val="FFFFFF"/>
    </a:custClr>
    <a:custClr name="None">
      <a:srgbClr val="FFFFFF"/>
    </a:custClr>
  </a:custClrLst>
  <a:extLst>
    <a:ext uri="{05A4C25C-085E-4340-85A3-A5531E510DB2}">
      <thm15:themeFamily xmlns:thm15="http://schemas.microsoft.com/office/thememl/2012/main" name="DPDHL-Group_PPT_4x3_ADDITIONAL_LOGO - OK.potx" id="{FD3B7B4C-CE4B-495E-B545-B51B79FEBE4F}" vid="{345CBB91-DF70-4545-A146-26D7152815FE}"/>
    </a:ext>
  </a:extLst>
</a:theme>
</file>

<file path=ppt/theme/theme2.xml><?xml version="1.0" encoding="utf-8"?>
<a:theme xmlns:a="http://schemas.openxmlformats.org/drawingml/2006/main" name="Larissa-Design">
  <a:themeElements>
    <a:clrScheme name="DPDHL_Templat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FFCC00"/>
      </a:hlink>
      <a:folHlink>
        <a:srgbClr val="D40511"/>
      </a:folHlink>
    </a:clrScheme>
    <a:fontScheme name="DPDHL PowerPoint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DPDHL_Templat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FFCC00"/>
      </a:hlink>
      <a:folHlink>
        <a:srgbClr val="D40511"/>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EA3A74C190D454C81F92E76C7D8D372" ma:contentTypeVersion="0" ma:contentTypeDescription="Create a new document." ma:contentTypeScope="" ma:versionID="930f5aceb026e35a7067895e4c70a51d">
  <xsd:schema xmlns:xsd="http://www.w3.org/2001/XMLSchema" xmlns:xs="http://www.w3.org/2001/XMLSchema" xmlns:p="http://schemas.microsoft.com/office/2006/metadata/properties" targetNamespace="http://schemas.microsoft.com/office/2006/metadata/properties" ma:root="true" ma:fieldsID="8347021d0cdebb7d507b31a7821015e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B23A431-5F9B-4340-8689-FA15CF615FA7}"/>
</file>

<file path=customXml/itemProps2.xml><?xml version="1.0" encoding="utf-8"?>
<ds:datastoreItem xmlns:ds="http://schemas.openxmlformats.org/officeDocument/2006/customXml" ds:itemID="{DFB2813C-C321-400E-BE56-17803027CA19}"/>
</file>

<file path=customXml/itemProps3.xml><?xml version="1.0" encoding="utf-8"?>
<ds:datastoreItem xmlns:ds="http://schemas.openxmlformats.org/officeDocument/2006/customXml" ds:itemID="{5399EF68-627C-499D-8473-8C61AF5FEF03}"/>
</file>

<file path=docProps/app.xml><?xml version="1.0" encoding="utf-8"?>
<Properties xmlns="http://schemas.openxmlformats.org/officeDocument/2006/extended-properties" xmlns:vt="http://schemas.openxmlformats.org/officeDocument/2006/docPropsVTypes">
  <Template>DPDHL-Group_PPT_4x3_ADDITIONAL_LOGO</Template>
  <TotalTime>0</TotalTime>
  <Words>1505</Words>
  <Application>Microsoft Office PowerPoint</Application>
  <PresentationFormat>Bildschirmpräsentation (4:3)</PresentationFormat>
  <Paragraphs>175</Paragraphs>
  <Slides>14</Slides>
  <Notes>3</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2</vt:i4>
      </vt:variant>
      <vt:variant>
        <vt:lpstr>Folientitel</vt:lpstr>
      </vt:variant>
      <vt:variant>
        <vt:i4>14</vt:i4>
      </vt:variant>
    </vt:vector>
  </HeadingPairs>
  <TitlesOfParts>
    <vt:vector size="22" baseType="lpstr">
      <vt:lpstr>Delivery</vt:lpstr>
      <vt:lpstr>Calibri</vt:lpstr>
      <vt:lpstr>Symbol</vt:lpstr>
      <vt:lpstr>Arial</vt:lpstr>
      <vt:lpstr>Wingdings</vt:lpstr>
      <vt:lpstr>DPDHL-Group_PPT_4x3_ADDITIONAL_LOGO</vt:lpstr>
      <vt:lpstr>think-cell Folie</vt:lpstr>
      <vt:lpstr>think-cell Slide</vt:lpstr>
      <vt:lpstr>GoTeach</vt:lpstr>
      <vt:lpstr>PowerPoint-Präsentation</vt:lpstr>
      <vt:lpstr>GoTeach – The Challenge</vt:lpstr>
      <vt:lpstr>PowerPoint-Präsentation</vt:lpstr>
      <vt:lpstr>GoTeach – Footprint</vt:lpstr>
      <vt:lpstr>GoTeach – Partnership Activities</vt:lpstr>
      <vt:lpstr>Encounters with the world of work are a powerful motivator</vt:lpstr>
      <vt:lpstr>SOS and TFAll Partnerships in figures</vt:lpstr>
      <vt:lpstr>PowerPoint-Präsentation</vt:lpstr>
      <vt:lpstr>PowerPoint-Präsentation</vt:lpstr>
      <vt:lpstr>Our partners</vt:lpstr>
      <vt:lpstr>Menu of Activities (1/2)</vt:lpstr>
      <vt:lpstr>Menu of Activities (2/2)</vt:lpstr>
      <vt:lpstr>Global GoTeach Team</vt:lpstr>
    </vt:vector>
  </TitlesOfParts>
  <Company>DH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TITLE ONE OR TWO LINES, Delivery, 42 pt</dc:title>
  <dc:creator>Wollmann, Z, Corp. Citizenship, BN</dc:creator>
  <cp:keywords>4 to 3</cp:keywords>
  <cp:lastModifiedBy>Sophie Schonauer (Z022 Internal Comms)</cp:lastModifiedBy>
  <cp:revision>59</cp:revision>
  <cp:lastPrinted>2019-09-24T07:31:46Z</cp:lastPrinted>
  <dcterms:created xsi:type="dcterms:W3CDTF">2019-08-06T15:51:40Z</dcterms:created>
  <dcterms:modified xsi:type="dcterms:W3CDTF">2019-10-01T11:5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fzeichnungsdatum">
    <vt:lpwstr>July 2017</vt:lpwstr>
  </property>
  <property fmtid="{D5CDD505-2E9C-101B-9397-08002B2CF9AE}" pid="3" name="Dokumentnummer">
    <vt:lpwstr>1.0</vt:lpwstr>
  </property>
  <property fmtid="{D5CDD505-2E9C-101B-9397-08002B2CF9AE}" pid="4" name="Office">
    <vt:lpwstr>2007/2010</vt:lpwstr>
  </property>
  <property fmtid="{D5CDD505-2E9C-101B-9397-08002B2CF9AE}" pid="5" name="guideLinesPressed">
    <vt:bool>false</vt:bool>
  </property>
  <property fmtid="{D5CDD505-2E9C-101B-9397-08002B2CF9AE}" pid="6" name="Job No">
    <vt:lpwstr>62557</vt:lpwstr>
  </property>
  <property fmtid="{D5CDD505-2E9C-101B-9397-08002B2CF9AE}" pid="7" name="ContentTypeId">
    <vt:lpwstr>0x0101003EA3A74C190D454C81F92E76C7D8D372</vt:lpwstr>
  </property>
  <property fmtid="{D5CDD505-2E9C-101B-9397-08002B2CF9AE}" pid="8" name="IsMyDocuments">
    <vt:bool>true</vt:bool>
  </property>
</Properties>
</file>